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7.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2.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3.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66" r:id="rId4"/>
    <p:sldMasterId id="2147483990" r:id="rId5"/>
    <p:sldMasterId id="2147483660" r:id="rId6"/>
    <p:sldMasterId id="2147483687" r:id="rId7"/>
    <p:sldMasterId id="2147484033" r:id="rId8"/>
    <p:sldMasterId id="2147484045" r:id="rId9"/>
    <p:sldMasterId id="2147484058" r:id="rId10"/>
    <p:sldMasterId id="2147484071" r:id="rId11"/>
    <p:sldMasterId id="2147484105" r:id="rId12"/>
  </p:sldMasterIdLst>
  <p:notesMasterIdLst>
    <p:notesMasterId r:id="rId99"/>
  </p:notesMasterIdLst>
  <p:handoutMasterIdLst>
    <p:handoutMasterId r:id="rId100"/>
  </p:handoutMasterIdLst>
  <p:sldIdLst>
    <p:sldId id="257" r:id="rId13"/>
    <p:sldId id="8794" r:id="rId14"/>
    <p:sldId id="8773" r:id="rId15"/>
    <p:sldId id="8774" r:id="rId16"/>
    <p:sldId id="8775" r:id="rId17"/>
    <p:sldId id="9060" r:id="rId18"/>
    <p:sldId id="8811" r:id="rId19"/>
    <p:sldId id="8985" r:id="rId20"/>
    <p:sldId id="2427" r:id="rId21"/>
    <p:sldId id="9061" r:id="rId22"/>
    <p:sldId id="9068" r:id="rId23"/>
    <p:sldId id="8974" r:id="rId24"/>
    <p:sldId id="8817" r:id="rId25"/>
    <p:sldId id="8797" r:id="rId26"/>
    <p:sldId id="8973" r:id="rId27"/>
    <p:sldId id="2078" r:id="rId28"/>
    <p:sldId id="9026" r:id="rId29"/>
    <p:sldId id="8820" r:id="rId30"/>
    <p:sldId id="457" r:id="rId31"/>
    <p:sldId id="9062" r:id="rId32"/>
    <p:sldId id="8787" r:id="rId33"/>
    <p:sldId id="9073" r:id="rId34"/>
    <p:sldId id="9074" r:id="rId35"/>
    <p:sldId id="8788" r:id="rId36"/>
    <p:sldId id="8791" r:id="rId37"/>
    <p:sldId id="9040" r:id="rId38"/>
    <p:sldId id="398" r:id="rId39"/>
    <p:sldId id="8833" r:id="rId40"/>
    <p:sldId id="9071" r:id="rId41"/>
    <p:sldId id="9006" r:id="rId42"/>
    <p:sldId id="9072" r:id="rId43"/>
    <p:sldId id="8821" r:id="rId44"/>
    <p:sldId id="8822" r:id="rId45"/>
    <p:sldId id="8987" r:id="rId46"/>
    <p:sldId id="9041" r:id="rId47"/>
    <p:sldId id="9001" r:id="rId48"/>
    <p:sldId id="9069" r:id="rId49"/>
    <p:sldId id="9070" r:id="rId50"/>
    <p:sldId id="8836" r:id="rId51"/>
    <p:sldId id="9075" r:id="rId52"/>
    <p:sldId id="9045" r:id="rId53"/>
    <p:sldId id="8812" r:id="rId54"/>
    <p:sldId id="8823" r:id="rId55"/>
    <p:sldId id="8798" r:id="rId56"/>
    <p:sldId id="8834" r:id="rId57"/>
    <p:sldId id="442" r:id="rId58"/>
    <p:sldId id="443" r:id="rId59"/>
    <p:sldId id="444" r:id="rId60"/>
    <p:sldId id="9015" r:id="rId61"/>
    <p:sldId id="9042" r:id="rId62"/>
    <p:sldId id="9043" r:id="rId63"/>
    <p:sldId id="8824" r:id="rId64"/>
    <p:sldId id="2104" r:id="rId65"/>
    <p:sldId id="9063" r:id="rId66"/>
    <p:sldId id="9029" r:id="rId67"/>
    <p:sldId id="9064" r:id="rId68"/>
    <p:sldId id="274" r:id="rId69"/>
    <p:sldId id="275" r:id="rId70"/>
    <p:sldId id="276" r:id="rId71"/>
    <p:sldId id="277" r:id="rId72"/>
    <p:sldId id="278" r:id="rId73"/>
    <p:sldId id="279" r:id="rId74"/>
    <p:sldId id="9065" r:id="rId75"/>
    <p:sldId id="9016" r:id="rId76"/>
    <p:sldId id="9017" r:id="rId77"/>
    <p:sldId id="9018" r:id="rId78"/>
    <p:sldId id="9019" r:id="rId79"/>
    <p:sldId id="9020" r:id="rId80"/>
    <p:sldId id="9021" r:id="rId81"/>
    <p:sldId id="9022" r:id="rId82"/>
    <p:sldId id="9023" r:id="rId83"/>
    <p:sldId id="9024" r:id="rId84"/>
    <p:sldId id="9025" r:id="rId85"/>
    <p:sldId id="9066" r:id="rId86"/>
    <p:sldId id="9030" r:id="rId87"/>
    <p:sldId id="9031" r:id="rId88"/>
    <p:sldId id="9032" r:id="rId89"/>
    <p:sldId id="9067" r:id="rId90"/>
    <p:sldId id="9048" r:id="rId91"/>
    <p:sldId id="9033" r:id="rId92"/>
    <p:sldId id="9047" r:id="rId93"/>
    <p:sldId id="9034" r:id="rId94"/>
    <p:sldId id="9035" r:id="rId95"/>
    <p:sldId id="9036" r:id="rId96"/>
    <p:sldId id="9037" r:id="rId97"/>
    <p:sldId id="8826" r:id="rId98"/>
  </p:sldIdLst>
  <p:sldSz cx="12192000" cy="6858000"/>
  <p:notesSz cx="7102475" cy="9388475"/>
  <p:custDataLst>
    <p:tags r:id="rId10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AA49344-83E8-4A37-ADB6-3357445850C3}">
          <p14:sldIdLst>
            <p14:sldId id="257"/>
            <p14:sldId id="8794"/>
            <p14:sldId id="8773"/>
            <p14:sldId id="8774"/>
            <p14:sldId id="8775"/>
          </p14:sldIdLst>
        </p14:section>
        <p14:section name="Default Section" id="{CF0FCB6A-59FB-47D8-B5E3-BF1F21C820A3}">
          <p14:sldIdLst>
            <p14:sldId id="9060"/>
            <p14:sldId id="8811"/>
            <p14:sldId id="8985"/>
            <p14:sldId id="2427"/>
            <p14:sldId id="9061"/>
            <p14:sldId id="9068"/>
            <p14:sldId id="8974"/>
            <p14:sldId id="8817"/>
            <p14:sldId id="8797"/>
            <p14:sldId id="8973"/>
            <p14:sldId id="2078"/>
            <p14:sldId id="9026"/>
            <p14:sldId id="8820"/>
            <p14:sldId id="457"/>
            <p14:sldId id="9062"/>
            <p14:sldId id="8787"/>
            <p14:sldId id="9073"/>
            <p14:sldId id="9074"/>
            <p14:sldId id="8788"/>
            <p14:sldId id="8791"/>
            <p14:sldId id="9040"/>
            <p14:sldId id="398"/>
            <p14:sldId id="8833"/>
            <p14:sldId id="9071"/>
            <p14:sldId id="9006"/>
            <p14:sldId id="9072"/>
            <p14:sldId id="8821"/>
            <p14:sldId id="8822"/>
            <p14:sldId id="8987"/>
            <p14:sldId id="9041"/>
            <p14:sldId id="9001"/>
            <p14:sldId id="9069"/>
            <p14:sldId id="9070"/>
            <p14:sldId id="8836"/>
            <p14:sldId id="9075"/>
            <p14:sldId id="9045"/>
            <p14:sldId id="8812"/>
            <p14:sldId id="8823"/>
            <p14:sldId id="8798"/>
            <p14:sldId id="8834"/>
            <p14:sldId id="442"/>
            <p14:sldId id="443"/>
            <p14:sldId id="444"/>
            <p14:sldId id="9015"/>
            <p14:sldId id="9042"/>
            <p14:sldId id="9043"/>
            <p14:sldId id="8824"/>
            <p14:sldId id="2104"/>
            <p14:sldId id="9063"/>
            <p14:sldId id="9029"/>
            <p14:sldId id="9064"/>
            <p14:sldId id="274"/>
            <p14:sldId id="275"/>
            <p14:sldId id="276"/>
            <p14:sldId id="277"/>
            <p14:sldId id="278"/>
            <p14:sldId id="279"/>
            <p14:sldId id="9065"/>
            <p14:sldId id="9016"/>
            <p14:sldId id="9017"/>
            <p14:sldId id="9018"/>
            <p14:sldId id="9019"/>
            <p14:sldId id="9020"/>
            <p14:sldId id="9021"/>
            <p14:sldId id="9022"/>
            <p14:sldId id="9023"/>
            <p14:sldId id="9024"/>
            <p14:sldId id="9025"/>
            <p14:sldId id="9066"/>
            <p14:sldId id="9030"/>
            <p14:sldId id="9031"/>
            <p14:sldId id="9032"/>
            <p14:sldId id="9067"/>
            <p14:sldId id="9048"/>
            <p14:sldId id="9033"/>
            <p14:sldId id="9047"/>
            <p14:sldId id="9034"/>
            <p14:sldId id="9035"/>
            <p14:sldId id="9036"/>
            <p14:sldId id="9037"/>
            <p14:sldId id="882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3168" userDrawn="1">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Hamilton, Benedict" initials="BH" lastIdx="4" clrIdx="1">
    <p:extLst>
      <p:ext uri="{19B8F6BF-5375-455C-9EA6-DF929625EA0E}">
        <p15:presenceInfo xmlns:p15="http://schemas.microsoft.com/office/powerpoint/2012/main" userId="Hamilton, Benedict" providerId="None"/>
      </p:ext>
    </p:extLst>
  </p:cmAuthor>
  <p:cmAuthor id="3" name="Jen Waters" initials="JW" lastIdx="9" clrIdx="2">
    <p:extLst>
      <p:ext uri="{19B8F6BF-5375-455C-9EA6-DF929625EA0E}">
        <p15:presenceInfo xmlns:p15="http://schemas.microsoft.com/office/powerpoint/2012/main" userId="Jen Waters" providerId="None"/>
      </p:ext>
    </p:extLst>
  </p:cmAuthor>
  <p:cmAuthor id="4" name="Sinha, Pratik" initials="PS" lastIdx="4" clrIdx="3">
    <p:extLst>
      <p:ext uri="{19B8F6BF-5375-455C-9EA6-DF929625EA0E}">
        <p15:presenceInfo xmlns:p15="http://schemas.microsoft.com/office/powerpoint/2012/main" userId="Sinha, Pratik" providerId="None"/>
      </p:ext>
    </p:extLst>
  </p:cmAuthor>
  <p:cmAuthor id="5" name="Berkhout, Arnold" initials="BA" lastIdx="12" clrIdx="4">
    <p:extLst>
      <p:ext uri="{19B8F6BF-5375-455C-9EA6-DF929625EA0E}">
        <p15:presenceInfo xmlns:p15="http://schemas.microsoft.com/office/powerpoint/2012/main" userId="S::aberkhout@deloitte.com::0ca40ea5-eff1-45d8-a898-ae6e843d717d" providerId="AD"/>
      </p:ext>
    </p:extLst>
  </p:cmAuthor>
  <p:cmAuthor id="6" name="M, Shilpa Goud" initials="MSG" lastIdx="1" clrIdx="5">
    <p:extLst>
      <p:ext uri="{19B8F6BF-5375-455C-9EA6-DF929625EA0E}">
        <p15:presenceInfo xmlns:p15="http://schemas.microsoft.com/office/powerpoint/2012/main" userId="S::shilpam@deloitte.com::a9d4caf0-26bb-4255-ac96-11e70e69739c" providerId="AD"/>
      </p:ext>
    </p:extLst>
  </p:cmAuthor>
  <p:cmAuthor id="7" name="Jivrajani, Dharini" initials="JD" lastIdx="6" clrIdx="6">
    <p:extLst>
      <p:ext uri="{19B8F6BF-5375-455C-9EA6-DF929625EA0E}">
        <p15:presenceInfo xmlns:p15="http://schemas.microsoft.com/office/powerpoint/2012/main" userId="S::djivrajani@deloitte.com::9f28c9a6-e07b-4de5-8682-ac3f5c875595" providerId="AD"/>
      </p:ext>
    </p:extLst>
  </p:cmAuthor>
  <p:cmAuthor id="8" name="Jackman, Lauren" initials="LJ" lastIdx="12" clrIdx="7">
    <p:extLst>
      <p:ext uri="{19B8F6BF-5375-455C-9EA6-DF929625EA0E}">
        <p15:presenceInfo xmlns:p15="http://schemas.microsoft.com/office/powerpoint/2012/main" userId="Jackman, Lauren" providerId="None"/>
      </p:ext>
    </p:extLst>
  </p:cmAuthor>
  <p:cmAuthor id="9" name="Sharma Palla, Rakesh" initials="SPR" lastIdx="1" clrIdx="8">
    <p:extLst>
      <p:ext uri="{19B8F6BF-5375-455C-9EA6-DF929625EA0E}">
        <p15:presenceInfo xmlns:p15="http://schemas.microsoft.com/office/powerpoint/2012/main" userId="S::rsharmapalla@deloitte.com::10f9904b-c976-486e-940c-ca5698800d24" providerId="AD"/>
      </p:ext>
    </p:extLst>
  </p:cmAuthor>
  <p:cmAuthor id="10" name="Kutas-Hille, Janine" initials="KJ" lastIdx="1" clrIdx="9">
    <p:extLst>
      <p:ext uri="{19B8F6BF-5375-455C-9EA6-DF929625EA0E}">
        <p15:presenceInfo xmlns:p15="http://schemas.microsoft.com/office/powerpoint/2012/main" userId="S::jkutashille@deloitte.com::0788d68a-0adc-44ef-94ed-31189926cb8f" providerId="AD"/>
      </p:ext>
    </p:extLst>
  </p:cmAuthor>
  <p:cmAuthor id="11" name="Kommatreddy, Chaitanya" initials="KC" lastIdx="1" clrIdx="10">
    <p:extLst>
      <p:ext uri="{19B8F6BF-5375-455C-9EA6-DF929625EA0E}">
        <p15:presenceInfo xmlns:p15="http://schemas.microsoft.com/office/powerpoint/2012/main" userId="S::ckommatreddy@deloitte.com::44a1469f-b03c-453c-8c31-90f831355cdb" providerId="AD"/>
      </p:ext>
    </p:extLst>
  </p:cmAuthor>
  <p:cmAuthor id="12" name="Jackman, Lauren" initials="JL" lastIdx="4" clrIdx="11">
    <p:extLst>
      <p:ext uri="{19B8F6BF-5375-455C-9EA6-DF929625EA0E}">
        <p15:presenceInfo xmlns:p15="http://schemas.microsoft.com/office/powerpoint/2012/main" userId="S::ljackman@deloitte.com::ef96ab20-fb12-476c-a3e0-14bd051fc290" providerId="AD"/>
      </p:ext>
    </p:extLst>
  </p:cmAuthor>
  <p:cmAuthor id="13" name="Zhong, Rose" initials="ZR" lastIdx="1" clrIdx="12">
    <p:extLst>
      <p:ext uri="{19B8F6BF-5375-455C-9EA6-DF929625EA0E}">
        <p15:presenceInfo xmlns:p15="http://schemas.microsoft.com/office/powerpoint/2012/main" userId="S::rozhong@deloitte.com::91b20ec7-2220-4f96-9b07-259aafca34b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ABB9"/>
    <a:srgbClr val="001035"/>
    <a:srgbClr val="62B5E5"/>
    <a:srgbClr val="3C8A2E"/>
    <a:srgbClr val="37B6C4"/>
    <a:srgbClr val="FF9900"/>
    <a:srgbClr val="DB291C"/>
    <a:srgbClr val="ED8B00"/>
    <a:srgbClr val="000000"/>
    <a:srgbClr val="FFC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2FA928-8F65-4B63-B0A8-2492AB328204}" v="807" dt="2021-07-15T12:06:47.376"/>
    <p1510:client id="{78ECF93C-4CC2-4C69-B034-73BBE3ADB890}" v="1784" dt="2021-07-13T13:13:16.559"/>
    <p1510:client id="{92DCEB70-DCA5-4092-8F54-CEAC95D0D86A}" v="61" dt="2021-07-15T13:49:30.716"/>
    <p1510:client id="{CDD7CAF1-B2DA-4414-98BC-86F970CEEFFD}" v="142" dt="2021-07-15T10:40:22.5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guide orient="horz" pos="2047"/>
        <p:guide orient="horz" pos="1440"/>
        <p:guide orient="horz" pos="2568"/>
        <p:guide orient="horz" pos="3370"/>
        <p:guide orient="horz" pos="3589"/>
        <p:guide pos="3168"/>
      </p:guideLst>
    </p:cSldViewPr>
  </p:slideViewPr>
  <p:notesViewPr>
    <p:cSldViewPr snapToGrid="0">
      <p:cViewPr>
        <p:scale>
          <a:sx n="1" d="2"/>
          <a:sy n="1" d="2"/>
        </p:scale>
        <p:origin x="0" y="0"/>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07" Type="http://schemas.microsoft.com/office/2016/11/relationships/changesInfo" Target="changesInfos/changesInfo1.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commentAuthors" Target="commentAuthors.xml"/><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presProps" Target="presProps.xml"/><Relationship Id="rId108" Type="http://schemas.microsoft.com/office/2015/10/relationships/revisionInfo" Target="revisionInfo.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6"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notesMaster" Target="notesMasters/notesMaster1.xml"/><Relationship Id="rId10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handoutMaster" Target="handoutMasters/handoutMaster1.xml"/><Relationship Id="rId105"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el, Jignesh" userId="c8f6f643-687e-4b58-941e-b5f86bf4291b" providerId="ADAL" clId="{2AE4CBFD-0565-49E4-8FA5-434EDC81F226}"/>
    <pc:docChg chg="undo modSld">
      <pc:chgData name="Patel, Jignesh" userId="c8f6f643-687e-4b58-941e-b5f86bf4291b" providerId="ADAL" clId="{2AE4CBFD-0565-49E4-8FA5-434EDC81F226}" dt="2020-12-03T15:48:06.925" v="4" actId="20577"/>
      <pc:docMkLst>
        <pc:docMk/>
      </pc:docMkLst>
      <pc:sldChg chg="modSp">
        <pc:chgData name="Patel, Jignesh" userId="c8f6f643-687e-4b58-941e-b5f86bf4291b" providerId="ADAL" clId="{2AE4CBFD-0565-49E4-8FA5-434EDC81F226}" dt="2020-12-02T20:53:51.754" v="1" actId="20577"/>
        <pc:sldMkLst>
          <pc:docMk/>
          <pc:sldMk cId="2506138062" sldId="8782"/>
        </pc:sldMkLst>
        <pc:spChg chg="mod">
          <ac:chgData name="Patel, Jignesh" userId="c8f6f643-687e-4b58-941e-b5f86bf4291b" providerId="ADAL" clId="{2AE4CBFD-0565-49E4-8FA5-434EDC81F226}" dt="2020-12-02T20:53:51.754" v="1" actId="20577"/>
          <ac:spMkLst>
            <pc:docMk/>
            <pc:sldMk cId="2506138062" sldId="8782"/>
            <ac:spMk id="5" creationId="{8004D1AB-63D8-4594-9D2A-CEEFDE0FE440}"/>
          </ac:spMkLst>
        </pc:spChg>
      </pc:sldChg>
      <pc:sldChg chg="modSp">
        <pc:chgData name="Patel, Jignesh" userId="c8f6f643-687e-4b58-941e-b5f86bf4291b" providerId="ADAL" clId="{2AE4CBFD-0565-49E4-8FA5-434EDC81F226}" dt="2020-12-03T15:48:06.925" v="4" actId="20577"/>
        <pc:sldMkLst>
          <pc:docMk/>
          <pc:sldMk cId="883180132" sldId="8992"/>
        </pc:sldMkLst>
        <pc:spChg chg="mod">
          <ac:chgData name="Patel, Jignesh" userId="c8f6f643-687e-4b58-941e-b5f86bf4291b" providerId="ADAL" clId="{2AE4CBFD-0565-49E4-8FA5-434EDC81F226}" dt="2020-12-03T15:48:06.925" v="4" actId="20577"/>
          <ac:spMkLst>
            <pc:docMk/>
            <pc:sldMk cId="883180132" sldId="8992"/>
            <ac:spMk id="41" creationId="{0E27FB64-65B9-46A7-AED9-4A092C0E6FD9}"/>
          </ac:spMkLst>
        </pc:spChg>
      </pc:sldChg>
    </pc:docChg>
  </pc:docChgLst>
  <pc:docChgLst>
    <pc:chgData name="Sharma Palla, Rakesh" userId="S::rsharmapalla@deloitte.com::10f9904b-c976-486e-940c-ca5698800d24" providerId="AD" clId="Web-{568D3B94-874A-4A41-82B2-3F97ED134A5F}"/>
    <pc:docChg chg="modSld">
      <pc:chgData name="Sharma Palla, Rakesh" userId="S::rsharmapalla@deloitte.com::10f9904b-c976-486e-940c-ca5698800d24" providerId="AD" clId="Web-{568D3B94-874A-4A41-82B2-3F97ED134A5F}" dt="2020-12-01T16:57:24.182" v="17"/>
      <pc:docMkLst>
        <pc:docMk/>
      </pc:docMkLst>
      <pc:sldChg chg="modSp">
        <pc:chgData name="Sharma Palla, Rakesh" userId="S::rsharmapalla@deloitte.com::10f9904b-c976-486e-940c-ca5698800d24" providerId="AD" clId="Web-{568D3B94-874A-4A41-82B2-3F97ED134A5F}" dt="2020-12-01T16:57:24.182" v="17"/>
        <pc:sldMkLst>
          <pc:docMk/>
          <pc:sldMk cId="847777020" sldId="8791"/>
        </pc:sldMkLst>
        <pc:graphicFrameChg chg="mod modGraphic">
          <ac:chgData name="Sharma Palla, Rakesh" userId="S::rsharmapalla@deloitte.com::10f9904b-c976-486e-940c-ca5698800d24" providerId="AD" clId="Web-{568D3B94-874A-4A41-82B2-3F97ED134A5F}" dt="2020-12-01T16:57:24.182" v="17"/>
          <ac:graphicFrameMkLst>
            <pc:docMk/>
            <pc:sldMk cId="847777020" sldId="8791"/>
            <ac:graphicFrameMk id="2" creationId="{047A132D-3FAE-48C5-BD5F-C01213AAD2F4}"/>
          </ac:graphicFrameMkLst>
        </pc:graphicFrameChg>
      </pc:sldChg>
    </pc:docChg>
  </pc:docChgLst>
  <pc:docChgLst>
    <pc:chgData name="Jivrajani, Dharini" userId="S::djivrajani@deloitte.com::9f28c9a6-e07b-4de5-8682-ac3f5c875595" providerId="AD" clId="Web-{AC75F30D-4D27-4ECE-8CD6-3BC795253643}"/>
    <pc:docChg chg="modSld">
      <pc:chgData name="Jivrajani, Dharini" userId="S::djivrajani@deloitte.com::9f28c9a6-e07b-4de5-8682-ac3f5c875595" providerId="AD" clId="Web-{AC75F30D-4D27-4ECE-8CD6-3BC795253643}" dt="2020-11-11T16:31:30.072" v="16" actId="20577"/>
      <pc:docMkLst>
        <pc:docMk/>
      </pc:docMkLst>
      <pc:sldChg chg="modSp">
        <pc:chgData name="Jivrajani, Dharini" userId="S::djivrajani@deloitte.com::9f28c9a6-e07b-4de5-8682-ac3f5c875595" providerId="AD" clId="Web-{AC75F30D-4D27-4ECE-8CD6-3BC795253643}" dt="2020-11-11T16:31:15.603" v="5" actId="20577"/>
        <pc:sldMkLst>
          <pc:docMk/>
          <pc:sldMk cId="1369081146" sldId="8773"/>
        </pc:sldMkLst>
        <pc:spChg chg="mod">
          <ac:chgData name="Jivrajani, Dharini" userId="S::djivrajani@deloitte.com::9f28c9a6-e07b-4de5-8682-ac3f5c875595" providerId="AD" clId="Web-{AC75F30D-4D27-4ECE-8CD6-3BC795253643}" dt="2020-11-11T16:31:15.603" v="5" actId="20577"/>
          <ac:spMkLst>
            <pc:docMk/>
            <pc:sldMk cId="1369081146" sldId="8773"/>
            <ac:spMk id="698369" creationId="{00000000-0000-0000-0000-000000000000}"/>
          </ac:spMkLst>
        </pc:spChg>
      </pc:sldChg>
      <pc:sldChg chg="modSp">
        <pc:chgData name="Jivrajani, Dharini" userId="S::djivrajani@deloitte.com::9f28c9a6-e07b-4de5-8682-ac3f5c875595" providerId="AD" clId="Web-{AC75F30D-4D27-4ECE-8CD6-3BC795253643}" dt="2020-11-11T16:31:21.900" v="9" actId="20577"/>
        <pc:sldMkLst>
          <pc:docMk/>
          <pc:sldMk cId="1039189330" sldId="8774"/>
        </pc:sldMkLst>
        <pc:spChg chg="mod">
          <ac:chgData name="Jivrajani, Dharini" userId="S::djivrajani@deloitte.com::9f28c9a6-e07b-4de5-8682-ac3f5c875595" providerId="AD" clId="Web-{AC75F30D-4D27-4ECE-8CD6-3BC795253643}" dt="2020-11-11T16:31:21.900" v="9" actId="20577"/>
          <ac:spMkLst>
            <pc:docMk/>
            <pc:sldMk cId="1039189330" sldId="8774"/>
            <ac:spMk id="5" creationId="{BDFC5B9C-AB1B-472D-B8E8-003403F9A3E9}"/>
          </ac:spMkLst>
        </pc:spChg>
      </pc:sldChg>
      <pc:sldChg chg="modSp">
        <pc:chgData name="Jivrajani, Dharini" userId="S::djivrajani@deloitte.com::9f28c9a6-e07b-4de5-8682-ac3f5c875595" providerId="AD" clId="Web-{AC75F30D-4D27-4ECE-8CD6-3BC795253643}" dt="2020-11-11T16:31:30.072" v="16" actId="20577"/>
        <pc:sldMkLst>
          <pc:docMk/>
          <pc:sldMk cId="2407685793" sldId="8775"/>
        </pc:sldMkLst>
        <pc:spChg chg="mod">
          <ac:chgData name="Jivrajani, Dharini" userId="S::djivrajani@deloitte.com::9f28c9a6-e07b-4de5-8682-ac3f5c875595" providerId="AD" clId="Web-{AC75F30D-4D27-4ECE-8CD6-3BC795253643}" dt="2020-11-11T16:31:30.072" v="16" actId="20577"/>
          <ac:spMkLst>
            <pc:docMk/>
            <pc:sldMk cId="2407685793" sldId="8775"/>
            <ac:spMk id="5" creationId="{5BC0E948-6F66-4F47-BA40-6C553B9AB1E4}"/>
          </ac:spMkLst>
        </pc:spChg>
      </pc:sldChg>
    </pc:docChg>
  </pc:docChgLst>
  <pc:docChgLst>
    <pc:chgData name="Swarna, Padmini" userId="S::padswarna@deloitte.com::03b348e6-46b3-471e-9507-2b8a34198287" providerId="AD" clId="Web-{CE816A36-972E-4BE9-A830-24B4626B75E6}"/>
    <pc:docChg chg="modSld">
      <pc:chgData name="Swarna, Padmini" userId="S::padswarna@deloitte.com::03b348e6-46b3-471e-9507-2b8a34198287" providerId="AD" clId="Web-{CE816A36-972E-4BE9-A830-24B4626B75E6}" dt="2021-07-12T11:03:14.747" v="10"/>
      <pc:docMkLst>
        <pc:docMk/>
      </pc:docMkLst>
      <pc:sldChg chg="modSp">
        <pc:chgData name="Swarna, Padmini" userId="S::padswarna@deloitte.com::03b348e6-46b3-471e-9507-2b8a34198287" providerId="AD" clId="Web-{CE816A36-972E-4BE9-A830-24B4626B75E6}" dt="2021-07-12T11:02:56.653" v="6" actId="20577"/>
        <pc:sldMkLst>
          <pc:docMk/>
          <pc:sldMk cId="302263831" sldId="9048"/>
        </pc:sldMkLst>
        <pc:spChg chg="mod">
          <ac:chgData name="Swarna, Padmini" userId="S::padswarna@deloitte.com::03b348e6-46b3-471e-9507-2b8a34198287" providerId="AD" clId="Web-{CE816A36-972E-4BE9-A830-24B4626B75E6}" dt="2021-07-12T11:02:56.653" v="6" actId="20577"/>
          <ac:spMkLst>
            <pc:docMk/>
            <pc:sldMk cId="302263831" sldId="9048"/>
            <ac:spMk id="17" creationId="{3FAEEAA9-008B-43F6-BAE2-39F36A6706FE}"/>
          </ac:spMkLst>
        </pc:spChg>
      </pc:sldChg>
      <pc:sldChg chg="modSp">
        <pc:chgData name="Swarna, Padmini" userId="S::padswarna@deloitte.com::03b348e6-46b3-471e-9507-2b8a34198287" providerId="AD" clId="Web-{CE816A36-972E-4BE9-A830-24B4626B75E6}" dt="2021-07-12T11:03:14.747" v="10"/>
        <pc:sldMkLst>
          <pc:docMk/>
          <pc:sldMk cId="53167518" sldId="9060"/>
        </pc:sldMkLst>
        <pc:graphicFrameChg chg="mod modGraphic">
          <ac:chgData name="Swarna, Padmini" userId="S::padswarna@deloitte.com::03b348e6-46b3-471e-9507-2b8a34198287" providerId="AD" clId="Web-{CE816A36-972E-4BE9-A830-24B4626B75E6}" dt="2021-07-12T11:03:14.747" v="10"/>
          <ac:graphicFrameMkLst>
            <pc:docMk/>
            <pc:sldMk cId="53167518" sldId="9060"/>
            <ac:graphicFrameMk id="4" creationId="{FE664A44-2B52-48E1-842B-86373307A2AD}"/>
          </ac:graphicFrameMkLst>
        </pc:graphicFrameChg>
      </pc:sldChg>
    </pc:docChg>
  </pc:docChgLst>
  <pc:docChgLst>
    <pc:chgData name="Kommatreddy, Chaitanya" userId="S::ckommatreddy@deloitte.com::44a1469f-b03c-453c-8c31-90f831355cdb" providerId="AD" clId="Web-{C9621E95-0362-4602-B9A9-85C9B382FAD3}"/>
    <pc:docChg chg="modSld">
      <pc:chgData name="Kommatreddy, Chaitanya" userId="S::ckommatreddy@deloitte.com::44a1469f-b03c-453c-8c31-90f831355cdb" providerId="AD" clId="Web-{C9621E95-0362-4602-B9A9-85C9B382FAD3}" dt="2021-03-23T06:52:12.589" v="3" actId="20577"/>
      <pc:docMkLst>
        <pc:docMk/>
      </pc:docMkLst>
      <pc:sldChg chg="modSp">
        <pc:chgData name="Kommatreddy, Chaitanya" userId="S::ckommatreddy@deloitte.com::44a1469f-b03c-453c-8c31-90f831355cdb" providerId="AD" clId="Web-{C9621E95-0362-4602-B9A9-85C9B382FAD3}" dt="2021-03-23T06:52:12.589" v="3" actId="20577"/>
        <pc:sldMkLst>
          <pc:docMk/>
          <pc:sldMk cId="1078693895" sldId="268"/>
        </pc:sldMkLst>
        <pc:spChg chg="mod">
          <ac:chgData name="Kommatreddy, Chaitanya" userId="S::ckommatreddy@deloitte.com::44a1469f-b03c-453c-8c31-90f831355cdb" providerId="AD" clId="Web-{C9621E95-0362-4602-B9A9-85C9B382FAD3}" dt="2021-03-23T06:52:12.589" v="3" actId="20577"/>
          <ac:spMkLst>
            <pc:docMk/>
            <pc:sldMk cId="1078693895" sldId="268"/>
            <ac:spMk id="20" creationId="{97F95232-FAF7-4FBD-A394-067DD3DBBE84}"/>
          </ac:spMkLst>
        </pc:spChg>
      </pc:sldChg>
    </pc:docChg>
  </pc:docChgLst>
  <pc:docChgLst>
    <pc:chgData name="Rudraraju, Vijaya" userId="S::vijrudraraju@deloitte.com::106f6c26-77b2-4e0c-8472-1c142b7002a0" providerId="AD" clId="Web-{62AA842F-3022-46DE-9D65-D58849F52028}"/>
    <pc:docChg chg="modSld">
      <pc:chgData name="Rudraraju, Vijaya" userId="S::vijrudraraju@deloitte.com::106f6c26-77b2-4e0c-8472-1c142b7002a0" providerId="AD" clId="Web-{62AA842F-3022-46DE-9D65-D58849F52028}" dt="2021-07-12T10:39:28.381" v="7"/>
      <pc:docMkLst>
        <pc:docMk/>
      </pc:docMkLst>
      <pc:sldChg chg="modSp">
        <pc:chgData name="Rudraraju, Vijaya" userId="S::vijrudraraju@deloitte.com::106f6c26-77b2-4e0c-8472-1c142b7002a0" providerId="AD" clId="Web-{62AA842F-3022-46DE-9D65-D58849F52028}" dt="2021-07-12T10:39:28.381" v="7"/>
        <pc:sldMkLst>
          <pc:docMk/>
          <pc:sldMk cId="847777020" sldId="8791"/>
        </pc:sldMkLst>
        <pc:graphicFrameChg chg="mod modGraphic">
          <ac:chgData name="Rudraraju, Vijaya" userId="S::vijrudraraju@deloitte.com::106f6c26-77b2-4e0c-8472-1c142b7002a0" providerId="AD" clId="Web-{62AA842F-3022-46DE-9D65-D58849F52028}" dt="2021-07-12T10:39:28.381" v="7"/>
          <ac:graphicFrameMkLst>
            <pc:docMk/>
            <pc:sldMk cId="847777020" sldId="8791"/>
            <ac:graphicFrameMk id="2" creationId="{047A132D-3FAE-48C5-BD5F-C01213AAD2F4}"/>
          </ac:graphicFrameMkLst>
        </pc:graphicFrameChg>
      </pc:sldChg>
    </pc:docChg>
  </pc:docChgLst>
  <pc:docChgLst>
    <pc:chgData name="Jackman, Lauren" userId="S::ljackman@deloitte.com::ef96ab20-fb12-476c-a3e0-14bd051fc290" providerId="AD" clId="Web-{188FC2EA-1A5C-4B75-A1E1-1C23A2965050}"/>
    <pc:docChg chg="modSld">
      <pc:chgData name="Jackman, Lauren" userId="S::ljackman@deloitte.com::ef96ab20-fb12-476c-a3e0-14bd051fc290" providerId="AD" clId="Web-{188FC2EA-1A5C-4B75-A1E1-1C23A2965050}" dt="2021-03-22T19:55:28.281" v="124" actId="20577"/>
      <pc:docMkLst>
        <pc:docMk/>
      </pc:docMkLst>
      <pc:sldChg chg="modSp">
        <pc:chgData name="Jackman, Lauren" userId="S::ljackman@deloitte.com::ef96ab20-fb12-476c-a3e0-14bd051fc290" providerId="AD" clId="Web-{188FC2EA-1A5C-4B75-A1E1-1C23A2965050}" dt="2021-03-22T19:53:59.919" v="101" actId="20577"/>
        <pc:sldMkLst>
          <pc:docMk/>
          <pc:sldMk cId="3148283714" sldId="8987"/>
        </pc:sldMkLst>
        <pc:spChg chg="mod">
          <ac:chgData name="Jackman, Lauren" userId="S::ljackman@deloitte.com::ef96ab20-fb12-476c-a3e0-14bd051fc290" providerId="AD" clId="Web-{188FC2EA-1A5C-4B75-A1E1-1C23A2965050}" dt="2021-03-22T19:53:59.919" v="101" actId="20577"/>
          <ac:spMkLst>
            <pc:docMk/>
            <pc:sldMk cId="3148283714" sldId="8987"/>
            <ac:spMk id="13" creationId="{00000000-0000-0000-0000-000000000000}"/>
          </ac:spMkLst>
        </pc:spChg>
      </pc:sldChg>
      <pc:sldChg chg="modSp">
        <pc:chgData name="Jackman, Lauren" userId="S::ljackman@deloitte.com::ef96ab20-fb12-476c-a3e0-14bd051fc290" providerId="AD" clId="Web-{188FC2EA-1A5C-4B75-A1E1-1C23A2965050}" dt="2021-03-22T19:55:28.281" v="124" actId="20577"/>
        <pc:sldMkLst>
          <pc:docMk/>
          <pc:sldMk cId="2318716816" sldId="9041"/>
        </pc:sldMkLst>
        <pc:spChg chg="mod">
          <ac:chgData name="Jackman, Lauren" userId="S::ljackman@deloitte.com::ef96ab20-fb12-476c-a3e0-14bd051fc290" providerId="AD" clId="Web-{188FC2EA-1A5C-4B75-A1E1-1C23A2965050}" dt="2021-03-22T19:55:28.281" v="124" actId="20577"/>
          <ac:spMkLst>
            <pc:docMk/>
            <pc:sldMk cId="2318716816" sldId="9041"/>
            <ac:spMk id="13" creationId="{00000000-0000-0000-0000-000000000000}"/>
          </ac:spMkLst>
        </pc:spChg>
      </pc:sldChg>
    </pc:docChg>
  </pc:docChgLst>
  <pc:docChgLst>
    <pc:chgData name="Sharma Palla, Rakesh" userId="S::rsharmapalla@deloitte.com::10f9904b-c976-486e-940c-ca5698800d24" providerId="AD" clId="Web-{C3573758-B5AC-4431-80D1-084355612E0F}"/>
    <pc:docChg chg="modSld">
      <pc:chgData name="Sharma Palla, Rakesh" userId="S::rsharmapalla@deloitte.com::10f9904b-c976-486e-940c-ca5698800d24" providerId="AD" clId="Web-{C3573758-B5AC-4431-80D1-084355612E0F}" dt="2020-07-13T07:00:21.066" v="300"/>
      <pc:docMkLst>
        <pc:docMk/>
      </pc:docMkLst>
      <pc:sldChg chg="modSp">
        <pc:chgData name="Sharma Palla, Rakesh" userId="S::rsharmapalla@deloitte.com::10f9904b-c976-486e-940c-ca5698800d24" providerId="AD" clId="Web-{C3573758-B5AC-4431-80D1-084355612E0F}" dt="2020-07-13T07:00:21.066" v="300"/>
        <pc:sldMkLst>
          <pc:docMk/>
          <pc:sldMk cId="847777020" sldId="8791"/>
        </pc:sldMkLst>
        <pc:spChg chg="mod">
          <ac:chgData name="Sharma Palla, Rakesh" userId="S::rsharmapalla@deloitte.com::10f9904b-c976-486e-940c-ca5698800d24" providerId="AD" clId="Web-{C3573758-B5AC-4431-80D1-084355612E0F}" dt="2020-07-13T06:49:37.623" v="173" actId="1076"/>
          <ac:spMkLst>
            <pc:docMk/>
            <pc:sldMk cId="847777020" sldId="8791"/>
            <ac:spMk id="3" creationId="{AF17C8CB-B960-4DEA-9486-430E62005883}"/>
          </ac:spMkLst>
        </pc:spChg>
        <pc:graphicFrameChg chg="mod modGraphic">
          <ac:chgData name="Sharma Palla, Rakesh" userId="S::rsharmapalla@deloitte.com::10f9904b-c976-486e-940c-ca5698800d24" providerId="AD" clId="Web-{C3573758-B5AC-4431-80D1-084355612E0F}" dt="2020-07-13T07:00:21.066" v="300"/>
          <ac:graphicFrameMkLst>
            <pc:docMk/>
            <pc:sldMk cId="847777020" sldId="8791"/>
            <ac:graphicFrameMk id="2" creationId="{047A132D-3FAE-48C5-BD5F-C01213AAD2F4}"/>
          </ac:graphicFrameMkLst>
        </pc:graphicFrameChg>
      </pc:sldChg>
    </pc:docChg>
  </pc:docChgLst>
  <pc:docChgLst>
    <pc:chgData name="Lakshmi Kalyan Chakravart, Lakshmi" userId="S::llakshmikalyancha@deloitte.com::59aadd41-0ad0-497c-abc3-cdea2ef388fe" providerId="AD" clId="Web-{742C653F-F110-430E-92FF-BB53BA291E7F}"/>
    <pc:docChg chg="modSld">
      <pc:chgData name="Lakshmi Kalyan Chakravart, Lakshmi" userId="S::llakshmikalyancha@deloitte.com::59aadd41-0ad0-497c-abc3-cdea2ef388fe" providerId="AD" clId="Web-{742C653F-F110-430E-92FF-BB53BA291E7F}" dt="2021-07-12T12:49:50.432" v="28" actId="1076"/>
      <pc:docMkLst>
        <pc:docMk/>
      </pc:docMkLst>
      <pc:sldChg chg="addSp modSp">
        <pc:chgData name="Lakshmi Kalyan Chakravart, Lakshmi" userId="S::llakshmikalyancha@deloitte.com::59aadd41-0ad0-497c-abc3-cdea2ef388fe" providerId="AD" clId="Web-{742C653F-F110-430E-92FF-BB53BA291E7F}" dt="2021-07-12T12:49:50.432" v="28" actId="1076"/>
        <pc:sldMkLst>
          <pc:docMk/>
          <pc:sldMk cId="1983421167" sldId="9059"/>
        </pc:sldMkLst>
        <pc:spChg chg="add mod">
          <ac:chgData name="Lakshmi Kalyan Chakravart, Lakshmi" userId="S::llakshmikalyancha@deloitte.com::59aadd41-0ad0-497c-abc3-cdea2ef388fe" providerId="AD" clId="Web-{742C653F-F110-430E-92FF-BB53BA291E7F}" dt="2021-07-12T12:49:50.432" v="28" actId="1076"/>
          <ac:spMkLst>
            <pc:docMk/>
            <pc:sldMk cId="1983421167" sldId="9059"/>
            <ac:spMk id="10" creationId="{B0E43679-B78C-4EF2-A4A4-B1815A689742}"/>
          </ac:spMkLst>
        </pc:spChg>
        <pc:picChg chg="mod">
          <ac:chgData name="Lakshmi Kalyan Chakravart, Lakshmi" userId="S::llakshmikalyancha@deloitte.com::59aadd41-0ad0-497c-abc3-cdea2ef388fe" providerId="AD" clId="Web-{742C653F-F110-430E-92FF-BB53BA291E7F}" dt="2021-07-12T12:42:49.794" v="0" actId="1076"/>
          <ac:picMkLst>
            <pc:docMk/>
            <pc:sldMk cId="1983421167" sldId="9059"/>
            <ac:picMk id="4" creationId="{5D8A584D-9E37-4AC9-AFF6-F234D3EA664E}"/>
          </ac:picMkLst>
        </pc:picChg>
        <pc:picChg chg="add mod">
          <ac:chgData name="Lakshmi Kalyan Chakravart, Lakshmi" userId="S::llakshmikalyancha@deloitte.com::59aadd41-0ad0-497c-abc3-cdea2ef388fe" providerId="AD" clId="Web-{742C653F-F110-430E-92FF-BB53BA291E7F}" dt="2021-07-12T12:48:48.276" v="9" actId="1076"/>
          <ac:picMkLst>
            <pc:docMk/>
            <pc:sldMk cId="1983421167" sldId="9059"/>
            <ac:picMk id="9" creationId="{981215CB-8F5E-4D76-86B8-019D06F1A79A}"/>
          </ac:picMkLst>
        </pc:picChg>
      </pc:sldChg>
    </pc:docChg>
  </pc:docChgLst>
  <pc:docChgLst>
    <pc:chgData name="Kutas-Hille, Janine" userId="0788d68a-0adc-44ef-94ed-31189926cb8f" providerId="ADAL" clId="{66DFE6AE-2D99-46C7-8DE0-24D85B87A07F}"/>
    <pc:docChg chg="undo custSel addSld delSld modSld modSection">
      <pc:chgData name="Kutas-Hille, Janine" userId="0788d68a-0adc-44ef-94ed-31189926cb8f" providerId="ADAL" clId="{66DFE6AE-2D99-46C7-8DE0-24D85B87A07F}" dt="2021-03-22T20:51:34.342" v="766" actId="255"/>
      <pc:docMkLst>
        <pc:docMk/>
      </pc:docMkLst>
      <pc:sldChg chg="modSp add">
        <pc:chgData name="Kutas-Hille, Janine" userId="0788d68a-0adc-44ef-94ed-31189926cb8f" providerId="ADAL" clId="{66DFE6AE-2D99-46C7-8DE0-24D85B87A07F}" dt="2021-03-22T18:48:31.745" v="755" actId="255"/>
        <pc:sldMkLst>
          <pc:docMk/>
          <pc:sldMk cId="3007601309" sldId="442"/>
        </pc:sldMkLst>
        <pc:spChg chg="mod">
          <ac:chgData name="Kutas-Hille, Janine" userId="0788d68a-0adc-44ef-94ed-31189926cb8f" providerId="ADAL" clId="{66DFE6AE-2D99-46C7-8DE0-24D85B87A07F}" dt="2021-03-22T18:48:31.745" v="755" actId="255"/>
          <ac:spMkLst>
            <pc:docMk/>
            <pc:sldMk cId="3007601309" sldId="442"/>
            <ac:spMk id="3" creationId="{00000000-0000-0000-0000-000000000000}"/>
          </ac:spMkLst>
        </pc:spChg>
      </pc:sldChg>
      <pc:sldChg chg="modSp add">
        <pc:chgData name="Kutas-Hille, Janine" userId="0788d68a-0adc-44ef-94ed-31189926cb8f" providerId="ADAL" clId="{66DFE6AE-2D99-46C7-8DE0-24D85B87A07F}" dt="2021-03-22T18:48:44.249" v="756" actId="255"/>
        <pc:sldMkLst>
          <pc:docMk/>
          <pc:sldMk cId="2286709491" sldId="443"/>
        </pc:sldMkLst>
        <pc:spChg chg="mod">
          <ac:chgData name="Kutas-Hille, Janine" userId="0788d68a-0adc-44ef-94ed-31189926cb8f" providerId="ADAL" clId="{66DFE6AE-2D99-46C7-8DE0-24D85B87A07F}" dt="2021-03-22T18:48:44.249" v="756" actId="255"/>
          <ac:spMkLst>
            <pc:docMk/>
            <pc:sldMk cId="2286709491" sldId="443"/>
            <ac:spMk id="3" creationId="{00000000-0000-0000-0000-000000000000}"/>
          </ac:spMkLst>
        </pc:spChg>
        <pc:spChg chg="mod">
          <ac:chgData name="Kutas-Hille, Janine" userId="0788d68a-0adc-44ef-94ed-31189926cb8f" providerId="ADAL" clId="{66DFE6AE-2D99-46C7-8DE0-24D85B87A07F}" dt="2021-03-22T18:46:22.420" v="751" actId="27636"/>
          <ac:spMkLst>
            <pc:docMk/>
            <pc:sldMk cId="2286709491" sldId="443"/>
            <ac:spMk id="37" creationId="{00000000-0000-0000-0000-000000000000}"/>
          </ac:spMkLst>
        </pc:spChg>
      </pc:sldChg>
      <pc:sldChg chg="modSp add">
        <pc:chgData name="Kutas-Hille, Janine" userId="0788d68a-0adc-44ef-94ed-31189926cb8f" providerId="ADAL" clId="{66DFE6AE-2D99-46C7-8DE0-24D85B87A07F}" dt="2021-03-22T18:49:34.407" v="758" actId="20577"/>
        <pc:sldMkLst>
          <pc:docMk/>
          <pc:sldMk cId="793120422" sldId="444"/>
        </pc:sldMkLst>
        <pc:spChg chg="mod">
          <ac:chgData name="Kutas-Hille, Janine" userId="0788d68a-0adc-44ef-94ed-31189926cb8f" providerId="ADAL" clId="{66DFE6AE-2D99-46C7-8DE0-24D85B87A07F}" dt="2021-03-22T18:49:00.698" v="757" actId="255"/>
          <ac:spMkLst>
            <pc:docMk/>
            <pc:sldMk cId="793120422" sldId="444"/>
            <ac:spMk id="3" creationId="{00000000-0000-0000-0000-000000000000}"/>
          </ac:spMkLst>
        </pc:spChg>
        <pc:graphicFrameChg chg="modGraphic">
          <ac:chgData name="Kutas-Hille, Janine" userId="0788d68a-0adc-44ef-94ed-31189926cb8f" providerId="ADAL" clId="{66DFE6AE-2D99-46C7-8DE0-24D85B87A07F}" dt="2021-03-22T18:49:34.407" v="758" actId="20577"/>
          <ac:graphicFrameMkLst>
            <pc:docMk/>
            <pc:sldMk cId="793120422" sldId="444"/>
            <ac:graphicFrameMk id="19" creationId="{00000000-0000-0000-0000-000000000000}"/>
          </ac:graphicFrameMkLst>
        </pc:graphicFrameChg>
      </pc:sldChg>
      <pc:sldChg chg="delSp modSp del">
        <pc:chgData name="Kutas-Hille, Janine" userId="0788d68a-0adc-44ef-94ed-31189926cb8f" providerId="ADAL" clId="{66DFE6AE-2D99-46C7-8DE0-24D85B87A07F}" dt="2021-03-22T18:46:26.332" v="752" actId="2696"/>
        <pc:sldMkLst>
          <pc:docMk/>
          <pc:sldMk cId="1180582917" sldId="8835"/>
        </pc:sldMkLst>
        <pc:spChg chg="del mod">
          <ac:chgData name="Kutas-Hille, Janine" userId="0788d68a-0adc-44ef-94ed-31189926cb8f" providerId="ADAL" clId="{66DFE6AE-2D99-46C7-8DE0-24D85B87A07F}" dt="2021-03-22T18:46:20.201" v="749"/>
          <ac:spMkLst>
            <pc:docMk/>
            <pc:sldMk cId="1180582917" sldId="8835"/>
            <ac:spMk id="3" creationId="{21BBA9DD-83F9-4617-84E4-6CAA74E3B9FB}"/>
          </ac:spMkLst>
        </pc:spChg>
      </pc:sldChg>
      <pc:sldChg chg="modSp">
        <pc:chgData name="Kutas-Hille, Janine" userId="0788d68a-0adc-44ef-94ed-31189926cb8f" providerId="ADAL" clId="{66DFE6AE-2D99-46C7-8DE0-24D85B87A07F}" dt="2021-03-22T20:45:33.475" v="765"/>
        <pc:sldMkLst>
          <pc:docMk/>
          <pc:sldMk cId="3148283714" sldId="8987"/>
        </pc:sldMkLst>
        <pc:spChg chg="mod">
          <ac:chgData name="Kutas-Hille, Janine" userId="0788d68a-0adc-44ef-94ed-31189926cb8f" providerId="ADAL" clId="{66DFE6AE-2D99-46C7-8DE0-24D85B87A07F}" dt="2021-03-22T15:25:42.990" v="564" actId="1076"/>
          <ac:spMkLst>
            <pc:docMk/>
            <pc:sldMk cId="3148283714" sldId="8987"/>
            <ac:spMk id="4" creationId="{5BDED99B-694F-434D-97D8-B0EE825A396B}"/>
          </ac:spMkLst>
        </pc:spChg>
        <pc:spChg chg="mod">
          <ac:chgData name="Kutas-Hille, Janine" userId="0788d68a-0adc-44ef-94ed-31189926cb8f" providerId="ADAL" clId="{66DFE6AE-2D99-46C7-8DE0-24D85B87A07F}" dt="2021-03-22T20:45:33.475" v="765"/>
          <ac:spMkLst>
            <pc:docMk/>
            <pc:sldMk cId="3148283714" sldId="8987"/>
            <ac:spMk id="13" creationId="{00000000-0000-0000-0000-000000000000}"/>
          </ac:spMkLst>
        </pc:spChg>
      </pc:sldChg>
      <pc:sldChg chg="add del">
        <pc:chgData name="Kutas-Hille, Janine" userId="0788d68a-0adc-44ef-94ed-31189926cb8f" providerId="ADAL" clId="{66DFE6AE-2D99-46C7-8DE0-24D85B87A07F}" dt="2021-03-22T15:31:58.964" v="651" actId="2696"/>
        <pc:sldMkLst>
          <pc:docMk/>
          <pc:sldMk cId="883180132" sldId="8992"/>
        </pc:sldMkLst>
      </pc:sldChg>
      <pc:sldChg chg="delSp modSp">
        <pc:chgData name="Kutas-Hille, Janine" userId="0788d68a-0adc-44ef-94ed-31189926cb8f" providerId="ADAL" clId="{66DFE6AE-2D99-46C7-8DE0-24D85B87A07F}" dt="2021-03-22T15:31:51.442" v="650" actId="478"/>
        <pc:sldMkLst>
          <pc:docMk/>
          <pc:sldMk cId="3424447147" sldId="9001"/>
        </pc:sldMkLst>
        <pc:spChg chg="mod">
          <ac:chgData name="Kutas-Hille, Janine" userId="0788d68a-0adc-44ef-94ed-31189926cb8f" providerId="ADAL" clId="{66DFE6AE-2D99-46C7-8DE0-24D85B87A07F}" dt="2021-03-22T15:31:42.172" v="648" actId="20577"/>
          <ac:spMkLst>
            <pc:docMk/>
            <pc:sldMk cId="3424447147" sldId="9001"/>
            <ac:spMk id="4" creationId="{5BDED99B-694F-434D-97D8-B0EE825A396B}"/>
          </ac:spMkLst>
        </pc:spChg>
        <pc:spChg chg="del mod">
          <ac:chgData name="Kutas-Hille, Janine" userId="0788d68a-0adc-44ef-94ed-31189926cb8f" providerId="ADAL" clId="{66DFE6AE-2D99-46C7-8DE0-24D85B87A07F}" dt="2021-03-22T15:31:51.442" v="650" actId="478"/>
          <ac:spMkLst>
            <pc:docMk/>
            <pc:sldMk cId="3424447147" sldId="9001"/>
            <ac:spMk id="13" creationId="{301E5A4A-444F-44F2-85BF-B135521D01B5}"/>
          </ac:spMkLst>
        </pc:spChg>
      </pc:sldChg>
      <pc:sldChg chg="modSp del">
        <pc:chgData name="Kutas-Hille, Janine" userId="0788d68a-0adc-44ef-94ed-31189926cb8f" providerId="ADAL" clId="{66DFE6AE-2D99-46C7-8DE0-24D85B87A07F}" dt="2021-03-22T18:45:49.538" v="746" actId="2696"/>
        <pc:sldMkLst>
          <pc:docMk/>
          <pc:sldMk cId="1947168146" sldId="9022"/>
        </pc:sldMkLst>
        <pc:spChg chg="mod">
          <ac:chgData name="Kutas-Hille, Janine" userId="0788d68a-0adc-44ef-94ed-31189926cb8f" providerId="ADAL" clId="{66DFE6AE-2D99-46C7-8DE0-24D85B87A07F}" dt="2021-03-22T18:45:23.977" v="744" actId="6549"/>
          <ac:spMkLst>
            <pc:docMk/>
            <pc:sldMk cId="1947168146" sldId="9022"/>
            <ac:spMk id="3" creationId="{21BBA9DD-83F9-4617-84E4-6CAA74E3B9FB}"/>
          </ac:spMkLst>
        </pc:spChg>
      </pc:sldChg>
      <pc:sldChg chg="modSp add">
        <pc:chgData name="Kutas-Hille, Janine" userId="0788d68a-0adc-44ef-94ed-31189926cb8f" providerId="ADAL" clId="{66DFE6AE-2D99-46C7-8DE0-24D85B87A07F}" dt="2021-03-22T20:51:34.342" v="766" actId="255"/>
        <pc:sldMkLst>
          <pc:docMk/>
          <pc:sldMk cId="2318716816" sldId="9041"/>
        </pc:sldMkLst>
        <pc:spChg chg="mod">
          <ac:chgData name="Kutas-Hille, Janine" userId="0788d68a-0adc-44ef-94ed-31189926cb8f" providerId="ADAL" clId="{66DFE6AE-2D99-46C7-8DE0-24D85B87A07F}" dt="2021-03-22T18:44:15.504" v="738" actId="20577"/>
          <ac:spMkLst>
            <pc:docMk/>
            <pc:sldMk cId="2318716816" sldId="9041"/>
            <ac:spMk id="4" creationId="{5BDED99B-694F-434D-97D8-B0EE825A396B}"/>
          </ac:spMkLst>
        </pc:spChg>
        <pc:spChg chg="mod">
          <ac:chgData name="Kutas-Hille, Janine" userId="0788d68a-0adc-44ef-94ed-31189926cb8f" providerId="ADAL" clId="{66DFE6AE-2D99-46C7-8DE0-24D85B87A07F}" dt="2021-03-22T20:51:34.342" v="766" actId="255"/>
          <ac:spMkLst>
            <pc:docMk/>
            <pc:sldMk cId="2318716816" sldId="9041"/>
            <ac:spMk id="13" creationId="{00000000-0000-0000-0000-000000000000}"/>
          </ac:spMkLst>
        </pc:spChg>
      </pc:sldChg>
    </pc:docChg>
  </pc:docChgLst>
  <pc:docChgLst>
    <pc:chgData name="Jackman, Lauren" userId="S::ljackman@deloitte.com::ef96ab20-fb12-476c-a3e0-14bd051fc290" providerId="AD" clId="Web-{504CEF36-3609-4A61-A37C-84F1F658DB6D}"/>
    <pc:docChg chg="modSld">
      <pc:chgData name="Jackman, Lauren" userId="S::ljackman@deloitte.com::ef96ab20-fb12-476c-a3e0-14bd051fc290" providerId="AD" clId="Web-{504CEF36-3609-4A61-A37C-84F1F658DB6D}" dt="2021-01-05T17:35:54.572" v="2" actId="20577"/>
      <pc:docMkLst>
        <pc:docMk/>
      </pc:docMkLst>
      <pc:sldChg chg="modSp">
        <pc:chgData name="Jackman, Lauren" userId="S::ljackman@deloitte.com::ef96ab20-fb12-476c-a3e0-14bd051fc290" providerId="AD" clId="Web-{504CEF36-3609-4A61-A37C-84F1F658DB6D}" dt="2021-01-05T17:35:54.572" v="2" actId="20577"/>
        <pc:sldMkLst>
          <pc:docMk/>
          <pc:sldMk cId="2506138062" sldId="8782"/>
        </pc:sldMkLst>
        <pc:spChg chg="mod">
          <ac:chgData name="Jackman, Lauren" userId="S::ljackman@deloitte.com::ef96ab20-fb12-476c-a3e0-14bd051fc290" providerId="AD" clId="Web-{504CEF36-3609-4A61-A37C-84F1F658DB6D}" dt="2021-01-05T17:35:54.572" v="2" actId="20577"/>
          <ac:spMkLst>
            <pc:docMk/>
            <pc:sldMk cId="2506138062" sldId="8782"/>
            <ac:spMk id="2" creationId="{A29AD221-CF2A-4E37-B85D-5E741C5C69E6}"/>
          </ac:spMkLst>
        </pc:spChg>
      </pc:sldChg>
    </pc:docChg>
  </pc:docChgLst>
  <pc:docChgLst>
    <pc:chgData name="Thilakan, Andrew" userId="1f143052-8546-4a36-b467-ac96e3b8e64e" providerId="ADAL" clId="{41A1BAA5-556E-4CB5-807D-6FFC7DFC42E8}"/>
    <pc:docChg chg="undo custSel addSld delSld modSld sldOrd modSection">
      <pc:chgData name="Thilakan, Andrew" userId="1f143052-8546-4a36-b467-ac96e3b8e64e" providerId="ADAL" clId="{41A1BAA5-556E-4CB5-807D-6FFC7DFC42E8}" dt="2020-12-01T21:59:52.857" v="342" actId="207"/>
      <pc:docMkLst>
        <pc:docMk/>
      </pc:docMkLst>
      <pc:sldChg chg="addSp delSp modSp del">
        <pc:chgData name="Thilakan, Andrew" userId="1f143052-8546-4a36-b467-ac96e3b8e64e" providerId="ADAL" clId="{41A1BAA5-556E-4CB5-807D-6FFC7DFC42E8}" dt="2020-12-01T21:50:24.200" v="265" actId="2696"/>
        <pc:sldMkLst>
          <pc:docMk/>
          <pc:sldMk cId="1978270760" sldId="1111"/>
        </pc:sldMkLst>
        <pc:spChg chg="add mod ord">
          <ac:chgData name="Thilakan, Andrew" userId="1f143052-8546-4a36-b467-ac96e3b8e64e" providerId="ADAL" clId="{41A1BAA5-556E-4CB5-807D-6FFC7DFC42E8}" dt="2020-12-01T21:21:59.681" v="14" actId="167"/>
          <ac:spMkLst>
            <pc:docMk/>
            <pc:sldMk cId="1978270760" sldId="1111"/>
            <ac:spMk id="2" creationId="{8C12E959-3029-4DD9-A1C1-6FA13151D5B8}"/>
          </ac:spMkLst>
        </pc:spChg>
        <pc:spChg chg="mod">
          <ac:chgData name="Thilakan, Andrew" userId="1f143052-8546-4a36-b467-ac96e3b8e64e" providerId="ADAL" clId="{41A1BAA5-556E-4CB5-807D-6FFC7DFC42E8}" dt="2020-12-01T21:22:07.781" v="15" actId="14100"/>
          <ac:spMkLst>
            <pc:docMk/>
            <pc:sldMk cId="1978270760" sldId="1111"/>
            <ac:spMk id="43" creationId="{0AC3BA20-D8E1-477E-B053-A14ECEBD7AD3}"/>
          </ac:spMkLst>
        </pc:spChg>
        <pc:spChg chg="del mod">
          <ac:chgData name="Thilakan, Andrew" userId="1f143052-8546-4a36-b467-ac96e3b8e64e" providerId="ADAL" clId="{41A1BAA5-556E-4CB5-807D-6FFC7DFC42E8}" dt="2020-12-01T21:21:20.741" v="9" actId="478"/>
          <ac:spMkLst>
            <pc:docMk/>
            <pc:sldMk cId="1978270760" sldId="1111"/>
            <ac:spMk id="48" creationId="{E5B5C9E8-BAE1-4FFC-B4B6-CA17B7D56CBF}"/>
          </ac:spMkLst>
        </pc:spChg>
      </pc:sldChg>
      <pc:sldChg chg="addSp delSp modSp add ord">
        <pc:chgData name="Thilakan, Andrew" userId="1f143052-8546-4a36-b467-ac96e3b8e64e" providerId="ADAL" clId="{41A1BAA5-556E-4CB5-807D-6FFC7DFC42E8}" dt="2020-12-01T21:59:52.857" v="342" actId="207"/>
        <pc:sldMkLst>
          <pc:docMk/>
          <pc:sldMk cId="2033609959" sldId="9023"/>
        </pc:sldMkLst>
        <pc:spChg chg="mod">
          <ac:chgData name="Thilakan, Andrew" userId="1f143052-8546-4a36-b467-ac96e3b8e64e" providerId="ADAL" clId="{41A1BAA5-556E-4CB5-807D-6FFC7DFC42E8}" dt="2020-12-01T21:32:00.627" v="170" actId="14100"/>
          <ac:spMkLst>
            <pc:docMk/>
            <pc:sldMk cId="2033609959" sldId="9023"/>
            <ac:spMk id="2" creationId="{8C12E959-3029-4DD9-A1C1-6FA13151D5B8}"/>
          </ac:spMkLst>
        </pc:spChg>
        <pc:spChg chg="mod ord">
          <ac:chgData name="Thilakan, Andrew" userId="1f143052-8546-4a36-b467-ac96e3b8e64e" providerId="ADAL" clId="{41A1BAA5-556E-4CB5-807D-6FFC7DFC42E8}" dt="2020-12-01T21:31:19.233" v="161" actId="14100"/>
          <ac:spMkLst>
            <pc:docMk/>
            <pc:sldMk cId="2033609959" sldId="9023"/>
            <ac:spMk id="4" creationId="{F05AFE26-3FDE-40FA-BD03-7BE43CDC0154}"/>
          </ac:spMkLst>
        </pc:spChg>
        <pc:spChg chg="add del mod">
          <ac:chgData name="Thilakan, Andrew" userId="1f143052-8546-4a36-b467-ac96e3b8e64e" providerId="ADAL" clId="{41A1BAA5-556E-4CB5-807D-6FFC7DFC42E8}" dt="2020-12-01T21:38:05.951" v="175" actId="478"/>
          <ac:spMkLst>
            <pc:docMk/>
            <pc:sldMk cId="2033609959" sldId="9023"/>
            <ac:spMk id="5" creationId="{3E4E7095-7D7C-45FE-8C94-4C6D96FF080B}"/>
          </ac:spMkLst>
        </pc:spChg>
        <pc:spChg chg="add mod">
          <ac:chgData name="Thilakan, Andrew" userId="1f143052-8546-4a36-b467-ac96e3b8e64e" providerId="ADAL" clId="{41A1BAA5-556E-4CB5-807D-6FFC7DFC42E8}" dt="2020-12-01T21:59:19.274" v="339" actId="207"/>
          <ac:spMkLst>
            <pc:docMk/>
            <pc:sldMk cId="2033609959" sldId="9023"/>
            <ac:spMk id="5" creationId="{A9C8BA2F-28FD-42A0-9357-22CA239AF759}"/>
          </ac:spMkLst>
        </pc:spChg>
        <pc:spChg chg="add del mod">
          <ac:chgData name="Thilakan, Andrew" userId="1f143052-8546-4a36-b467-ac96e3b8e64e" providerId="ADAL" clId="{41A1BAA5-556E-4CB5-807D-6FFC7DFC42E8}" dt="2020-12-01T21:42:05.206" v="216" actId="478"/>
          <ac:spMkLst>
            <pc:docMk/>
            <pc:sldMk cId="2033609959" sldId="9023"/>
            <ac:spMk id="8" creationId="{6BB22762-DB94-45A3-8839-8952D20F7E4D}"/>
          </ac:spMkLst>
        </pc:spChg>
        <pc:spChg chg="mod">
          <ac:chgData name="Thilakan, Andrew" userId="1f143052-8546-4a36-b467-ac96e3b8e64e" providerId="ADAL" clId="{41A1BAA5-556E-4CB5-807D-6FFC7DFC42E8}" dt="2020-12-01T21:42:17.033" v="227" actId="1035"/>
          <ac:spMkLst>
            <pc:docMk/>
            <pc:sldMk cId="2033609959" sldId="9023"/>
            <ac:spMk id="9" creationId="{00000000-0000-0000-0000-000000000000}"/>
          </ac:spMkLst>
        </pc:spChg>
        <pc:spChg chg="mod">
          <ac:chgData name="Thilakan, Andrew" userId="1f143052-8546-4a36-b467-ac96e3b8e64e" providerId="ADAL" clId="{41A1BAA5-556E-4CB5-807D-6FFC7DFC42E8}" dt="2020-12-01T21:33:52.100" v="174" actId="14100"/>
          <ac:spMkLst>
            <pc:docMk/>
            <pc:sldMk cId="2033609959" sldId="9023"/>
            <ac:spMk id="12" creationId="{9F493675-EFCA-419F-BDC2-7998DCA24F3C}"/>
          </ac:spMkLst>
        </pc:spChg>
        <pc:spChg chg="mod">
          <ac:chgData name="Thilakan, Andrew" userId="1f143052-8546-4a36-b467-ac96e3b8e64e" providerId="ADAL" clId="{41A1BAA5-556E-4CB5-807D-6FFC7DFC42E8}" dt="2020-12-01T21:43:52.759" v="246" actId="1076"/>
          <ac:spMkLst>
            <pc:docMk/>
            <pc:sldMk cId="2033609959" sldId="9023"/>
            <ac:spMk id="14" creationId="{8B34F092-30CA-4F6D-884F-075EF9C90938}"/>
          </ac:spMkLst>
        </pc:spChg>
        <pc:spChg chg="add mod">
          <ac:chgData name="Thilakan, Andrew" userId="1f143052-8546-4a36-b467-ac96e3b8e64e" providerId="ADAL" clId="{41A1BAA5-556E-4CB5-807D-6FFC7DFC42E8}" dt="2020-12-01T21:46:23.793" v="263" actId="14100"/>
          <ac:spMkLst>
            <pc:docMk/>
            <pc:sldMk cId="2033609959" sldId="9023"/>
            <ac:spMk id="15" creationId="{9864E98C-0779-4CB0-8D54-053EEA82D616}"/>
          </ac:spMkLst>
        </pc:spChg>
        <pc:spChg chg="add mod">
          <ac:chgData name="Thilakan, Andrew" userId="1f143052-8546-4a36-b467-ac96e3b8e64e" providerId="ADAL" clId="{41A1BAA5-556E-4CB5-807D-6FFC7DFC42E8}" dt="2020-12-01T21:59:45.539" v="341" actId="207"/>
          <ac:spMkLst>
            <pc:docMk/>
            <pc:sldMk cId="2033609959" sldId="9023"/>
            <ac:spMk id="17" creationId="{8BCF3743-DCF2-4469-A9AA-DB54565B137B}"/>
          </ac:spMkLst>
        </pc:spChg>
        <pc:spChg chg="add mod">
          <ac:chgData name="Thilakan, Andrew" userId="1f143052-8546-4a36-b467-ac96e3b8e64e" providerId="ADAL" clId="{41A1BAA5-556E-4CB5-807D-6FFC7DFC42E8}" dt="2020-12-01T21:46:05.996" v="262" actId="11529"/>
          <ac:spMkLst>
            <pc:docMk/>
            <pc:sldMk cId="2033609959" sldId="9023"/>
            <ac:spMk id="18" creationId="{5AF98511-D0FA-405F-B79D-B45C758D25EF}"/>
          </ac:spMkLst>
        </pc:spChg>
        <pc:spChg chg="del">
          <ac:chgData name="Thilakan, Andrew" userId="1f143052-8546-4a36-b467-ac96e3b8e64e" providerId="ADAL" clId="{41A1BAA5-556E-4CB5-807D-6FFC7DFC42E8}" dt="2020-12-01T21:30:31.015" v="155" actId="478"/>
          <ac:spMkLst>
            <pc:docMk/>
            <pc:sldMk cId="2033609959" sldId="9023"/>
            <ac:spMk id="30" creationId="{00000000-0000-0000-0000-000000000000}"/>
          </ac:spMkLst>
        </pc:spChg>
        <pc:spChg chg="mod">
          <ac:chgData name="Thilakan, Andrew" userId="1f143052-8546-4a36-b467-ac96e3b8e64e" providerId="ADAL" clId="{41A1BAA5-556E-4CB5-807D-6FFC7DFC42E8}" dt="2020-12-01T21:43:21.224" v="239" actId="1076"/>
          <ac:spMkLst>
            <pc:docMk/>
            <pc:sldMk cId="2033609959" sldId="9023"/>
            <ac:spMk id="43" creationId="{0AC3BA20-D8E1-477E-B053-A14ECEBD7AD3}"/>
          </ac:spMkLst>
        </pc:spChg>
        <pc:spChg chg="del">
          <ac:chgData name="Thilakan, Andrew" userId="1f143052-8546-4a36-b467-ac96e3b8e64e" providerId="ADAL" clId="{41A1BAA5-556E-4CB5-807D-6FFC7DFC42E8}" dt="2020-12-01T21:23:37.218" v="18" actId="478"/>
          <ac:spMkLst>
            <pc:docMk/>
            <pc:sldMk cId="2033609959" sldId="9023"/>
            <ac:spMk id="46" creationId="{41C854F4-7C58-4ECF-AD6E-C39E69BAD256}"/>
          </ac:spMkLst>
        </pc:spChg>
        <pc:spChg chg="add mod">
          <ac:chgData name="Thilakan, Andrew" userId="1f143052-8546-4a36-b467-ac96e3b8e64e" providerId="ADAL" clId="{41A1BAA5-556E-4CB5-807D-6FFC7DFC42E8}" dt="2020-12-01T21:27:02.007" v="114" actId="1076"/>
          <ac:spMkLst>
            <pc:docMk/>
            <pc:sldMk cId="2033609959" sldId="9023"/>
            <ac:spMk id="48" creationId="{334079FE-AA2F-4498-BC82-FBC151FB3B94}"/>
          </ac:spMkLst>
        </pc:spChg>
        <pc:spChg chg="mod">
          <ac:chgData name="Thilakan, Andrew" userId="1f143052-8546-4a36-b467-ac96e3b8e64e" providerId="ADAL" clId="{41A1BAA5-556E-4CB5-807D-6FFC7DFC42E8}" dt="2020-12-01T21:59:52.857" v="342" actId="207"/>
          <ac:spMkLst>
            <pc:docMk/>
            <pc:sldMk cId="2033609959" sldId="9023"/>
            <ac:spMk id="57" creationId="{E824F274-BF2A-4CC4-9FCF-3034D3042D5A}"/>
          </ac:spMkLst>
        </pc:spChg>
        <pc:spChg chg="add mod">
          <ac:chgData name="Thilakan, Andrew" userId="1f143052-8546-4a36-b467-ac96e3b8e64e" providerId="ADAL" clId="{41A1BAA5-556E-4CB5-807D-6FFC7DFC42E8}" dt="2020-12-01T21:59:26.723" v="340" actId="14100"/>
          <ac:spMkLst>
            <pc:docMk/>
            <pc:sldMk cId="2033609959" sldId="9023"/>
            <ac:spMk id="61" creationId="{477F0767-7B1C-4644-87D1-4C0567C4DD78}"/>
          </ac:spMkLst>
        </pc:spChg>
        <pc:spChg chg="del">
          <ac:chgData name="Thilakan, Andrew" userId="1f143052-8546-4a36-b467-ac96e3b8e64e" providerId="ADAL" clId="{41A1BAA5-556E-4CB5-807D-6FFC7DFC42E8}" dt="2020-12-01T21:23:46.543" v="19" actId="478"/>
          <ac:spMkLst>
            <pc:docMk/>
            <pc:sldMk cId="2033609959" sldId="9023"/>
            <ac:spMk id="61" creationId="{88A0BF57-2E6E-4A28-B29C-492E98A85122}"/>
          </ac:spMkLst>
        </pc:spChg>
        <pc:spChg chg="mod ord">
          <ac:chgData name="Thilakan, Andrew" userId="1f143052-8546-4a36-b467-ac96e3b8e64e" providerId="ADAL" clId="{41A1BAA5-556E-4CB5-807D-6FFC7DFC42E8}" dt="2020-12-01T21:31:42.996" v="168" actId="14100"/>
          <ac:spMkLst>
            <pc:docMk/>
            <pc:sldMk cId="2033609959" sldId="9023"/>
            <ac:spMk id="63" creationId="{220BBD43-F0D0-4EF3-889B-E13754B51E8F}"/>
          </ac:spMkLst>
        </pc:spChg>
        <pc:spChg chg="mod">
          <ac:chgData name="Thilakan, Andrew" userId="1f143052-8546-4a36-b467-ac96e3b8e64e" providerId="ADAL" clId="{41A1BAA5-556E-4CB5-807D-6FFC7DFC42E8}" dt="2020-12-01T21:27:16.432" v="117" actId="14100"/>
          <ac:spMkLst>
            <pc:docMk/>
            <pc:sldMk cId="2033609959" sldId="9023"/>
            <ac:spMk id="65" creationId="{3C77B214-12EF-46B3-B5DA-8FCAA50E7808}"/>
          </ac:spMkLst>
        </pc:spChg>
        <pc:spChg chg="mod">
          <ac:chgData name="Thilakan, Andrew" userId="1f143052-8546-4a36-b467-ac96e3b8e64e" providerId="ADAL" clId="{41A1BAA5-556E-4CB5-807D-6FFC7DFC42E8}" dt="2020-12-01T21:31:08.437" v="158" actId="1076"/>
          <ac:spMkLst>
            <pc:docMk/>
            <pc:sldMk cId="2033609959" sldId="9023"/>
            <ac:spMk id="66" creationId="{D1CD1B17-7D40-48D4-A6A5-71D72B3B8165}"/>
          </ac:spMkLst>
        </pc:spChg>
        <pc:spChg chg="mod">
          <ac:chgData name="Thilakan, Andrew" userId="1f143052-8546-4a36-b467-ac96e3b8e64e" providerId="ADAL" clId="{41A1BAA5-556E-4CB5-807D-6FFC7DFC42E8}" dt="2020-12-01T21:27:13.337" v="116" actId="14100"/>
          <ac:spMkLst>
            <pc:docMk/>
            <pc:sldMk cId="2033609959" sldId="9023"/>
            <ac:spMk id="67" creationId="{2A6C298B-60E0-4651-B6B9-565E075B5D56}"/>
          </ac:spMkLst>
        </pc:spChg>
        <pc:spChg chg="del">
          <ac:chgData name="Thilakan, Andrew" userId="1f143052-8546-4a36-b467-ac96e3b8e64e" providerId="ADAL" clId="{41A1BAA5-556E-4CB5-807D-6FFC7DFC42E8}" dt="2020-12-01T21:23:46.543" v="19" actId="478"/>
          <ac:spMkLst>
            <pc:docMk/>
            <pc:sldMk cId="2033609959" sldId="9023"/>
            <ac:spMk id="68" creationId="{98259EE2-C171-44C0-B62B-966132E46FF1}"/>
          </ac:spMkLst>
        </pc:spChg>
        <pc:spChg chg="add mod">
          <ac:chgData name="Thilakan, Andrew" userId="1f143052-8546-4a36-b467-ac96e3b8e64e" providerId="ADAL" clId="{41A1BAA5-556E-4CB5-807D-6FFC7DFC42E8}" dt="2020-12-01T21:59:08.151" v="338" actId="1076"/>
          <ac:spMkLst>
            <pc:docMk/>
            <pc:sldMk cId="2033609959" sldId="9023"/>
            <ac:spMk id="68" creationId="{D892A6F5-344F-449D-ADE5-164FAEC15A1E}"/>
          </ac:spMkLst>
        </pc:spChg>
        <pc:spChg chg="del">
          <ac:chgData name="Thilakan, Andrew" userId="1f143052-8546-4a36-b467-ac96e3b8e64e" providerId="ADAL" clId="{41A1BAA5-556E-4CB5-807D-6FFC7DFC42E8}" dt="2020-12-01T21:23:37.218" v="18" actId="478"/>
          <ac:spMkLst>
            <pc:docMk/>
            <pc:sldMk cId="2033609959" sldId="9023"/>
            <ac:spMk id="69" creationId="{F538527F-8036-4C0F-AD99-BBEFB8FB145C}"/>
          </ac:spMkLst>
        </pc:spChg>
        <pc:spChg chg="add mod">
          <ac:chgData name="Thilakan, Andrew" userId="1f143052-8546-4a36-b467-ac96e3b8e64e" providerId="ADAL" clId="{41A1BAA5-556E-4CB5-807D-6FFC7DFC42E8}" dt="2020-12-01T21:27:35.747" v="123" actId="207"/>
          <ac:spMkLst>
            <pc:docMk/>
            <pc:sldMk cId="2033609959" sldId="9023"/>
            <ac:spMk id="70" creationId="{9A942192-392F-444B-98CF-57D5373F9DC0}"/>
          </ac:spMkLst>
        </pc:spChg>
        <pc:spChg chg="add mod">
          <ac:chgData name="Thilakan, Andrew" userId="1f143052-8546-4a36-b467-ac96e3b8e64e" providerId="ADAL" clId="{41A1BAA5-556E-4CB5-807D-6FFC7DFC42E8}" dt="2020-12-01T21:38:10.711" v="176" actId="1076"/>
          <ac:spMkLst>
            <pc:docMk/>
            <pc:sldMk cId="2033609959" sldId="9023"/>
            <ac:spMk id="71" creationId="{D7117C1D-186E-47BE-8B84-020D6424CCCD}"/>
          </ac:spMkLst>
        </pc:spChg>
        <pc:spChg chg="add del mod">
          <ac:chgData name="Thilakan, Andrew" userId="1f143052-8546-4a36-b467-ac96e3b8e64e" providerId="ADAL" clId="{41A1BAA5-556E-4CB5-807D-6FFC7DFC42E8}" dt="2020-12-01T21:28:21.224" v="138" actId="478"/>
          <ac:spMkLst>
            <pc:docMk/>
            <pc:sldMk cId="2033609959" sldId="9023"/>
            <ac:spMk id="72" creationId="{05B2EC8B-F698-4F8E-B94F-6166A8EC668E}"/>
          </ac:spMkLst>
        </pc:spChg>
        <pc:spChg chg="add mod">
          <ac:chgData name="Thilakan, Andrew" userId="1f143052-8546-4a36-b467-ac96e3b8e64e" providerId="ADAL" clId="{41A1BAA5-556E-4CB5-807D-6FFC7DFC42E8}" dt="2020-12-01T21:42:17.033" v="227" actId="1035"/>
          <ac:spMkLst>
            <pc:docMk/>
            <pc:sldMk cId="2033609959" sldId="9023"/>
            <ac:spMk id="73" creationId="{40544B03-B6E7-41D6-BAFD-19BAB0302B9C}"/>
          </ac:spMkLst>
        </pc:spChg>
        <pc:spChg chg="add mod">
          <ac:chgData name="Thilakan, Andrew" userId="1f143052-8546-4a36-b467-ac96e3b8e64e" providerId="ADAL" clId="{41A1BAA5-556E-4CB5-807D-6FFC7DFC42E8}" dt="2020-12-01T21:59:52.857" v="342" actId="207"/>
          <ac:spMkLst>
            <pc:docMk/>
            <pc:sldMk cId="2033609959" sldId="9023"/>
            <ac:spMk id="74" creationId="{D124F532-527E-41CC-8062-8A18BA8AB602}"/>
          </ac:spMkLst>
        </pc:spChg>
      </pc:sldChg>
    </pc:docChg>
  </pc:docChgLst>
  <pc:docChgLst>
    <pc:chgData name="Eng, Debbie" userId="S::deeng@deloitte.com::286d73c1-a15a-4753-a336-00ed9074670a" providerId="AD" clId="Web-{DAE44015-2EF9-357F-0054-F6854DB34AA9}"/>
    <pc:docChg chg="modSld">
      <pc:chgData name="Eng, Debbie" userId="S::deeng@deloitte.com::286d73c1-a15a-4753-a336-00ed9074670a" providerId="AD" clId="Web-{DAE44015-2EF9-357F-0054-F6854DB34AA9}" dt="2021-03-15T21:59:50.319" v="2" actId="20577"/>
      <pc:docMkLst>
        <pc:docMk/>
      </pc:docMkLst>
      <pc:sldChg chg="modSp">
        <pc:chgData name="Eng, Debbie" userId="S::deeng@deloitte.com::286d73c1-a15a-4753-a336-00ed9074670a" providerId="AD" clId="Web-{DAE44015-2EF9-357F-0054-F6854DB34AA9}" dt="2021-03-15T21:59:50.319" v="2" actId="20577"/>
        <pc:sldMkLst>
          <pc:docMk/>
          <pc:sldMk cId="1078693895" sldId="268"/>
        </pc:sldMkLst>
        <pc:spChg chg="mod">
          <ac:chgData name="Eng, Debbie" userId="S::deeng@deloitte.com::286d73c1-a15a-4753-a336-00ed9074670a" providerId="AD" clId="Web-{DAE44015-2EF9-357F-0054-F6854DB34AA9}" dt="2021-03-15T21:59:50.319" v="2" actId="20577"/>
          <ac:spMkLst>
            <pc:docMk/>
            <pc:sldMk cId="1078693895" sldId="268"/>
            <ac:spMk id="22" creationId="{E4EEB0BB-CEA4-435D-930A-B95795FCC5A9}"/>
          </ac:spMkLst>
        </pc:spChg>
      </pc:sldChg>
    </pc:docChg>
  </pc:docChgLst>
  <pc:docChgLst>
    <pc:chgData name="Jackman, Lauren" userId="S::ljackman@deloitte.com::ef96ab20-fb12-476c-a3e0-14bd051fc290" providerId="AD" clId="Web-{0CD8F90E-D35B-771D-7AD3-E280A24C2BB2}"/>
    <pc:docChg chg="modSld">
      <pc:chgData name="Jackman, Lauren" userId="S::ljackman@deloitte.com::ef96ab20-fb12-476c-a3e0-14bd051fc290" providerId="AD" clId="Web-{0CD8F90E-D35B-771D-7AD3-E280A24C2BB2}" dt="2021-02-25T13:30:45.931" v="199"/>
      <pc:docMkLst>
        <pc:docMk/>
      </pc:docMkLst>
      <pc:sldChg chg="addSp delSp modSp addCm modCm">
        <pc:chgData name="Jackman, Lauren" userId="S::ljackman@deloitte.com::ef96ab20-fb12-476c-a3e0-14bd051fc290" providerId="AD" clId="Web-{0CD8F90E-D35B-771D-7AD3-E280A24C2BB2}" dt="2021-02-25T13:30:45.931" v="199"/>
        <pc:sldMkLst>
          <pc:docMk/>
          <pc:sldMk cId="24609206" sldId="2104"/>
        </pc:sldMkLst>
        <pc:spChg chg="add del">
          <ac:chgData name="Jackman, Lauren" userId="S::ljackman@deloitte.com::ef96ab20-fb12-476c-a3e0-14bd051fc290" providerId="AD" clId="Web-{0CD8F90E-D35B-771D-7AD3-E280A24C2BB2}" dt="2021-02-25T13:29:00.772" v="150"/>
          <ac:spMkLst>
            <pc:docMk/>
            <pc:sldMk cId="24609206" sldId="2104"/>
            <ac:spMk id="2" creationId="{0C120943-0872-493F-8ECA-A8C106227A49}"/>
          </ac:spMkLst>
        </pc:spChg>
        <pc:spChg chg="add del">
          <ac:chgData name="Jackman, Lauren" userId="S::ljackman@deloitte.com::ef96ab20-fb12-476c-a3e0-14bd051fc290" providerId="AD" clId="Web-{0CD8F90E-D35B-771D-7AD3-E280A24C2BB2}" dt="2021-02-25T13:28:58.960" v="149"/>
          <ac:spMkLst>
            <pc:docMk/>
            <pc:sldMk cId="24609206" sldId="2104"/>
            <ac:spMk id="4" creationId="{0247BA6B-9D14-4386-B0EF-529161D62D53}"/>
          </ac:spMkLst>
        </pc:spChg>
        <pc:spChg chg="mod">
          <ac:chgData name="Jackman, Lauren" userId="S::ljackman@deloitte.com::ef96ab20-fb12-476c-a3e0-14bd051fc290" providerId="AD" clId="Web-{0CD8F90E-D35B-771D-7AD3-E280A24C2BB2}" dt="2021-02-25T13:29:06.600" v="152" actId="1076"/>
          <ac:spMkLst>
            <pc:docMk/>
            <pc:sldMk cId="24609206" sldId="2104"/>
            <ac:spMk id="5" creationId="{5B812393-1D4C-44E5-88C8-52EB15B2AC90}"/>
          </ac:spMkLst>
        </pc:spChg>
        <pc:spChg chg="add mod">
          <ac:chgData name="Jackman, Lauren" userId="S::ljackman@deloitte.com::ef96ab20-fb12-476c-a3e0-14bd051fc290" providerId="AD" clId="Web-{0CD8F90E-D35B-771D-7AD3-E280A24C2BB2}" dt="2021-02-25T13:29:55.695" v="197" actId="1076"/>
          <ac:spMkLst>
            <pc:docMk/>
            <pc:sldMk cId="24609206" sldId="2104"/>
            <ac:spMk id="6" creationId="{41712EE9-2920-4875-B348-8A4168F5AC30}"/>
          </ac:spMkLst>
        </pc:spChg>
      </pc:sldChg>
    </pc:docChg>
  </pc:docChgLst>
  <pc:docChgLst>
    <pc:chgData name="Zhong, Rose" userId="S::rozhong@deloitte.com::91b20ec7-2220-4f96-9b07-259aafca34b3" providerId="AD" clId="Web-{AB87AE9F-A0CA-0000-A6C0-26926C893DC7}"/>
    <pc:docChg chg="modSld">
      <pc:chgData name="Zhong, Rose" userId="S::rozhong@deloitte.com::91b20ec7-2220-4f96-9b07-259aafca34b3" providerId="AD" clId="Web-{AB87AE9F-A0CA-0000-A6C0-26926C893DC7}" dt="2021-02-24T23:09:53.108" v="5" actId="20577"/>
      <pc:docMkLst>
        <pc:docMk/>
      </pc:docMkLst>
      <pc:sldChg chg="modSp">
        <pc:chgData name="Zhong, Rose" userId="S::rozhong@deloitte.com::91b20ec7-2220-4f96-9b07-259aafca34b3" providerId="AD" clId="Web-{AB87AE9F-A0CA-0000-A6C0-26926C893DC7}" dt="2021-02-24T23:09:53.108" v="5" actId="20577"/>
        <pc:sldMkLst>
          <pc:docMk/>
          <pc:sldMk cId="1078693895" sldId="268"/>
        </pc:sldMkLst>
        <pc:spChg chg="mod">
          <ac:chgData name="Zhong, Rose" userId="S::rozhong@deloitte.com::91b20ec7-2220-4f96-9b07-259aafca34b3" providerId="AD" clId="Web-{AB87AE9F-A0CA-0000-A6C0-26926C893DC7}" dt="2021-02-24T23:09:48.639" v="2" actId="20577"/>
          <ac:spMkLst>
            <pc:docMk/>
            <pc:sldMk cId="1078693895" sldId="268"/>
            <ac:spMk id="20" creationId="{97F95232-FAF7-4FBD-A394-067DD3DBBE84}"/>
          </ac:spMkLst>
        </pc:spChg>
        <pc:spChg chg="mod">
          <ac:chgData name="Zhong, Rose" userId="S::rozhong@deloitte.com::91b20ec7-2220-4f96-9b07-259aafca34b3" providerId="AD" clId="Web-{AB87AE9F-A0CA-0000-A6C0-26926C893DC7}" dt="2021-02-24T23:09:53.108" v="5" actId="20577"/>
          <ac:spMkLst>
            <pc:docMk/>
            <pc:sldMk cId="1078693895" sldId="268"/>
            <ac:spMk id="22" creationId="{E4EEB0BB-CEA4-435D-930A-B95795FCC5A9}"/>
          </ac:spMkLst>
        </pc:spChg>
      </pc:sldChg>
    </pc:docChg>
  </pc:docChgLst>
  <pc:docChgLst>
    <pc:chgData name="Jackman, Lauren" userId="ef96ab20-fb12-476c-a3e0-14bd051fc290" providerId="ADAL" clId="{CC2476CE-D74C-41AA-8A98-B5968D3DEF8B}"/>
    <pc:docChg chg="custSel delSld modSld modSection">
      <pc:chgData name="Jackman, Lauren" userId="ef96ab20-fb12-476c-a3e0-14bd051fc290" providerId="ADAL" clId="{CC2476CE-D74C-41AA-8A98-B5968D3DEF8B}" dt="2021-02-24T19:54:15.094" v="444" actId="20577"/>
      <pc:docMkLst>
        <pc:docMk/>
      </pc:docMkLst>
      <pc:sldChg chg="delSp modSp delAnim addCm modCm">
        <pc:chgData name="Jackman, Lauren" userId="ef96ab20-fb12-476c-a3e0-14bd051fc290" providerId="ADAL" clId="{CC2476CE-D74C-41AA-8A98-B5968D3DEF8B}" dt="2021-02-24T19:52:07.848" v="322" actId="20577"/>
        <pc:sldMkLst>
          <pc:docMk/>
          <pc:sldMk cId="1078693895" sldId="268"/>
        </pc:sldMkLst>
        <pc:spChg chg="del">
          <ac:chgData name="Jackman, Lauren" userId="ef96ab20-fb12-476c-a3e0-14bd051fc290" providerId="ADAL" clId="{CC2476CE-D74C-41AA-8A98-B5968D3DEF8B}" dt="2021-02-24T19:41:16.031" v="25" actId="478"/>
          <ac:spMkLst>
            <pc:docMk/>
            <pc:sldMk cId="1078693895" sldId="268"/>
            <ac:spMk id="2" creationId="{00000000-0000-0000-0000-000000000000}"/>
          </ac:spMkLst>
        </pc:spChg>
        <pc:spChg chg="mod">
          <ac:chgData name="Jackman, Lauren" userId="ef96ab20-fb12-476c-a3e0-14bd051fc290" providerId="ADAL" clId="{CC2476CE-D74C-41AA-8A98-B5968D3DEF8B}" dt="2021-02-24T19:46:38.193" v="283" actId="1076"/>
          <ac:spMkLst>
            <pc:docMk/>
            <pc:sldMk cId="1078693895" sldId="268"/>
            <ac:spMk id="14" creationId="{5D719E63-E741-4437-8121-ABA5F5E6CA33}"/>
          </ac:spMkLst>
        </pc:spChg>
        <pc:spChg chg="mod">
          <ac:chgData name="Jackman, Lauren" userId="ef96ab20-fb12-476c-a3e0-14bd051fc290" providerId="ADAL" clId="{CC2476CE-D74C-41AA-8A98-B5968D3DEF8B}" dt="2021-02-24T19:46:21.146" v="278" actId="14100"/>
          <ac:spMkLst>
            <pc:docMk/>
            <pc:sldMk cId="1078693895" sldId="268"/>
            <ac:spMk id="17" creationId="{DC7EC01E-5784-4F90-8E40-A3F631182295}"/>
          </ac:spMkLst>
        </pc:spChg>
        <pc:spChg chg="del">
          <ac:chgData name="Jackman, Lauren" userId="ef96ab20-fb12-476c-a3e0-14bd051fc290" providerId="ADAL" clId="{CC2476CE-D74C-41AA-8A98-B5968D3DEF8B}" dt="2021-02-24T19:41:13.203" v="24" actId="478"/>
          <ac:spMkLst>
            <pc:docMk/>
            <pc:sldMk cId="1078693895" sldId="268"/>
            <ac:spMk id="18" creationId="{E4EEB0BB-CEA4-435D-930A-B95795FCC5A9}"/>
          </ac:spMkLst>
        </pc:spChg>
        <pc:spChg chg="mod">
          <ac:chgData name="Jackman, Lauren" userId="ef96ab20-fb12-476c-a3e0-14bd051fc290" providerId="ADAL" clId="{CC2476CE-D74C-41AA-8A98-B5968D3DEF8B}" dt="2021-02-24T19:52:07.848" v="322" actId="20577"/>
          <ac:spMkLst>
            <pc:docMk/>
            <pc:sldMk cId="1078693895" sldId="268"/>
            <ac:spMk id="20" creationId="{97F95232-FAF7-4FBD-A394-067DD3DBBE84}"/>
          </ac:spMkLst>
        </pc:spChg>
        <pc:spChg chg="mod">
          <ac:chgData name="Jackman, Lauren" userId="ef96ab20-fb12-476c-a3e0-14bd051fc290" providerId="ADAL" clId="{CC2476CE-D74C-41AA-8A98-B5968D3DEF8B}" dt="2021-02-24T19:46:28.943" v="281" actId="14100"/>
          <ac:spMkLst>
            <pc:docMk/>
            <pc:sldMk cId="1078693895" sldId="268"/>
            <ac:spMk id="21" creationId="{F18A993C-B7C9-4F11-A56F-781ECF936695}"/>
          </ac:spMkLst>
        </pc:spChg>
        <pc:spChg chg="mod">
          <ac:chgData name="Jackman, Lauren" userId="ef96ab20-fb12-476c-a3e0-14bd051fc290" providerId="ADAL" clId="{CC2476CE-D74C-41AA-8A98-B5968D3DEF8B}" dt="2021-02-24T19:48:58.823" v="313" actId="6549"/>
          <ac:spMkLst>
            <pc:docMk/>
            <pc:sldMk cId="1078693895" sldId="268"/>
            <ac:spMk id="22" creationId="{E4EEB0BB-CEA4-435D-930A-B95795FCC5A9}"/>
          </ac:spMkLst>
        </pc:spChg>
        <pc:spChg chg="del mod">
          <ac:chgData name="Jackman, Lauren" userId="ef96ab20-fb12-476c-a3e0-14bd051fc290" providerId="ADAL" clId="{CC2476CE-D74C-41AA-8A98-B5968D3DEF8B}" dt="2021-02-24T19:46:15.492" v="277" actId="478"/>
          <ac:spMkLst>
            <pc:docMk/>
            <pc:sldMk cId="1078693895" sldId="268"/>
            <ac:spMk id="23" creationId="{1A30CADC-75E8-4087-9CCD-F2E482A1BA12}"/>
          </ac:spMkLst>
        </pc:spChg>
        <pc:spChg chg="mod">
          <ac:chgData name="Jackman, Lauren" userId="ef96ab20-fb12-476c-a3e0-14bd051fc290" providerId="ADAL" clId="{CC2476CE-D74C-41AA-8A98-B5968D3DEF8B}" dt="2021-02-24T19:45:47.540" v="269" actId="20577"/>
          <ac:spMkLst>
            <pc:docMk/>
            <pc:sldMk cId="1078693895" sldId="268"/>
            <ac:spMk id="24" creationId="{D98BE86A-0214-4B8B-8177-71898DD3CBB9}"/>
          </ac:spMkLst>
        </pc:spChg>
        <pc:spChg chg="del">
          <ac:chgData name="Jackman, Lauren" userId="ef96ab20-fb12-476c-a3e0-14bd051fc290" providerId="ADAL" clId="{CC2476CE-D74C-41AA-8A98-B5968D3DEF8B}" dt="2021-02-24T19:41:13.203" v="24" actId="478"/>
          <ac:spMkLst>
            <pc:docMk/>
            <pc:sldMk cId="1078693895" sldId="268"/>
            <ac:spMk id="28" creationId="{2FB4EB3B-9421-4BDC-8D10-313B0259D30F}"/>
          </ac:spMkLst>
        </pc:spChg>
      </pc:sldChg>
      <pc:sldChg chg="modSp">
        <pc:chgData name="Jackman, Lauren" userId="ef96ab20-fb12-476c-a3e0-14bd051fc290" providerId="ADAL" clId="{CC2476CE-D74C-41AA-8A98-B5968D3DEF8B}" dt="2021-02-24T19:54:15.094" v="444" actId="20577"/>
        <pc:sldMkLst>
          <pc:docMk/>
          <pc:sldMk cId="27039556" sldId="8820"/>
        </pc:sldMkLst>
        <pc:spChg chg="mod">
          <ac:chgData name="Jackman, Lauren" userId="ef96ab20-fb12-476c-a3e0-14bd051fc290" providerId="ADAL" clId="{CC2476CE-D74C-41AA-8A98-B5968D3DEF8B}" dt="2021-02-24T19:54:15.094" v="444" actId="20577"/>
          <ac:spMkLst>
            <pc:docMk/>
            <pc:sldMk cId="27039556" sldId="8820"/>
            <ac:spMk id="7" creationId="{5817664F-7DC8-47E5-B7B9-14F4F2B2E734}"/>
          </ac:spMkLst>
        </pc:spChg>
      </pc:sldChg>
      <pc:sldChg chg="del">
        <pc:chgData name="Jackman, Lauren" userId="ef96ab20-fb12-476c-a3e0-14bd051fc290" providerId="ADAL" clId="{CC2476CE-D74C-41AA-8A98-B5968D3DEF8B}" dt="2021-02-24T19:52:11.192" v="323" actId="2696"/>
        <pc:sldMkLst>
          <pc:docMk/>
          <pc:sldMk cId="795272350" sldId="9010"/>
        </pc:sldMkLst>
      </pc:sldChg>
      <pc:sldChg chg="del">
        <pc:chgData name="Jackman, Lauren" userId="ef96ab20-fb12-476c-a3e0-14bd051fc290" providerId="ADAL" clId="{CC2476CE-D74C-41AA-8A98-B5968D3DEF8B}" dt="2021-02-24T19:32:43.394" v="0" actId="2696"/>
        <pc:sldMkLst>
          <pc:docMk/>
          <pc:sldMk cId="2033609959" sldId="9023"/>
        </pc:sldMkLst>
      </pc:sldChg>
      <pc:sldChg chg="modSp">
        <pc:chgData name="Jackman, Lauren" userId="ef96ab20-fb12-476c-a3e0-14bd051fc290" providerId="ADAL" clId="{CC2476CE-D74C-41AA-8A98-B5968D3DEF8B}" dt="2021-02-24T19:33:12.960" v="23" actId="255"/>
        <pc:sldMkLst>
          <pc:docMk/>
          <pc:sldMk cId="4088066546" sldId="9025"/>
        </pc:sldMkLst>
        <pc:spChg chg="mod">
          <ac:chgData name="Jackman, Lauren" userId="ef96ab20-fb12-476c-a3e0-14bd051fc290" providerId="ADAL" clId="{CC2476CE-D74C-41AA-8A98-B5968D3DEF8B}" dt="2021-02-24T19:33:12.960" v="23" actId="255"/>
          <ac:spMkLst>
            <pc:docMk/>
            <pc:sldMk cId="4088066546" sldId="9025"/>
            <ac:spMk id="44" creationId="{DE80E8A7-72FA-49BC-810B-E541F2C0A427}"/>
          </ac:spMkLst>
        </pc:spChg>
      </pc:sldChg>
    </pc:docChg>
  </pc:docChgLst>
  <pc:docChgLst>
    <pc:chgData name="Muppana, Usha Rani" userId="S::umuppana@deloitte.com::c69fce2f-ae72-4460-84ad-e6bde69954de" providerId="AD" clId="Web-{0C4C1C75-0AD7-46DC-BE6C-7BA0029CF728}"/>
    <pc:docChg chg="modSld">
      <pc:chgData name="Muppana, Usha Rani" userId="S::umuppana@deloitte.com::c69fce2f-ae72-4460-84ad-e6bde69954de" providerId="AD" clId="Web-{0C4C1C75-0AD7-46DC-BE6C-7BA0029CF728}" dt="2021-02-22T14:46:45.767" v="92" actId="20577"/>
      <pc:docMkLst>
        <pc:docMk/>
      </pc:docMkLst>
      <pc:sldChg chg="modSp">
        <pc:chgData name="Muppana, Usha Rani" userId="S::umuppana@deloitte.com::c69fce2f-ae72-4460-84ad-e6bde69954de" providerId="AD" clId="Web-{0C4C1C75-0AD7-46DC-BE6C-7BA0029CF728}" dt="2021-02-22T14:46:45.767" v="92" actId="20577"/>
        <pc:sldMkLst>
          <pc:docMk/>
          <pc:sldMk cId="2940807522" sldId="8784"/>
        </pc:sldMkLst>
        <pc:spChg chg="mod">
          <ac:chgData name="Muppana, Usha Rani" userId="S::umuppana@deloitte.com::c69fce2f-ae72-4460-84ad-e6bde69954de" providerId="AD" clId="Web-{0C4C1C75-0AD7-46DC-BE6C-7BA0029CF728}" dt="2021-02-22T14:45:47.079" v="73" actId="20577"/>
          <ac:spMkLst>
            <pc:docMk/>
            <pc:sldMk cId="2940807522" sldId="8784"/>
            <ac:spMk id="8" creationId="{3AD73DD1-CA9D-43A7-AE40-783F13202818}"/>
          </ac:spMkLst>
        </pc:spChg>
        <pc:spChg chg="mod">
          <ac:chgData name="Muppana, Usha Rani" userId="S::umuppana@deloitte.com::c69fce2f-ae72-4460-84ad-e6bde69954de" providerId="AD" clId="Web-{0C4C1C75-0AD7-46DC-BE6C-7BA0029CF728}" dt="2021-02-22T14:46:45.767" v="92" actId="20577"/>
          <ac:spMkLst>
            <pc:docMk/>
            <pc:sldMk cId="2940807522" sldId="8784"/>
            <ac:spMk id="10" creationId="{63C4D4D1-A06E-4F86-8E1F-FBE3DBFA51E8}"/>
          </ac:spMkLst>
        </pc:spChg>
      </pc:sldChg>
    </pc:docChg>
  </pc:docChgLst>
  <pc:docChgLst>
    <pc:chgData name="Jivrajani, Dharini" userId="S::djivrajani@deloitte.com::9f28c9a6-e07b-4de5-8682-ac3f5c875595" providerId="AD" clId="Web-{1077C689-D347-48FD-BC50-211B376A4C6C}"/>
    <pc:docChg chg="modSld">
      <pc:chgData name="Jivrajani, Dharini" userId="S::djivrajani@deloitte.com::9f28c9a6-e07b-4de5-8682-ac3f5c875595" providerId="AD" clId="Web-{1077C689-D347-48FD-BC50-211B376A4C6C}" dt="2020-11-17T18:19:07.072" v="29"/>
      <pc:docMkLst>
        <pc:docMk/>
      </pc:docMkLst>
      <pc:sldChg chg="modSp">
        <pc:chgData name="Jivrajani, Dharini" userId="S::djivrajani@deloitte.com::9f28c9a6-e07b-4de5-8682-ac3f5c875595" providerId="AD" clId="Web-{1077C689-D347-48FD-BC50-211B376A4C6C}" dt="2020-11-17T18:19:07.072" v="29"/>
        <pc:sldMkLst>
          <pc:docMk/>
          <pc:sldMk cId="3377722835" sldId="8772"/>
        </pc:sldMkLst>
        <pc:graphicFrameChg chg="mod modGraphic">
          <ac:chgData name="Jivrajani, Dharini" userId="S::djivrajani@deloitte.com::9f28c9a6-e07b-4de5-8682-ac3f5c875595" providerId="AD" clId="Web-{1077C689-D347-48FD-BC50-211B376A4C6C}" dt="2020-11-17T18:19:07.072" v="29"/>
          <ac:graphicFrameMkLst>
            <pc:docMk/>
            <pc:sldMk cId="3377722835" sldId="8772"/>
            <ac:graphicFrameMk id="2" creationId="{7D8F2493-A0C4-4740-A16F-E066BC79CDD8}"/>
          </ac:graphicFrameMkLst>
        </pc:graphicFrameChg>
      </pc:sldChg>
    </pc:docChg>
  </pc:docChgLst>
  <pc:docChgLst>
    <pc:chgData name="Eng, Debbie" userId="286d73c1-a15a-4753-a336-00ed9074670a" providerId="ADAL" clId="{4B8EBBB7-20C9-42D5-B9F5-63B1C8B50D42}"/>
    <pc:docChg chg="modSld">
      <pc:chgData name="Eng, Debbie" userId="286d73c1-a15a-4753-a336-00ed9074670a" providerId="ADAL" clId="{4B8EBBB7-20C9-42D5-B9F5-63B1C8B50D42}" dt="2021-07-13T16:24:48.761" v="7" actId="20577"/>
      <pc:docMkLst>
        <pc:docMk/>
      </pc:docMkLst>
      <pc:sldChg chg="modSp mod">
        <pc:chgData name="Eng, Debbie" userId="286d73c1-a15a-4753-a336-00ed9074670a" providerId="ADAL" clId="{4B8EBBB7-20C9-42D5-B9F5-63B1C8B50D42}" dt="2021-07-13T16:24:48.761" v="7" actId="20577"/>
        <pc:sldMkLst>
          <pc:docMk/>
          <pc:sldMk cId="1686814665" sldId="9034"/>
        </pc:sldMkLst>
        <pc:spChg chg="mod">
          <ac:chgData name="Eng, Debbie" userId="286d73c1-a15a-4753-a336-00ed9074670a" providerId="ADAL" clId="{4B8EBBB7-20C9-42D5-B9F5-63B1C8B50D42}" dt="2021-07-13T16:24:48.761" v="7" actId="20577"/>
          <ac:spMkLst>
            <pc:docMk/>
            <pc:sldMk cId="1686814665" sldId="9034"/>
            <ac:spMk id="30" creationId="{900D62B6-90C9-4A98-BD85-D27F78539001}"/>
          </ac:spMkLst>
        </pc:spChg>
      </pc:sldChg>
    </pc:docChg>
  </pc:docChgLst>
  <pc:docChgLst>
    <pc:chgData name="Jivrajani, Dharini" userId="S::djivrajani@deloitte.com::9f28c9a6-e07b-4de5-8682-ac3f5c875595" providerId="AD" clId="Web-{FE8B80E8-1404-4E7D-8C6F-C2AF064D2990}"/>
    <pc:docChg chg="modSld">
      <pc:chgData name="Jivrajani, Dharini" userId="S::djivrajani@deloitte.com::9f28c9a6-e07b-4de5-8682-ac3f5c875595" providerId="AD" clId="Web-{FE8B80E8-1404-4E7D-8C6F-C2AF064D2990}" dt="2021-03-22T22:03:37.539" v="6" actId="20577"/>
      <pc:docMkLst>
        <pc:docMk/>
      </pc:docMkLst>
      <pc:sldChg chg="modSp">
        <pc:chgData name="Jivrajani, Dharini" userId="S::djivrajani@deloitte.com::9f28c9a6-e07b-4de5-8682-ac3f5c875595" providerId="AD" clId="Web-{FE8B80E8-1404-4E7D-8C6F-C2AF064D2990}" dt="2021-03-22T22:03:37.539" v="6" actId="20577"/>
        <pc:sldMkLst>
          <pc:docMk/>
          <pc:sldMk cId="975902523" sldId="9033"/>
        </pc:sldMkLst>
        <pc:spChg chg="mod">
          <ac:chgData name="Jivrajani, Dharini" userId="S::djivrajani@deloitte.com::9f28c9a6-e07b-4de5-8682-ac3f5c875595" providerId="AD" clId="Web-{FE8B80E8-1404-4E7D-8C6F-C2AF064D2990}" dt="2021-03-22T22:03:37.539" v="6" actId="20577"/>
          <ac:spMkLst>
            <pc:docMk/>
            <pc:sldMk cId="975902523" sldId="9033"/>
            <ac:spMk id="17" creationId="{2AE3758D-7C33-4FE4-A382-D35FFA709335}"/>
          </ac:spMkLst>
        </pc:spChg>
      </pc:sldChg>
    </pc:docChg>
  </pc:docChgLst>
  <pc:docChgLst>
    <pc:chgData name="Jivrajani, Dharini" userId="S::djivrajani@deloitte.com::9f28c9a6-e07b-4de5-8682-ac3f5c875595" providerId="AD" clId="Web-{75A61EE8-CE29-4155-99F9-A274FE324C0B}"/>
    <pc:docChg chg="">
      <pc:chgData name="Jivrajani, Dharini" userId="S::djivrajani@deloitte.com::9f28c9a6-e07b-4de5-8682-ac3f5c875595" providerId="AD" clId="Web-{75A61EE8-CE29-4155-99F9-A274FE324C0B}" dt="2021-02-25T14:30:01.930" v="1"/>
      <pc:docMkLst>
        <pc:docMk/>
      </pc:docMkLst>
      <pc:sldChg chg="addCm">
        <pc:chgData name="Jivrajani, Dharini" userId="S::djivrajani@deloitte.com::9f28c9a6-e07b-4de5-8682-ac3f5c875595" providerId="AD" clId="Web-{75A61EE8-CE29-4155-99F9-A274FE324C0B}" dt="2021-02-25T14:29:10.365" v="0"/>
        <pc:sldMkLst>
          <pc:docMk/>
          <pc:sldMk cId="24609206" sldId="2104"/>
        </pc:sldMkLst>
      </pc:sldChg>
      <pc:sldChg chg="addCm">
        <pc:chgData name="Jivrajani, Dharini" userId="S::djivrajani@deloitte.com::9f28c9a6-e07b-4de5-8682-ac3f5c875595" providerId="AD" clId="Web-{75A61EE8-CE29-4155-99F9-A274FE324C0B}" dt="2021-02-25T14:30:01.930" v="1"/>
        <pc:sldMkLst>
          <pc:docMk/>
          <pc:sldMk cId="3377722835" sldId="8772"/>
        </pc:sldMkLst>
      </pc:sldChg>
    </pc:docChg>
  </pc:docChgLst>
  <pc:docChgLst>
    <pc:chgData name="Lakshmi Kalyan Chakravart, Lakshmi" userId="S::llakshmikalyancha@deloitte.com::59aadd41-0ad0-497c-abc3-cdea2ef388fe" providerId="AD" clId="Web-{DF1AADC2-4508-4495-8726-ADC55B945DE1}"/>
    <pc:docChg chg="modSld">
      <pc:chgData name="Lakshmi Kalyan Chakravart, Lakshmi" userId="S::llakshmikalyancha@deloitte.com::59aadd41-0ad0-497c-abc3-cdea2ef388fe" providerId="AD" clId="Web-{DF1AADC2-4508-4495-8726-ADC55B945DE1}" dt="2021-07-12T10:08:57.051" v="0" actId="1076"/>
      <pc:docMkLst>
        <pc:docMk/>
      </pc:docMkLst>
      <pc:sldChg chg="modSp">
        <pc:chgData name="Lakshmi Kalyan Chakravart, Lakshmi" userId="S::llakshmikalyancha@deloitte.com::59aadd41-0ad0-497c-abc3-cdea2ef388fe" providerId="AD" clId="Web-{DF1AADC2-4508-4495-8726-ADC55B945DE1}" dt="2021-07-12T10:08:57.051" v="0" actId="1076"/>
        <pc:sldMkLst>
          <pc:docMk/>
          <pc:sldMk cId="302263831" sldId="9048"/>
        </pc:sldMkLst>
        <pc:spChg chg="mod">
          <ac:chgData name="Lakshmi Kalyan Chakravart, Lakshmi" userId="S::llakshmikalyancha@deloitte.com::59aadd41-0ad0-497c-abc3-cdea2ef388fe" providerId="AD" clId="Web-{DF1AADC2-4508-4495-8726-ADC55B945DE1}" dt="2021-07-12T10:08:57.051" v="0" actId="1076"/>
          <ac:spMkLst>
            <pc:docMk/>
            <pc:sldMk cId="302263831" sldId="9048"/>
            <ac:spMk id="22" creationId="{DFF8BB62-12B9-49CA-9340-4A09AED59F59}"/>
          </ac:spMkLst>
        </pc:spChg>
      </pc:sldChg>
    </pc:docChg>
  </pc:docChgLst>
  <pc:docChgLst>
    <pc:chgData name="Dharini Jivrajani" userId="9f28c9a6-e07b-4de5-8682-ac3f5c875595" providerId="ADAL" clId="{AA0012B1-29D9-44BE-BA30-5DF235B3B89A}"/>
    <pc:docChg chg="addSld modSld sldOrd">
      <pc:chgData name="Dharini Jivrajani" userId="9f28c9a6-e07b-4de5-8682-ac3f5c875595" providerId="ADAL" clId="{AA0012B1-29D9-44BE-BA30-5DF235B3B89A}" dt="2020-07-08T12:40:32.796" v="1"/>
      <pc:docMkLst>
        <pc:docMk/>
      </pc:docMkLst>
      <pc:sldChg chg="ord">
        <pc:chgData name="Dharini Jivrajani" userId="9f28c9a6-e07b-4de5-8682-ac3f5c875595" providerId="ADAL" clId="{AA0012B1-29D9-44BE-BA30-5DF235B3B89A}" dt="2020-07-08T12:40:32.796" v="1"/>
        <pc:sldMkLst>
          <pc:docMk/>
          <pc:sldMk cId="2772070313" sldId="456"/>
        </pc:sldMkLst>
      </pc:sldChg>
      <pc:sldChg chg="add setBg">
        <pc:chgData name="Dharini Jivrajani" userId="9f28c9a6-e07b-4de5-8682-ac3f5c875595" providerId="ADAL" clId="{AA0012B1-29D9-44BE-BA30-5DF235B3B89A}" dt="2020-07-08T12:40:30.077" v="0"/>
        <pc:sldMkLst>
          <pc:docMk/>
          <pc:sldMk cId="1085851461" sldId="8963"/>
        </pc:sldMkLst>
      </pc:sldChg>
      <pc:sldChg chg="add">
        <pc:chgData name="Dharini Jivrajani" userId="9f28c9a6-e07b-4de5-8682-ac3f5c875595" providerId="ADAL" clId="{AA0012B1-29D9-44BE-BA30-5DF235B3B89A}" dt="2020-07-08T12:40:30.077" v="0"/>
        <pc:sldMkLst>
          <pc:docMk/>
          <pc:sldMk cId="617162357" sldId="8972"/>
        </pc:sldMkLst>
      </pc:sldChg>
    </pc:docChg>
  </pc:docChgLst>
  <pc:docChgLst>
    <pc:chgData name="Ghosh, Anindya" userId="S::anighosh@deloitte.com::1c8636f3-f28e-411c-9bbf-d78a395a60f5" providerId="AD" clId="Web-{52CF14BE-1A40-4B76-9699-37549F1949A2}"/>
    <pc:docChg chg="modSld">
      <pc:chgData name="Ghosh, Anindya" userId="S::anighosh@deloitte.com::1c8636f3-f28e-411c-9bbf-d78a395a60f5" providerId="AD" clId="Web-{52CF14BE-1A40-4B76-9699-37549F1949A2}" dt="2021-07-10T12:23:53.702" v="86" actId="20577"/>
      <pc:docMkLst>
        <pc:docMk/>
      </pc:docMkLst>
      <pc:sldChg chg="modSp">
        <pc:chgData name="Ghosh, Anindya" userId="S::anighosh@deloitte.com::1c8636f3-f28e-411c-9bbf-d78a395a60f5" providerId="AD" clId="Web-{52CF14BE-1A40-4B76-9699-37549F1949A2}" dt="2021-07-10T12:23:53.702" v="86" actId="20577"/>
        <pc:sldMkLst>
          <pc:docMk/>
          <pc:sldMk cId="4169581344" sldId="8798"/>
        </pc:sldMkLst>
        <pc:spChg chg="mod">
          <ac:chgData name="Ghosh, Anindya" userId="S::anighosh@deloitte.com::1c8636f3-f28e-411c-9bbf-d78a395a60f5" providerId="AD" clId="Web-{52CF14BE-1A40-4B76-9699-37549F1949A2}" dt="2021-07-10T12:23:53.702" v="86" actId="20577"/>
          <ac:spMkLst>
            <pc:docMk/>
            <pc:sldMk cId="4169581344" sldId="8798"/>
            <ac:spMk id="3" creationId="{BCEB1B60-2A70-48F8-B225-997AF7F15017}"/>
          </ac:spMkLst>
        </pc:spChg>
        <pc:spChg chg="mod">
          <ac:chgData name="Ghosh, Anindya" userId="S::anighosh@deloitte.com::1c8636f3-f28e-411c-9bbf-d78a395a60f5" providerId="AD" clId="Web-{52CF14BE-1A40-4B76-9699-37549F1949A2}" dt="2021-07-10T12:23:23.655" v="46" actId="20577"/>
          <ac:spMkLst>
            <pc:docMk/>
            <pc:sldMk cId="4169581344" sldId="8798"/>
            <ac:spMk id="8" creationId="{71212121-086E-4BFC-AAF6-26CCEC0960A9}"/>
          </ac:spMkLst>
        </pc:spChg>
        <pc:spChg chg="mod">
          <ac:chgData name="Ghosh, Anindya" userId="S::anighosh@deloitte.com::1c8636f3-f28e-411c-9bbf-d78a395a60f5" providerId="AD" clId="Web-{52CF14BE-1A40-4B76-9699-37549F1949A2}" dt="2021-07-10T12:23:38.124" v="59" actId="20577"/>
          <ac:spMkLst>
            <pc:docMk/>
            <pc:sldMk cId="4169581344" sldId="8798"/>
            <ac:spMk id="10" creationId="{216C39D2-8C6A-49A9-B1CB-50DC4A5CF567}"/>
          </ac:spMkLst>
        </pc:spChg>
      </pc:sldChg>
    </pc:docChg>
  </pc:docChgLst>
  <pc:docChgLst>
    <pc:chgData name="Jivrajani, Dharini" userId="S::djivrajani@deloitte.com::9f28c9a6-e07b-4de5-8682-ac3f5c875595" providerId="AD" clId="Web-{FF34EEAE-196E-4990-B546-345C892BF040}"/>
    <pc:docChg chg="modSld">
      <pc:chgData name="Jivrajani, Dharini" userId="S::djivrajani@deloitte.com::9f28c9a6-e07b-4de5-8682-ac3f5c875595" providerId="AD" clId="Web-{FF34EEAE-196E-4990-B546-345C892BF040}" dt="2020-11-30T15:07:57.198" v="4" actId="20577"/>
      <pc:docMkLst>
        <pc:docMk/>
      </pc:docMkLst>
      <pc:sldChg chg="modSp">
        <pc:chgData name="Jivrajani, Dharini" userId="S::djivrajani@deloitte.com::9f28c9a6-e07b-4de5-8682-ac3f5c875595" providerId="AD" clId="Web-{FF34EEAE-196E-4990-B546-345C892BF040}" dt="2020-11-30T15:07:51.370" v="1" actId="20577"/>
        <pc:sldMkLst>
          <pc:docMk/>
          <pc:sldMk cId="1369081146" sldId="8773"/>
        </pc:sldMkLst>
        <pc:spChg chg="mod">
          <ac:chgData name="Jivrajani, Dharini" userId="S::djivrajani@deloitte.com::9f28c9a6-e07b-4de5-8682-ac3f5c875595" providerId="AD" clId="Web-{FF34EEAE-196E-4990-B546-345C892BF040}" dt="2020-11-30T15:07:51.370" v="1" actId="20577"/>
          <ac:spMkLst>
            <pc:docMk/>
            <pc:sldMk cId="1369081146" sldId="8773"/>
            <ac:spMk id="698369" creationId="{00000000-0000-0000-0000-000000000000}"/>
          </ac:spMkLst>
        </pc:spChg>
      </pc:sldChg>
      <pc:sldChg chg="modSp">
        <pc:chgData name="Jivrajani, Dharini" userId="S::djivrajani@deloitte.com::9f28c9a6-e07b-4de5-8682-ac3f5c875595" providerId="AD" clId="Web-{FF34EEAE-196E-4990-B546-345C892BF040}" dt="2020-11-30T15:07:52.839" v="2" actId="20577"/>
        <pc:sldMkLst>
          <pc:docMk/>
          <pc:sldMk cId="1039189330" sldId="8774"/>
        </pc:sldMkLst>
        <pc:spChg chg="mod">
          <ac:chgData name="Jivrajani, Dharini" userId="S::djivrajani@deloitte.com::9f28c9a6-e07b-4de5-8682-ac3f5c875595" providerId="AD" clId="Web-{FF34EEAE-196E-4990-B546-345C892BF040}" dt="2020-11-30T15:07:52.839" v="2" actId="20577"/>
          <ac:spMkLst>
            <pc:docMk/>
            <pc:sldMk cId="1039189330" sldId="8774"/>
            <ac:spMk id="5" creationId="{BDFC5B9C-AB1B-472D-B8E8-003403F9A3E9}"/>
          </ac:spMkLst>
        </pc:spChg>
      </pc:sldChg>
      <pc:sldChg chg="modSp">
        <pc:chgData name="Jivrajani, Dharini" userId="S::djivrajani@deloitte.com::9f28c9a6-e07b-4de5-8682-ac3f5c875595" providerId="AD" clId="Web-{FF34EEAE-196E-4990-B546-345C892BF040}" dt="2020-11-30T15:07:57.198" v="4" actId="20577"/>
        <pc:sldMkLst>
          <pc:docMk/>
          <pc:sldMk cId="2407685793" sldId="8775"/>
        </pc:sldMkLst>
        <pc:spChg chg="mod">
          <ac:chgData name="Jivrajani, Dharini" userId="S::djivrajani@deloitte.com::9f28c9a6-e07b-4de5-8682-ac3f5c875595" providerId="AD" clId="Web-{FF34EEAE-196E-4990-B546-345C892BF040}" dt="2020-11-30T15:07:57.198" v="4" actId="20577"/>
          <ac:spMkLst>
            <pc:docMk/>
            <pc:sldMk cId="2407685793" sldId="8775"/>
            <ac:spMk id="5" creationId="{5BC0E948-6F66-4F47-BA40-6C553B9AB1E4}"/>
          </ac:spMkLst>
        </pc:spChg>
      </pc:sldChg>
    </pc:docChg>
  </pc:docChgLst>
  <pc:docChgLst>
    <pc:chgData name="Jackman, Lauren" userId="ef96ab20-fb12-476c-a3e0-14bd051fc290" providerId="ADAL" clId="{9AC8333F-E8A1-417D-A46A-902BA4195252}"/>
    <pc:docChg chg="modSld">
      <pc:chgData name="Jackman, Lauren" userId="ef96ab20-fb12-476c-a3e0-14bd051fc290" providerId="ADAL" clId="{9AC8333F-E8A1-417D-A46A-902BA4195252}" dt="2021-06-21T16:02:33.154" v="15" actId="20577"/>
      <pc:docMkLst>
        <pc:docMk/>
      </pc:docMkLst>
      <pc:sldChg chg="modSp mod">
        <pc:chgData name="Jackman, Lauren" userId="ef96ab20-fb12-476c-a3e0-14bd051fc290" providerId="ADAL" clId="{9AC8333F-E8A1-417D-A46A-902BA4195252}" dt="2021-06-21T16:02:33.154" v="15" actId="20577"/>
        <pc:sldMkLst>
          <pc:docMk/>
          <pc:sldMk cId="302263831" sldId="9048"/>
        </pc:sldMkLst>
        <pc:spChg chg="mod">
          <ac:chgData name="Jackman, Lauren" userId="ef96ab20-fb12-476c-a3e0-14bd051fc290" providerId="ADAL" clId="{9AC8333F-E8A1-417D-A46A-902BA4195252}" dt="2021-06-21T16:02:33.154" v="15" actId="20577"/>
          <ac:spMkLst>
            <pc:docMk/>
            <pc:sldMk cId="302263831" sldId="9048"/>
            <ac:spMk id="2" creationId="{A29AD221-CF2A-4E37-B85D-5E741C5C69E6}"/>
          </ac:spMkLst>
        </pc:spChg>
      </pc:sldChg>
    </pc:docChg>
  </pc:docChgLst>
  <pc:docChgLst>
    <pc:chgData name="Ghosh, Anindya" userId="1c8636f3-f28e-411c-9bbf-d78a395a60f5" providerId="ADAL" clId="{3912C4FC-557D-43A3-9125-71BB01F560DA}"/>
    <pc:docChg chg="undo custSel modSld">
      <pc:chgData name="Ghosh, Anindya" userId="1c8636f3-f28e-411c-9bbf-d78a395a60f5" providerId="ADAL" clId="{3912C4FC-557D-43A3-9125-71BB01F560DA}" dt="2021-07-08T12:08:00.342" v="1650" actId="20577"/>
      <pc:docMkLst>
        <pc:docMk/>
      </pc:docMkLst>
      <pc:sldChg chg="addSp delSp modSp mod">
        <pc:chgData name="Ghosh, Anindya" userId="1c8636f3-f28e-411c-9bbf-d78a395a60f5" providerId="ADAL" clId="{3912C4FC-557D-43A3-9125-71BB01F560DA}" dt="2021-07-08T12:08:00.342" v="1650" actId="20577"/>
        <pc:sldMkLst>
          <pc:docMk/>
          <pc:sldMk cId="4169581344" sldId="8798"/>
        </pc:sldMkLst>
        <pc:spChg chg="mod">
          <ac:chgData name="Ghosh, Anindya" userId="1c8636f3-f28e-411c-9bbf-d78a395a60f5" providerId="ADAL" clId="{3912C4FC-557D-43A3-9125-71BB01F560DA}" dt="2021-07-08T12:08:00.342" v="1650" actId="20577"/>
          <ac:spMkLst>
            <pc:docMk/>
            <pc:sldMk cId="4169581344" sldId="8798"/>
            <ac:spMk id="3" creationId="{BCEB1B60-2A70-48F8-B225-997AF7F15017}"/>
          </ac:spMkLst>
        </pc:spChg>
        <pc:spChg chg="add mod">
          <ac:chgData name="Ghosh, Anindya" userId="1c8636f3-f28e-411c-9bbf-d78a395a60f5" providerId="ADAL" clId="{3912C4FC-557D-43A3-9125-71BB01F560DA}" dt="2021-07-08T05:49:51.724" v="627" actId="5793"/>
          <ac:spMkLst>
            <pc:docMk/>
            <pc:sldMk cId="4169581344" sldId="8798"/>
            <ac:spMk id="5" creationId="{E871C069-F182-436C-87A6-454DE9CDC4F0}"/>
          </ac:spMkLst>
        </pc:spChg>
        <pc:spChg chg="add del mod">
          <ac:chgData name="Ghosh, Anindya" userId="1c8636f3-f28e-411c-9bbf-d78a395a60f5" providerId="ADAL" clId="{3912C4FC-557D-43A3-9125-71BB01F560DA}" dt="2021-07-08T05:50:14.369" v="642"/>
          <ac:spMkLst>
            <pc:docMk/>
            <pc:sldMk cId="4169581344" sldId="8798"/>
            <ac:spMk id="6" creationId="{3E84D83B-7D59-4E46-809F-A4B3675A8D63}"/>
          </ac:spMkLst>
        </pc:spChg>
        <pc:spChg chg="add del mod">
          <ac:chgData name="Ghosh, Anindya" userId="1c8636f3-f28e-411c-9bbf-d78a395a60f5" providerId="ADAL" clId="{3912C4FC-557D-43A3-9125-71BB01F560DA}" dt="2021-07-08T05:50:12.823" v="638"/>
          <ac:spMkLst>
            <pc:docMk/>
            <pc:sldMk cId="4169581344" sldId="8798"/>
            <ac:spMk id="7" creationId="{36F5CEAD-0F37-480B-A6D8-2F6D4D68185D}"/>
          </ac:spMkLst>
        </pc:spChg>
        <pc:spChg chg="add mod">
          <ac:chgData name="Ghosh, Anindya" userId="1c8636f3-f28e-411c-9bbf-d78a395a60f5" providerId="ADAL" clId="{3912C4FC-557D-43A3-9125-71BB01F560DA}" dt="2021-07-08T09:10:12.379" v="1389" actId="14100"/>
          <ac:spMkLst>
            <pc:docMk/>
            <pc:sldMk cId="4169581344" sldId="8798"/>
            <ac:spMk id="8" creationId="{71212121-086E-4BFC-AAF6-26CCEC0960A9}"/>
          </ac:spMkLst>
        </pc:spChg>
        <pc:spChg chg="add mod">
          <ac:chgData name="Ghosh, Anindya" userId="1c8636f3-f28e-411c-9bbf-d78a395a60f5" providerId="ADAL" clId="{3912C4FC-557D-43A3-9125-71BB01F560DA}" dt="2021-07-08T09:12:15.683" v="1456" actId="20577"/>
          <ac:spMkLst>
            <pc:docMk/>
            <pc:sldMk cId="4169581344" sldId="8798"/>
            <ac:spMk id="10" creationId="{216C39D2-8C6A-49A9-B1CB-50DC4A5CF567}"/>
          </ac:spMkLst>
        </pc:spChg>
        <pc:picChg chg="mod">
          <ac:chgData name="Ghosh, Anindya" userId="1c8636f3-f28e-411c-9bbf-d78a395a60f5" providerId="ADAL" clId="{3912C4FC-557D-43A3-9125-71BB01F560DA}" dt="2021-07-08T09:10:26.904" v="1394" actId="1076"/>
          <ac:picMkLst>
            <pc:docMk/>
            <pc:sldMk cId="4169581344" sldId="8798"/>
            <ac:picMk id="3074" creationId="{705D66E2-1713-40B1-AAD4-DECA55BB2B5B}"/>
          </ac:picMkLst>
        </pc:picChg>
      </pc:sldChg>
      <pc:sldChg chg="modSp mod">
        <pc:chgData name="Ghosh, Anindya" userId="1c8636f3-f28e-411c-9bbf-d78a395a60f5" providerId="ADAL" clId="{3912C4FC-557D-43A3-9125-71BB01F560DA}" dt="2021-07-08T05:57:12.170" v="1091" actId="20577"/>
        <pc:sldMkLst>
          <pc:docMk/>
          <pc:sldMk cId="53167518" sldId="9060"/>
        </pc:sldMkLst>
        <pc:graphicFrameChg chg="modGraphic">
          <ac:chgData name="Ghosh, Anindya" userId="1c8636f3-f28e-411c-9bbf-d78a395a60f5" providerId="ADAL" clId="{3912C4FC-557D-43A3-9125-71BB01F560DA}" dt="2021-07-08T05:57:12.170" v="1091" actId="20577"/>
          <ac:graphicFrameMkLst>
            <pc:docMk/>
            <pc:sldMk cId="53167518" sldId="9060"/>
            <ac:graphicFrameMk id="58" creationId="{A6EBFF0D-1699-4F57-AC1F-62AAC56A13FE}"/>
          </ac:graphicFrameMkLst>
        </pc:graphicFrameChg>
      </pc:sldChg>
    </pc:docChg>
  </pc:docChgLst>
  <pc:docChgLst>
    <pc:chgData name="Lakshmi Kalyan Chakravart, Lakshmi" userId="S::llakshmikalyancha@deloitte.com::59aadd41-0ad0-497c-abc3-cdea2ef388fe" providerId="AD" clId="Web-{31C0E369-AC4A-40F5-AC73-AA4FFA4A3A44}"/>
    <pc:docChg chg="modSld">
      <pc:chgData name="Lakshmi Kalyan Chakravart, Lakshmi" userId="S::llakshmikalyancha@deloitte.com::59aadd41-0ad0-497c-abc3-cdea2ef388fe" providerId="AD" clId="Web-{31C0E369-AC4A-40F5-AC73-AA4FFA4A3A44}" dt="2021-07-13T11:17:46.646" v="3"/>
      <pc:docMkLst>
        <pc:docMk/>
      </pc:docMkLst>
      <pc:sldChg chg="modSp">
        <pc:chgData name="Lakshmi Kalyan Chakravart, Lakshmi" userId="S::llakshmikalyancha@deloitte.com::59aadd41-0ad0-497c-abc3-cdea2ef388fe" providerId="AD" clId="Web-{31C0E369-AC4A-40F5-AC73-AA4FFA4A3A44}" dt="2021-07-13T11:17:46.646" v="3"/>
        <pc:sldMkLst>
          <pc:docMk/>
          <pc:sldMk cId="2269658214" sldId="9063"/>
        </pc:sldMkLst>
        <pc:graphicFrameChg chg="mod modGraphic">
          <ac:chgData name="Lakshmi Kalyan Chakravart, Lakshmi" userId="S::llakshmikalyancha@deloitte.com::59aadd41-0ad0-497c-abc3-cdea2ef388fe" providerId="AD" clId="Web-{31C0E369-AC4A-40F5-AC73-AA4FFA4A3A44}" dt="2021-07-13T11:17:46.646" v="3"/>
          <ac:graphicFrameMkLst>
            <pc:docMk/>
            <pc:sldMk cId="2269658214" sldId="9063"/>
            <ac:graphicFrameMk id="2" creationId="{7D8F2493-A0C4-4740-A16F-E066BC79CDD8}"/>
          </ac:graphicFrameMkLst>
        </pc:graphicFrameChg>
      </pc:sldChg>
    </pc:docChg>
  </pc:docChgLst>
  <pc:docChgLst>
    <pc:chgData name="Kommatreddy, Chaitanya" userId="44a1469f-b03c-453c-8c31-90f831355cdb" providerId="ADAL" clId="{1DF3E1E5-ED07-4A8F-BF88-B8C30345A6E8}"/>
    <pc:docChg chg="undo custSel mod addSld delSld modSld sldOrd modSection">
      <pc:chgData name="Kommatreddy, Chaitanya" userId="44a1469f-b03c-453c-8c31-90f831355cdb" providerId="ADAL" clId="{1DF3E1E5-ED07-4A8F-BF88-B8C30345A6E8}" dt="2021-03-23T08:23:33.388" v="1012" actId="26606"/>
      <pc:docMkLst>
        <pc:docMk/>
      </pc:docMkLst>
      <pc:sldChg chg="addSp delSp modSp mod setBg setClrOvrMap">
        <pc:chgData name="Kommatreddy, Chaitanya" userId="44a1469f-b03c-453c-8c31-90f831355cdb" providerId="ADAL" clId="{1DF3E1E5-ED07-4A8F-BF88-B8C30345A6E8}" dt="2021-03-23T08:23:33.388" v="1012" actId="26606"/>
        <pc:sldMkLst>
          <pc:docMk/>
          <pc:sldMk cId="636999727" sldId="256"/>
        </pc:sldMkLst>
        <pc:spChg chg="del">
          <ac:chgData name="Kommatreddy, Chaitanya" userId="44a1469f-b03c-453c-8c31-90f831355cdb" providerId="ADAL" clId="{1DF3E1E5-ED07-4A8F-BF88-B8C30345A6E8}" dt="2021-03-23T07:23:16.380" v="239" actId="478"/>
          <ac:spMkLst>
            <pc:docMk/>
            <pc:sldMk cId="636999727" sldId="256"/>
            <ac:spMk id="2" creationId="{C4741453-AAC1-4F16-8941-1B30D0707353}"/>
          </ac:spMkLst>
        </pc:spChg>
        <pc:spChg chg="mod">
          <ac:chgData name="Kommatreddy, Chaitanya" userId="44a1469f-b03c-453c-8c31-90f831355cdb" providerId="ADAL" clId="{1DF3E1E5-ED07-4A8F-BF88-B8C30345A6E8}" dt="2021-03-23T08:23:33.388" v="1012" actId="26606"/>
          <ac:spMkLst>
            <pc:docMk/>
            <pc:sldMk cId="636999727" sldId="256"/>
            <ac:spMk id="5" creationId="{F16EB711-1DFD-4BF5-AB76-CAB609BEB155}"/>
          </ac:spMkLst>
        </pc:spChg>
        <pc:spChg chg="add mod">
          <ac:chgData name="Kommatreddy, Chaitanya" userId="44a1469f-b03c-453c-8c31-90f831355cdb" providerId="ADAL" clId="{1DF3E1E5-ED07-4A8F-BF88-B8C30345A6E8}" dt="2021-03-23T08:23:33.388" v="1012" actId="26606"/>
          <ac:spMkLst>
            <pc:docMk/>
            <pc:sldMk cId="636999727" sldId="256"/>
            <ac:spMk id="8" creationId="{8EE36B70-DCC5-4494-A47F-9ED11CA461F9}"/>
          </ac:spMkLst>
        </pc:spChg>
        <pc:spChg chg="add del">
          <ac:chgData name="Kommatreddy, Chaitanya" userId="44a1469f-b03c-453c-8c31-90f831355cdb" providerId="ADAL" clId="{1DF3E1E5-ED07-4A8F-BF88-B8C30345A6E8}" dt="2021-03-23T08:23:07.074" v="997" actId="26606"/>
          <ac:spMkLst>
            <pc:docMk/>
            <pc:sldMk cId="636999727" sldId="256"/>
            <ac:spMk id="13" creationId="{35F0E358-1E49-4920-80D8-C3D138708838}"/>
          </ac:spMkLst>
        </pc:spChg>
        <pc:spChg chg="add del">
          <ac:chgData name="Kommatreddy, Chaitanya" userId="44a1469f-b03c-453c-8c31-90f831355cdb" providerId="ADAL" clId="{1DF3E1E5-ED07-4A8F-BF88-B8C30345A6E8}" dt="2021-03-23T08:23:07.074" v="997" actId="26606"/>
          <ac:spMkLst>
            <pc:docMk/>
            <pc:sldMk cId="636999727" sldId="256"/>
            <ac:spMk id="15" creationId="{E2D2362D-7010-4036-B9CA-03DFC8EB3B01}"/>
          </ac:spMkLst>
        </pc:spChg>
        <pc:spChg chg="add del">
          <ac:chgData name="Kommatreddy, Chaitanya" userId="44a1469f-b03c-453c-8c31-90f831355cdb" providerId="ADAL" clId="{1DF3E1E5-ED07-4A8F-BF88-B8C30345A6E8}" dt="2021-03-23T08:23:07.074" v="997" actId="26606"/>
          <ac:spMkLst>
            <pc:docMk/>
            <pc:sldMk cId="636999727" sldId="256"/>
            <ac:spMk id="17" creationId="{DC85BF5E-2BD6-4E5B-8EA3-420B45BB03FA}"/>
          </ac:spMkLst>
        </pc:spChg>
        <pc:spChg chg="add del">
          <ac:chgData name="Kommatreddy, Chaitanya" userId="44a1469f-b03c-453c-8c31-90f831355cdb" providerId="ADAL" clId="{1DF3E1E5-ED07-4A8F-BF88-B8C30345A6E8}" dt="2021-03-23T08:23:07.074" v="997" actId="26606"/>
          <ac:spMkLst>
            <pc:docMk/>
            <pc:sldMk cId="636999727" sldId="256"/>
            <ac:spMk id="19" creationId="{740D8E28-91B5-42B0-9D6C-B777D8AD90C2}"/>
          </ac:spMkLst>
        </pc:spChg>
        <pc:spChg chg="add del">
          <ac:chgData name="Kommatreddy, Chaitanya" userId="44a1469f-b03c-453c-8c31-90f831355cdb" providerId="ADAL" clId="{1DF3E1E5-ED07-4A8F-BF88-B8C30345A6E8}" dt="2021-03-23T08:23:09.469" v="999" actId="26606"/>
          <ac:spMkLst>
            <pc:docMk/>
            <pc:sldMk cId="636999727" sldId="256"/>
            <ac:spMk id="21" creationId="{C13237C8-E62C-4F0D-A318-BD6FB6C2D138}"/>
          </ac:spMkLst>
        </pc:spChg>
        <pc:spChg chg="add del">
          <ac:chgData name="Kommatreddy, Chaitanya" userId="44a1469f-b03c-453c-8c31-90f831355cdb" providerId="ADAL" clId="{1DF3E1E5-ED07-4A8F-BF88-B8C30345A6E8}" dt="2021-03-23T08:23:09.469" v="999" actId="26606"/>
          <ac:spMkLst>
            <pc:docMk/>
            <pc:sldMk cId="636999727" sldId="256"/>
            <ac:spMk id="22" creationId="{201CC55D-ED54-4C5C-95E6-10947BD1103B}"/>
          </ac:spMkLst>
        </pc:spChg>
        <pc:spChg chg="add del">
          <ac:chgData name="Kommatreddy, Chaitanya" userId="44a1469f-b03c-453c-8c31-90f831355cdb" providerId="ADAL" clId="{1DF3E1E5-ED07-4A8F-BF88-B8C30345A6E8}" dt="2021-03-23T08:23:09.469" v="999" actId="26606"/>
          <ac:spMkLst>
            <pc:docMk/>
            <pc:sldMk cId="636999727" sldId="256"/>
            <ac:spMk id="23" creationId="{19C9EAEA-39D0-4B0E-A0EB-51E7B26740B1}"/>
          </ac:spMkLst>
        </pc:spChg>
        <pc:spChg chg="add del">
          <ac:chgData name="Kommatreddy, Chaitanya" userId="44a1469f-b03c-453c-8c31-90f831355cdb" providerId="ADAL" clId="{1DF3E1E5-ED07-4A8F-BF88-B8C30345A6E8}" dt="2021-03-23T08:23:09.469" v="999" actId="26606"/>
          <ac:spMkLst>
            <pc:docMk/>
            <pc:sldMk cId="636999727" sldId="256"/>
            <ac:spMk id="26" creationId="{3873B707-463F-40B0-8227-E8CC6C67EB25}"/>
          </ac:spMkLst>
        </pc:spChg>
        <pc:spChg chg="add del">
          <ac:chgData name="Kommatreddy, Chaitanya" userId="44a1469f-b03c-453c-8c31-90f831355cdb" providerId="ADAL" clId="{1DF3E1E5-ED07-4A8F-BF88-B8C30345A6E8}" dt="2021-03-23T08:23:13.002" v="1001" actId="26606"/>
          <ac:spMkLst>
            <pc:docMk/>
            <pc:sldMk cId="636999727" sldId="256"/>
            <ac:spMk id="28" creationId="{5E39A796-BE83-48B1-B33F-35C4A32AAB57}"/>
          </ac:spMkLst>
        </pc:spChg>
        <pc:spChg chg="add del">
          <ac:chgData name="Kommatreddy, Chaitanya" userId="44a1469f-b03c-453c-8c31-90f831355cdb" providerId="ADAL" clId="{1DF3E1E5-ED07-4A8F-BF88-B8C30345A6E8}" dt="2021-03-23T08:23:13.002" v="1001" actId="26606"/>
          <ac:spMkLst>
            <pc:docMk/>
            <pc:sldMk cId="636999727" sldId="256"/>
            <ac:spMk id="29" creationId="{72F84B47-E267-4194-8194-831DB7B5547F}"/>
          </ac:spMkLst>
        </pc:spChg>
        <pc:spChg chg="add del">
          <ac:chgData name="Kommatreddy, Chaitanya" userId="44a1469f-b03c-453c-8c31-90f831355cdb" providerId="ADAL" clId="{1DF3E1E5-ED07-4A8F-BF88-B8C30345A6E8}" dt="2021-03-23T08:23:19.544" v="1003" actId="26606"/>
          <ac:spMkLst>
            <pc:docMk/>
            <pc:sldMk cId="636999727" sldId="256"/>
            <ac:spMk id="31" creationId="{201CC55D-ED54-4C5C-95E6-10947BD1103B}"/>
          </ac:spMkLst>
        </pc:spChg>
        <pc:spChg chg="add del">
          <ac:chgData name="Kommatreddy, Chaitanya" userId="44a1469f-b03c-453c-8c31-90f831355cdb" providerId="ADAL" clId="{1DF3E1E5-ED07-4A8F-BF88-B8C30345A6E8}" dt="2021-03-23T08:23:19.544" v="1003" actId="26606"/>
          <ac:spMkLst>
            <pc:docMk/>
            <pc:sldMk cId="636999727" sldId="256"/>
            <ac:spMk id="34" creationId="{3873B707-463F-40B0-8227-E8CC6C67EB25}"/>
          </ac:spMkLst>
        </pc:spChg>
        <pc:spChg chg="add del">
          <ac:chgData name="Kommatreddy, Chaitanya" userId="44a1469f-b03c-453c-8c31-90f831355cdb" providerId="ADAL" clId="{1DF3E1E5-ED07-4A8F-BF88-B8C30345A6E8}" dt="2021-03-23T08:23:19.544" v="1003" actId="26606"/>
          <ac:spMkLst>
            <pc:docMk/>
            <pc:sldMk cId="636999727" sldId="256"/>
            <ac:spMk id="35" creationId="{C13237C8-E62C-4F0D-A318-BD6FB6C2D138}"/>
          </ac:spMkLst>
        </pc:spChg>
        <pc:spChg chg="add del">
          <ac:chgData name="Kommatreddy, Chaitanya" userId="44a1469f-b03c-453c-8c31-90f831355cdb" providerId="ADAL" clId="{1DF3E1E5-ED07-4A8F-BF88-B8C30345A6E8}" dt="2021-03-23T08:23:19.544" v="1003" actId="26606"/>
          <ac:spMkLst>
            <pc:docMk/>
            <pc:sldMk cId="636999727" sldId="256"/>
            <ac:spMk id="36" creationId="{19C9EAEA-39D0-4B0E-A0EB-51E7B26740B1}"/>
          </ac:spMkLst>
        </pc:spChg>
        <pc:spChg chg="add del">
          <ac:chgData name="Kommatreddy, Chaitanya" userId="44a1469f-b03c-453c-8c31-90f831355cdb" providerId="ADAL" clId="{1DF3E1E5-ED07-4A8F-BF88-B8C30345A6E8}" dt="2021-03-23T08:23:24.415" v="1005" actId="26606"/>
          <ac:spMkLst>
            <pc:docMk/>
            <pc:sldMk cId="636999727" sldId="256"/>
            <ac:spMk id="38" creationId="{5E39A796-BE83-48B1-B33F-35C4A32AAB57}"/>
          </ac:spMkLst>
        </pc:spChg>
        <pc:spChg chg="add del">
          <ac:chgData name="Kommatreddy, Chaitanya" userId="44a1469f-b03c-453c-8c31-90f831355cdb" providerId="ADAL" clId="{1DF3E1E5-ED07-4A8F-BF88-B8C30345A6E8}" dt="2021-03-23T08:23:24.415" v="1005" actId="26606"/>
          <ac:spMkLst>
            <pc:docMk/>
            <pc:sldMk cId="636999727" sldId="256"/>
            <ac:spMk id="39" creationId="{72F84B47-E267-4194-8194-831DB7B5547F}"/>
          </ac:spMkLst>
        </pc:spChg>
        <pc:spChg chg="add del">
          <ac:chgData name="Kommatreddy, Chaitanya" userId="44a1469f-b03c-453c-8c31-90f831355cdb" providerId="ADAL" clId="{1DF3E1E5-ED07-4A8F-BF88-B8C30345A6E8}" dt="2021-03-23T08:23:27.752" v="1007" actId="26606"/>
          <ac:spMkLst>
            <pc:docMk/>
            <pc:sldMk cId="636999727" sldId="256"/>
            <ac:spMk id="41" creationId="{35F0E358-1E49-4920-80D8-C3D138708838}"/>
          </ac:spMkLst>
        </pc:spChg>
        <pc:spChg chg="add del">
          <ac:chgData name="Kommatreddy, Chaitanya" userId="44a1469f-b03c-453c-8c31-90f831355cdb" providerId="ADAL" clId="{1DF3E1E5-ED07-4A8F-BF88-B8C30345A6E8}" dt="2021-03-23T08:23:27.752" v="1007" actId="26606"/>
          <ac:spMkLst>
            <pc:docMk/>
            <pc:sldMk cId="636999727" sldId="256"/>
            <ac:spMk id="42" creationId="{E2D2362D-7010-4036-B9CA-03DFC8EB3B01}"/>
          </ac:spMkLst>
        </pc:spChg>
        <pc:spChg chg="add del">
          <ac:chgData name="Kommatreddy, Chaitanya" userId="44a1469f-b03c-453c-8c31-90f831355cdb" providerId="ADAL" clId="{1DF3E1E5-ED07-4A8F-BF88-B8C30345A6E8}" dt="2021-03-23T08:23:27.752" v="1007" actId="26606"/>
          <ac:spMkLst>
            <pc:docMk/>
            <pc:sldMk cId="636999727" sldId="256"/>
            <ac:spMk id="43" creationId="{DC85BF5E-2BD6-4E5B-8EA3-420B45BB03FA}"/>
          </ac:spMkLst>
        </pc:spChg>
        <pc:spChg chg="add del">
          <ac:chgData name="Kommatreddy, Chaitanya" userId="44a1469f-b03c-453c-8c31-90f831355cdb" providerId="ADAL" clId="{1DF3E1E5-ED07-4A8F-BF88-B8C30345A6E8}" dt="2021-03-23T08:23:27.752" v="1007" actId="26606"/>
          <ac:spMkLst>
            <pc:docMk/>
            <pc:sldMk cId="636999727" sldId="256"/>
            <ac:spMk id="44" creationId="{740D8E28-91B5-42B0-9D6C-B777D8AD90C2}"/>
          </ac:spMkLst>
        </pc:spChg>
        <pc:spChg chg="add del">
          <ac:chgData name="Kommatreddy, Chaitanya" userId="44a1469f-b03c-453c-8c31-90f831355cdb" providerId="ADAL" clId="{1DF3E1E5-ED07-4A8F-BF88-B8C30345A6E8}" dt="2021-03-23T08:23:31.582" v="1009" actId="26606"/>
          <ac:spMkLst>
            <pc:docMk/>
            <pc:sldMk cId="636999727" sldId="256"/>
            <ac:spMk id="46" creationId="{F2B38F72-8FC4-4001-8C67-FA6B86DEC767}"/>
          </ac:spMkLst>
        </pc:spChg>
        <pc:spChg chg="add del">
          <ac:chgData name="Kommatreddy, Chaitanya" userId="44a1469f-b03c-453c-8c31-90f831355cdb" providerId="ADAL" clId="{1DF3E1E5-ED07-4A8F-BF88-B8C30345A6E8}" dt="2021-03-23T08:23:33.380" v="1011" actId="26606"/>
          <ac:spMkLst>
            <pc:docMk/>
            <pc:sldMk cId="636999727" sldId="256"/>
            <ac:spMk id="48" creationId="{201CC55D-ED54-4C5C-95E6-10947BD1103B}"/>
          </ac:spMkLst>
        </pc:spChg>
        <pc:spChg chg="add del">
          <ac:chgData name="Kommatreddy, Chaitanya" userId="44a1469f-b03c-453c-8c31-90f831355cdb" providerId="ADAL" clId="{1DF3E1E5-ED07-4A8F-BF88-B8C30345A6E8}" dt="2021-03-23T08:23:33.380" v="1011" actId="26606"/>
          <ac:spMkLst>
            <pc:docMk/>
            <pc:sldMk cId="636999727" sldId="256"/>
            <ac:spMk id="51" creationId="{3873B707-463F-40B0-8227-E8CC6C67EB25}"/>
          </ac:spMkLst>
        </pc:spChg>
        <pc:spChg chg="add del">
          <ac:chgData name="Kommatreddy, Chaitanya" userId="44a1469f-b03c-453c-8c31-90f831355cdb" providerId="ADAL" clId="{1DF3E1E5-ED07-4A8F-BF88-B8C30345A6E8}" dt="2021-03-23T08:23:33.380" v="1011" actId="26606"/>
          <ac:spMkLst>
            <pc:docMk/>
            <pc:sldMk cId="636999727" sldId="256"/>
            <ac:spMk id="52" creationId="{C13237C8-E62C-4F0D-A318-BD6FB6C2D138}"/>
          </ac:spMkLst>
        </pc:spChg>
        <pc:spChg chg="add del">
          <ac:chgData name="Kommatreddy, Chaitanya" userId="44a1469f-b03c-453c-8c31-90f831355cdb" providerId="ADAL" clId="{1DF3E1E5-ED07-4A8F-BF88-B8C30345A6E8}" dt="2021-03-23T08:23:33.380" v="1011" actId="26606"/>
          <ac:spMkLst>
            <pc:docMk/>
            <pc:sldMk cId="636999727" sldId="256"/>
            <ac:spMk id="53" creationId="{19C9EAEA-39D0-4B0E-A0EB-51E7B26740B1}"/>
          </ac:spMkLst>
        </pc:spChg>
        <pc:spChg chg="add">
          <ac:chgData name="Kommatreddy, Chaitanya" userId="44a1469f-b03c-453c-8c31-90f831355cdb" providerId="ADAL" clId="{1DF3E1E5-ED07-4A8F-BF88-B8C30345A6E8}" dt="2021-03-23T08:23:33.388" v="1012" actId="26606"/>
          <ac:spMkLst>
            <pc:docMk/>
            <pc:sldMk cId="636999727" sldId="256"/>
            <ac:spMk id="55" creationId="{5E39A796-BE83-48B1-B33F-35C4A32AAB57}"/>
          </ac:spMkLst>
        </pc:spChg>
        <pc:spChg chg="add">
          <ac:chgData name="Kommatreddy, Chaitanya" userId="44a1469f-b03c-453c-8c31-90f831355cdb" providerId="ADAL" clId="{1DF3E1E5-ED07-4A8F-BF88-B8C30345A6E8}" dt="2021-03-23T08:23:33.388" v="1012" actId="26606"/>
          <ac:spMkLst>
            <pc:docMk/>
            <pc:sldMk cId="636999727" sldId="256"/>
            <ac:spMk id="56" creationId="{72F84B47-E267-4194-8194-831DB7B5547F}"/>
          </ac:spMkLst>
        </pc:spChg>
        <pc:grpChg chg="add del">
          <ac:chgData name="Kommatreddy, Chaitanya" userId="44a1469f-b03c-453c-8c31-90f831355cdb" providerId="ADAL" clId="{1DF3E1E5-ED07-4A8F-BF88-B8C30345A6E8}" dt="2021-03-23T08:23:09.469" v="999" actId="26606"/>
          <ac:grpSpMkLst>
            <pc:docMk/>
            <pc:sldMk cId="636999727" sldId="256"/>
            <ac:grpSpMk id="24" creationId="{1DE889C7-FAD6-4397-98E2-05D503484459}"/>
          </ac:grpSpMkLst>
        </pc:grpChg>
        <pc:grpChg chg="add del">
          <ac:chgData name="Kommatreddy, Chaitanya" userId="44a1469f-b03c-453c-8c31-90f831355cdb" providerId="ADAL" clId="{1DF3E1E5-ED07-4A8F-BF88-B8C30345A6E8}" dt="2021-03-23T08:23:19.544" v="1003" actId="26606"/>
          <ac:grpSpMkLst>
            <pc:docMk/>
            <pc:sldMk cId="636999727" sldId="256"/>
            <ac:grpSpMk id="32" creationId="{1DE889C7-FAD6-4397-98E2-05D503484459}"/>
          </ac:grpSpMkLst>
        </pc:grpChg>
        <pc:grpChg chg="add del">
          <ac:chgData name="Kommatreddy, Chaitanya" userId="44a1469f-b03c-453c-8c31-90f831355cdb" providerId="ADAL" clId="{1DF3E1E5-ED07-4A8F-BF88-B8C30345A6E8}" dt="2021-03-23T08:23:33.380" v="1011" actId="26606"/>
          <ac:grpSpMkLst>
            <pc:docMk/>
            <pc:sldMk cId="636999727" sldId="256"/>
            <ac:grpSpMk id="49" creationId="{1DE889C7-FAD6-4397-98E2-05D503484459}"/>
          </ac:grpSpMkLst>
        </pc:grpChg>
        <pc:picChg chg="del">
          <ac:chgData name="Kommatreddy, Chaitanya" userId="44a1469f-b03c-453c-8c31-90f831355cdb" providerId="ADAL" clId="{1DF3E1E5-ED07-4A8F-BF88-B8C30345A6E8}" dt="2021-03-23T07:23:10.182" v="237" actId="478"/>
          <ac:picMkLst>
            <pc:docMk/>
            <pc:sldMk cId="636999727" sldId="256"/>
            <ac:picMk id="4" creationId="{B3C49C56-DBBD-4F92-AB32-0BF6891565C7}"/>
          </ac:picMkLst>
        </pc:picChg>
        <pc:picChg chg="add mod ord">
          <ac:chgData name="Kommatreddy, Chaitanya" userId="44a1469f-b03c-453c-8c31-90f831355cdb" providerId="ADAL" clId="{1DF3E1E5-ED07-4A8F-BF88-B8C30345A6E8}" dt="2021-03-23T08:23:33.388" v="1012" actId="26606"/>
          <ac:picMkLst>
            <pc:docMk/>
            <pc:sldMk cId="636999727" sldId="256"/>
            <ac:picMk id="6" creationId="{D6C35138-CD8B-4427-84F2-1B56C4D75994}"/>
          </ac:picMkLst>
        </pc:picChg>
        <pc:picChg chg="del">
          <ac:chgData name="Kommatreddy, Chaitanya" userId="44a1469f-b03c-453c-8c31-90f831355cdb" providerId="ADAL" clId="{1DF3E1E5-ED07-4A8F-BF88-B8C30345A6E8}" dt="2021-03-23T07:23:12.135" v="238" actId="478"/>
          <ac:picMkLst>
            <pc:docMk/>
            <pc:sldMk cId="636999727" sldId="256"/>
            <ac:picMk id="7" creationId="{51A7DA61-C621-4750-808F-AA81F1A36ED3}"/>
          </ac:picMkLst>
        </pc:picChg>
      </pc:sldChg>
      <pc:sldChg chg="modSp">
        <pc:chgData name="Kommatreddy, Chaitanya" userId="44a1469f-b03c-453c-8c31-90f831355cdb" providerId="ADAL" clId="{1DF3E1E5-ED07-4A8F-BF88-B8C30345A6E8}" dt="2021-03-23T08:04:33.683" v="743" actId="20577"/>
        <pc:sldMkLst>
          <pc:docMk/>
          <pc:sldMk cId="1078693895" sldId="268"/>
        </pc:sldMkLst>
        <pc:spChg chg="mod">
          <ac:chgData name="Kommatreddy, Chaitanya" userId="44a1469f-b03c-453c-8c31-90f831355cdb" providerId="ADAL" clId="{1DF3E1E5-ED07-4A8F-BF88-B8C30345A6E8}" dt="2021-03-23T08:03:14.205" v="601" actId="20577"/>
          <ac:spMkLst>
            <pc:docMk/>
            <pc:sldMk cId="1078693895" sldId="268"/>
            <ac:spMk id="20" creationId="{97F95232-FAF7-4FBD-A394-067DD3DBBE84}"/>
          </ac:spMkLst>
        </pc:spChg>
        <pc:spChg chg="mod">
          <ac:chgData name="Kommatreddy, Chaitanya" userId="44a1469f-b03c-453c-8c31-90f831355cdb" providerId="ADAL" clId="{1DF3E1E5-ED07-4A8F-BF88-B8C30345A6E8}" dt="2021-03-23T08:04:33.683" v="743" actId="20577"/>
          <ac:spMkLst>
            <pc:docMk/>
            <pc:sldMk cId="1078693895" sldId="268"/>
            <ac:spMk id="22" creationId="{E4EEB0BB-CEA4-435D-930A-B95795FCC5A9}"/>
          </ac:spMkLst>
        </pc:spChg>
      </pc:sldChg>
      <pc:sldChg chg="addSp delSp modSp">
        <pc:chgData name="Kommatreddy, Chaitanya" userId="44a1469f-b03c-453c-8c31-90f831355cdb" providerId="ADAL" clId="{1DF3E1E5-ED07-4A8F-BF88-B8C30345A6E8}" dt="2021-03-23T08:08:32.004" v="984" actId="20577"/>
        <pc:sldMkLst>
          <pc:docMk/>
          <pc:sldMk cId="1298414651" sldId="274"/>
        </pc:sldMkLst>
        <pc:spChg chg="add del mod">
          <ac:chgData name="Kommatreddy, Chaitanya" userId="44a1469f-b03c-453c-8c31-90f831355cdb" providerId="ADAL" clId="{1DF3E1E5-ED07-4A8F-BF88-B8C30345A6E8}" dt="2021-03-23T08:08:13.124" v="861"/>
          <ac:spMkLst>
            <pc:docMk/>
            <pc:sldMk cId="1298414651" sldId="274"/>
            <ac:spMk id="18" creationId="{E9C2F8C5-0D8D-4458-BF36-698B27D584A7}"/>
          </ac:spMkLst>
        </pc:spChg>
        <pc:spChg chg="add mod">
          <ac:chgData name="Kommatreddy, Chaitanya" userId="44a1469f-b03c-453c-8c31-90f831355cdb" providerId="ADAL" clId="{1DF3E1E5-ED07-4A8F-BF88-B8C30345A6E8}" dt="2021-03-23T08:08:32.004" v="984" actId="20577"/>
          <ac:spMkLst>
            <pc:docMk/>
            <pc:sldMk cId="1298414651" sldId="274"/>
            <ac:spMk id="20" creationId="{8DC0307F-F26B-4E9C-BDAD-2017F30D2BA2}"/>
          </ac:spMkLst>
        </pc:spChg>
        <pc:picChg chg="add del mod">
          <ac:chgData name="Kommatreddy, Chaitanya" userId="44a1469f-b03c-453c-8c31-90f831355cdb" providerId="ADAL" clId="{1DF3E1E5-ED07-4A8F-BF88-B8C30345A6E8}" dt="2021-03-23T08:08:13.124" v="861"/>
          <ac:picMkLst>
            <pc:docMk/>
            <pc:sldMk cId="1298414651" sldId="274"/>
            <ac:picMk id="15" creationId="{55DF2868-1C95-44BD-8A00-5D796779D33F}"/>
          </ac:picMkLst>
        </pc:picChg>
        <pc:picChg chg="add mod">
          <ac:chgData name="Kommatreddy, Chaitanya" userId="44a1469f-b03c-453c-8c31-90f831355cdb" providerId="ADAL" clId="{1DF3E1E5-ED07-4A8F-BF88-B8C30345A6E8}" dt="2021-03-23T08:08:27.428" v="980" actId="1037"/>
          <ac:picMkLst>
            <pc:docMk/>
            <pc:sldMk cId="1298414651" sldId="274"/>
            <ac:picMk id="19" creationId="{2ECA3EBB-D4CB-4DD0-ADE3-794D04771B80}"/>
          </ac:picMkLst>
        </pc:picChg>
      </pc:sldChg>
      <pc:sldChg chg="ord">
        <pc:chgData name="Kommatreddy, Chaitanya" userId="44a1469f-b03c-453c-8c31-90f831355cdb" providerId="ADAL" clId="{1DF3E1E5-ED07-4A8F-BF88-B8C30345A6E8}" dt="2021-03-23T08:01:51.372" v="472"/>
        <pc:sldMkLst>
          <pc:docMk/>
          <pc:sldMk cId="3756249856" sldId="398"/>
        </pc:sldMkLst>
      </pc:sldChg>
      <pc:sldChg chg="ord">
        <pc:chgData name="Kommatreddy, Chaitanya" userId="44a1469f-b03c-453c-8c31-90f831355cdb" providerId="ADAL" clId="{1DF3E1E5-ED07-4A8F-BF88-B8C30345A6E8}" dt="2021-03-23T06:56:05.417" v="0"/>
        <pc:sldMkLst>
          <pc:docMk/>
          <pc:sldMk cId="1954271784" sldId="8811"/>
        </pc:sldMkLst>
      </pc:sldChg>
      <pc:sldChg chg="delSp modSp">
        <pc:chgData name="Kommatreddy, Chaitanya" userId="44a1469f-b03c-453c-8c31-90f831355cdb" providerId="ADAL" clId="{1DF3E1E5-ED07-4A8F-BF88-B8C30345A6E8}" dt="2021-03-23T07:21:52.684" v="218"/>
        <pc:sldMkLst>
          <pc:docMk/>
          <pc:sldMk cId="2725184318" sldId="8836"/>
        </pc:sldMkLst>
        <pc:spChg chg="del">
          <ac:chgData name="Kommatreddy, Chaitanya" userId="44a1469f-b03c-453c-8c31-90f831355cdb" providerId="ADAL" clId="{1DF3E1E5-ED07-4A8F-BF88-B8C30345A6E8}" dt="2021-03-23T07:19:54.025" v="136" actId="478"/>
          <ac:spMkLst>
            <pc:docMk/>
            <pc:sldMk cId="2725184318" sldId="8836"/>
            <ac:spMk id="4" creationId="{D7A3DBB8-B236-41F0-90A9-DCA0CB38FDEE}"/>
          </ac:spMkLst>
        </pc:spChg>
        <pc:spChg chg="mod">
          <ac:chgData name="Kommatreddy, Chaitanya" userId="44a1469f-b03c-453c-8c31-90f831355cdb" providerId="ADAL" clId="{1DF3E1E5-ED07-4A8F-BF88-B8C30345A6E8}" dt="2021-03-23T07:21:52.684" v="218"/>
          <ac:spMkLst>
            <pc:docMk/>
            <pc:sldMk cId="2725184318" sldId="8836"/>
            <ac:spMk id="13" creationId="{00000000-0000-0000-0000-000000000000}"/>
          </ac:spMkLst>
        </pc:spChg>
      </pc:sldChg>
      <pc:sldChg chg="ord">
        <pc:chgData name="Kommatreddy, Chaitanya" userId="44a1469f-b03c-453c-8c31-90f831355cdb" providerId="ADAL" clId="{1DF3E1E5-ED07-4A8F-BF88-B8C30345A6E8}" dt="2021-03-23T08:01:51.372" v="472"/>
        <pc:sldMkLst>
          <pc:docMk/>
          <pc:sldMk cId="678701893" sldId="9006"/>
        </pc:sldMkLst>
      </pc:sldChg>
      <pc:sldChg chg="ord">
        <pc:chgData name="Kommatreddy, Chaitanya" userId="44a1469f-b03c-453c-8c31-90f831355cdb" providerId="ADAL" clId="{1DF3E1E5-ED07-4A8F-BF88-B8C30345A6E8}" dt="2021-03-23T08:01:51.372" v="472"/>
        <pc:sldMkLst>
          <pc:docMk/>
          <pc:sldMk cId="2524229145" sldId="9040"/>
        </pc:sldMkLst>
      </pc:sldChg>
      <pc:sldChg chg="add del">
        <pc:chgData name="Kommatreddy, Chaitanya" userId="44a1469f-b03c-453c-8c31-90f831355cdb" providerId="ADAL" clId="{1DF3E1E5-ED07-4A8F-BF88-B8C30345A6E8}" dt="2021-03-23T07:01:12.024" v="102" actId="2696"/>
        <pc:sldMkLst>
          <pc:docMk/>
          <pc:sldMk cId="2618522704" sldId="9044"/>
        </pc:sldMkLst>
      </pc:sldChg>
      <pc:sldChg chg="addSp delSp modSp add mod setBg">
        <pc:chgData name="Kommatreddy, Chaitanya" userId="44a1469f-b03c-453c-8c31-90f831355cdb" providerId="ADAL" clId="{1DF3E1E5-ED07-4A8F-BF88-B8C30345A6E8}" dt="2021-03-23T08:22:41.144" v="995" actId="26606"/>
        <pc:sldMkLst>
          <pc:docMk/>
          <pc:sldMk cId="664270981" sldId="9045"/>
        </pc:sldMkLst>
        <pc:spChg chg="del">
          <ac:chgData name="Kommatreddy, Chaitanya" userId="44a1469f-b03c-453c-8c31-90f831355cdb" providerId="ADAL" clId="{1DF3E1E5-ED07-4A8F-BF88-B8C30345A6E8}" dt="2021-03-23T08:22:31.274" v="991" actId="478"/>
          <ac:spMkLst>
            <pc:docMk/>
            <pc:sldMk cId="664270981" sldId="9045"/>
            <ac:spMk id="2" creationId="{C4741453-AAC1-4F16-8941-1B30D0707353}"/>
          </ac:spMkLst>
        </pc:spChg>
        <pc:spChg chg="mod">
          <ac:chgData name="Kommatreddy, Chaitanya" userId="44a1469f-b03c-453c-8c31-90f831355cdb" providerId="ADAL" clId="{1DF3E1E5-ED07-4A8F-BF88-B8C30345A6E8}" dt="2021-03-23T08:22:41.144" v="995" actId="26606"/>
          <ac:spMkLst>
            <pc:docMk/>
            <pc:sldMk cId="664270981" sldId="9045"/>
            <ac:spMk id="5" creationId="{F16EB711-1DFD-4BF5-AB76-CAB609BEB155}"/>
          </ac:spMkLst>
        </pc:spChg>
        <pc:spChg chg="add del">
          <ac:chgData name="Kommatreddy, Chaitanya" userId="44a1469f-b03c-453c-8c31-90f831355cdb" providerId="ADAL" clId="{1DF3E1E5-ED07-4A8F-BF88-B8C30345A6E8}" dt="2021-03-23T08:22:41.139" v="994" actId="26606"/>
          <ac:spMkLst>
            <pc:docMk/>
            <pc:sldMk cId="664270981" sldId="9045"/>
            <ac:spMk id="13" creationId="{53F29798-D584-4792-9B62-3F5F5C36D619}"/>
          </ac:spMkLst>
        </pc:spChg>
        <pc:picChg chg="del">
          <ac:chgData name="Kommatreddy, Chaitanya" userId="44a1469f-b03c-453c-8c31-90f831355cdb" providerId="ADAL" clId="{1DF3E1E5-ED07-4A8F-BF88-B8C30345A6E8}" dt="2021-03-23T07:01:29.655" v="135" actId="478"/>
          <ac:picMkLst>
            <pc:docMk/>
            <pc:sldMk cId="664270981" sldId="9045"/>
            <ac:picMk id="4" creationId="{B3C49C56-DBBD-4F92-AB32-0BF6891565C7}"/>
          </ac:picMkLst>
        </pc:picChg>
        <pc:picChg chg="add del mod">
          <ac:chgData name="Kommatreddy, Chaitanya" userId="44a1469f-b03c-453c-8c31-90f831355cdb" providerId="ADAL" clId="{1DF3E1E5-ED07-4A8F-BF88-B8C30345A6E8}" dt="2021-03-23T08:22:27.858" v="990"/>
          <ac:picMkLst>
            <pc:docMk/>
            <pc:sldMk cId="664270981" sldId="9045"/>
            <ac:picMk id="6" creationId="{C90B52DB-C812-4B89-AA75-DA01A6F2FD04}"/>
          </ac:picMkLst>
        </pc:picChg>
        <pc:picChg chg="del">
          <ac:chgData name="Kommatreddy, Chaitanya" userId="44a1469f-b03c-453c-8c31-90f831355cdb" providerId="ADAL" clId="{1DF3E1E5-ED07-4A8F-BF88-B8C30345A6E8}" dt="2021-03-23T08:05:28.920" v="744" actId="478"/>
          <ac:picMkLst>
            <pc:docMk/>
            <pc:sldMk cId="664270981" sldId="9045"/>
            <ac:picMk id="7" creationId="{51A7DA61-C621-4750-808F-AA81F1A36ED3}"/>
          </ac:picMkLst>
        </pc:picChg>
        <pc:picChg chg="add mod">
          <ac:chgData name="Kommatreddy, Chaitanya" userId="44a1469f-b03c-453c-8c31-90f831355cdb" providerId="ADAL" clId="{1DF3E1E5-ED07-4A8F-BF88-B8C30345A6E8}" dt="2021-03-23T08:22:41.144" v="995" actId="26606"/>
          <ac:picMkLst>
            <pc:docMk/>
            <pc:sldMk cId="664270981" sldId="9045"/>
            <ac:picMk id="8" creationId="{D1874747-7883-49F6-9A8E-B87443EAD5CE}"/>
          </ac:picMkLst>
        </pc:picChg>
      </pc:sldChg>
    </pc:docChg>
  </pc:docChgLst>
  <pc:docChgLst>
    <pc:chgData name="Jivrajani, Dharini" userId="S::djivrajani@deloitte.com::9f28c9a6-e07b-4de5-8682-ac3f5c875595" providerId="AD" clId="Web-{5D8497F4-BB4B-4C40-8544-5D04008F4DA8}"/>
    <pc:docChg chg="modSld">
      <pc:chgData name="Jivrajani, Dharini" userId="S::djivrajani@deloitte.com::9f28c9a6-e07b-4de5-8682-ac3f5c875595" providerId="AD" clId="Web-{5D8497F4-BB4B-4C40-8544-5D04008F4DA8}" dt="2020-11-19T16:14:06.985" v="85" actId="20577"/>
      <pc:docMkLst>
        <pc:docMk/>
      </pc:docMkLst>
      <pc:sldChg chg="modSp">
        <pc:chgData name="Jivrajani, Dharini" userId="S::djivrajani@deloitte.com::9f28c9a6-e07b-4de5-8682-ac3f5c875595" providerId="AD" clId="Web-{5D8497F4-BB4B-4C40-8544-5D04008F4DA8}" dt="2020-11-19T16:13:50.641" v="83"/>
        <pc:sldMkLst>
          <pc:docMk/>
          <pc:sldMk cId="3377722835" sldId="8772"/>
        </pc:sldMkLst>
        <pc:graphicFrameChg chg="mod modGraphic">
          <ac:chgData name="Jivrajani, Dharini" userId="S::djivrajani@deloitte.com::9f28c9a6-e07b-4de5-8682-ac3f5c875595" providerId="AD" clId="Web-{5D8497F4-BB4B-4C40-8544-5D04008F4DA8}" dt="2020-11-19T16:13:50.641" v="83"/>
          <ac:graphicFrameMkLst>
            <pc:docMk/>
            <pc:sldMk cId="3377722835" sldId="8772"/>
            <ac:graphicFrameMk id="2" creationId="{7D8F2493-A0C4-4740-A16F-E066BC79CDD8}"/>
          </ac:graphicFrameMkLst>
        </pc:graphicFrameChg>
      </pc:sldChg>
      <pc:sldChg chg="modSp">
        <pc:chgData name="Jivrajani, Dharini" userId="S::djivrajani@deloitte.com::9f28c9a6-e07b-4de5-8682-ac3f5c875595" providerId="AD" clId="Web-{5D8497F4-BB4B-4C40-8544-5D04008F4DA8}" dt="2020-11-19T16:14:06.985" v="85" actId="20577"/>
        <pc:sldMkLst>
          <pc:docMk/>
          <pc:sldMk cId="1871634249" sldId="9016"/>
        </pc:sldMkLst>
        <pc:spChg chg="mod">
          <ac:chgData name="Jivrajani, Dharini" userId="S::djivrajani@deloitte.com::9f28c9a6-e07b-4de5-8682-ac3f5c875595" providerId="AD" clId="Web-{5D8497F4-BB4B-4C40-8544-5D04008F4DA8}" dt="2020-11-19T16:14:06.985" v="85" actId="20577"/>
          <ac:spMkLst>
            <pc:docMk/>
            <pc:sldMk cId="1871634249" sldId="9016"/>
            <ac:spMk id="2" creationId="{74E336CA-F901-4B74-AED6-13439BAA7A2B}"/>
          </ac:spMkLst>
        </pc:spChg>
      </pc:sldChg>
    </pc:docChg>
  </pc:docChgLst>
  <pc:docChgLst>
    <pc:chgData name="Khisty, Mukund" userId="S::mkhisty@deloitte.com::97a787a6-0eca-4f26-b388-c38696e1afb6" providerId="AD" clId="Web-{3C372610-1B35-40C2-9070-A2EDCF39BACC}"/>
    <pc:docChg chg="modSld">
      <pc:chgData name="Khisty, Mukund" userId="S::mkhisty@deloitte.com::97a787a6-0eca-4f26-b388-c38696e1afb6" providerId="AD" clId="Web-{3C372610-1B35-40C2-9070-A2EDCF39BACC}" dt="2021-05-17T17:13:11.985" v="2" actId="1076"/>
      <pc:docMkLst>
        <pc:docMk/>
      </pc:docMkLst>
      <pc:sldChg chg="delSp modSp">
        <pc:chgData name="Khisty, Mukund" userId="S::mkhisty@deloitte.com::97a787a6-0eca-4f26-b388-c38696e1afb6" providerId="AD" clId="Web-{3C372610-1B35-40C2-9070-A2EDCF39BACC}" dt="2021-05-17T17:13:11.985" v="2" actId="1076"/>
        <pc:sldMkLst>
          <pc:docMk/>
          <pc:sldMk cId="3491360341" sldId="8786"/>
        </pc:sldMkLst>
        <pc:spChg chg="mod">
          <ac:chgData name="Khisty, Mukund" userId="S::mkhisty@deloitte.com::97a787a6-0eca-4f26-b388-c38696e1afb6" providerId="AD" clId="Web-{3C372610-1B35-40C2-9070-A2EDCF39BACC}" dt="2021-05-17T17:13:11.985" v="2" actId="1076"/>
          <ac:spMkLst>
            <pc:docMk/>
            <pc:sldMk cId="3491360341" sldId="8786"/>
            <ac:spMk id="42" creationId="{50471594-1AF3-4C47-8266-E7625F004450}"/>
          </ac:spMkLst>
        </pc:spChg>
        <pc:spChg chg="del mod">
          <ac:chgData name="Khisty, Mukund" userId="S::mkhisty@deloitte.com::97a787a6-0eca-4f26-b388-c38696e1afb6" providerId="AD" clId="Web-{3C372610-1B35-40C2-9070-A2EDCF39BACC}" dt="2021-05-17T17:11:23.635" v="1"/>
          <ac:spMkLst>
            <pc:docMk/>
            <pc:sldMk cId="3491360341" sldId="8786"/>
            <ac:spMk id="44" creationId="{35B77934-DDA7-4BA1-BA2C-9AB6DC7A8569}"/>
          </ac:spMkLst>
        </pc:spChg>
      </pc:sldChg>
    </pc:docChg>
  </pc:docChgLst>
  <pc:docChgLst>
    <pc:chgData name="Ghosh, Anindya" userId="S::anighosh@deloitte.com::1c8636f3-f28e-411c-9bbf-d78a395a60f5" providerId="AD" clId="Web-{DD234479-4775-4693-83CA-37D346760B16}"/>
    <pc:docChg chg="modSld">
      <pc:chgData name="Ghosh, Anindya" userId="S::anighosh@deloitte.com::1c8636f3-f28e-411c-9bbf-d78a395a60f5" providerId="AD" clId="Web-{DD234479-4775-4693-83CA-37D346760B16}" dt="2021-07-09T14:05:44.673" v="21" actId="20577"/>
      <pc:docMkLst>
        <pc:docMk/>
      </pc:docMkLst>
      <pc:sldChg chg="modSp">
        <pc:chgData name="Ghosh, Anindya" userId="S::anighosh@deloitte.com::1c8636f3-f28e-411c-9bbf-d78a395a60f5" providerId="AD" clId="Web-{DD234479-4775-4693-83CA-37D346760B16}" dt="2021-07-09T14:05:44.673" v="21" actId="20577"/>
        <pc:sldMkLst>
          <pc:docMk/>
          <pc:sldMk cId="4169581344" sldId="8798"/>
        </pc:sldMkLst>
        <pc:spChg chg="mod">
          <ac:chgData name="Ghosh, Anindya" userId="S::anighosh@deloitte.com::1c8636f3-f28e-411c-9bbf-d78a395a60f5" providerId="AD" clId="Web-{DD234479-4775-4693-83CA-37D346760B16}" dt="2021-07-09T14:05:44.673" v="21" actId="20577"/>
          <ac:spMkLst>
            <pc:docMk/>
            <pc:sldMk cId="4169581344" sldId="8798"/>
            <ac:spMk id="8" creationId="{71212121-086E-4BFC-AAF6-26CCEC0960A9}"/>
          </ac:spMkLst>
        </pc:spChg>
      </pc:sldChg>
    </pc:docChg>
  </pc:docChgLst>
  <pc:docChgLst>
    <pc:chgData name="Majjiga, Swetha Reddy" userId="S::smajjiga@deloitte.com::5540cba4-1ece-4c56-97c2-75b6521b9cee" providerId="AD" clId="Web-{6479356C-8E67-4624-87B3-F89217348EDC}"/>
    <pc:docChg chg="modSld">
      <pc:chgData name="Majjiga, Swetha Reddy" userId="S::smajjiga@deloitte.com::5540cba4-1ece-4c56-97c2-75b6521b9cee" providerId="AD" clId="Web-{6479356C-8E67-4624-87B3-F89217348EDC}" dt="2021-02-25T13:09:04.942" v="6" actId="20577"/>
      <pc:docMkLst>
        <pc:docMk/>
      </pc:docMkLst>
      <pc:sldChg chg="modSp">
        <pc:chgData name="Majjiga, Swetha Reddy" userId="S::smajjiga@deloitte.com::5540cba4-1ece-4c56-97c2-75b6521b9cee" providerId="AD" clId="Web-{6479356C-8E67-4624-87B3-F89217348EDC}" dt="2021-02-25T13:09:04.942" v="6" actId="20577"/>
        <pc:sldMkLst>
          <pc:docMk/>
          <pc:sldMk cId="4107362912" sldId="8785"/>
        </pc:sldMkLst>
        <pc:spChg chg="mod">
          <ac:chgData name="Majjiga, Swetha Reddy" userId="S::smajjiga@deloitte.com::5540cba4-1ece-4c56-97c2-75b6521b9cee" providerId="AD" clId="Web-{6479356C-8E67-4624-87B3-F89217348EDC}" dt="2021-02-25T13:09:04.942" v="6" actId="20577"/>
          <ac:spMkLst>
            <pc:docMk/>
            <pc:sldMk cId="4107362912" sldId="8785"/>
            <ac:spMk id="7" creationId="{BD52B5DB-DDAB-4EC0-94A0-8CED04FAB517}"/>
          </ac:spMkLst>
        </pc:spChg>
      </pc:sldChg>
    </pc:docChg>
  </pc:docChgLst>
  <pc:docChgLst>
    <pc:chgData name="Majjiga, Swetha Reddy" userId="S::smajjiga@deloitte.com::5540cba4-1ece-4c56-97c2-75b6521b9cee" providerId="AD" clId="Web-{B8964367-3CB9-4CC5-95BE-9AF12B4170AB}"/>
    <pc:docChg chg="modSld">
      <pc:chgData name="Majjiga, Swetha Reddy" userId="S::smajjiga@deloitte.com::5540cba4-1ece-4c56-97c2-75b6521b9cee" providerId="AD" clId="Web-{B8964367-3CB9-4CC5-95BE-9AF12B4170AB}" dt="2020-11-02T08:48:18.426" v="0" actId="1076"/>
      <pc:docMkLst>
        <pc:docMk/>
      </pc:docMkLst>
      <pc:sldChg chg="modSp">
        <pc:chgData name="Majjiga, Swetha Reddy" userId="S::smajjiga@deloitte.com::5540cba4-1ece-4c56-97c2-75b6521b9cee" providerId="AD" clId="Web-{B8964367-3CB9-4CC5-95BE-9AF12B4170AB}" dt="2020-11-02T08:48:18.426" v="0" actId="1076"/>
        <pc:sldMkLst>
          <pc:docMk/>
          <pc:sldMk cId="4107362912" sldId="8785"/>
        </pc:sldMkLst>
        <pc:spChg chg="mod">
          <ac:chgData name="Majjiga, Swetha Reddy" userId="S::smajjiga@deloitte.com::5540cba4-1ece-4c56-97c2-75b6521b9cee" providerId="AD" clId="Web-{B8964367-3CB9-4CC5-95BE-9AF12B4170AB}" dt="2020-11-02T08:48:18.426" v="0" actId="1076"/>
          <ac:spMkLst>
            <pc:docMk/>
            <pc:sldMk cId="4107362912" sldId="8785"/>
            <ac:spMk id="7" creationId="{BD52B5DB-DDAB-4EC0-94A0-8CED04FAB517}"/>
          </ac:spMkLst>
        </pc:spChg>
      </pc:sldChg>
    </pc:docChg>
  </pc:docChgLst>
  <pc:docChgLst>
    <pc:chgData name="Bouikidis, Zois" userId="S::zbouikidis@deloitte.com::bd1a3939-50ae-4ed9-9f20-380b71c15406" providerId="AD" clId="Web-{4F15BD88-FAFF-B804-33BF-D5D879DEE46B}"/>
    <pc:docChg chg="modSld">
      <pc:chgData name="Bouikidis, Zois" userId="S::zbouikidis@deloitte.com::bd1a3939-50ae-4ed9-9f20-380b71c15406" providerId="AD" clId="Web-{4F15BD88-FAFF-B804-33BF-D5D879DEE46B}" dt="2020-07-13T17:51:45.751" v="3" actId="20577"/>
      <pc:docMkLst>
        <pc:docMk/>
      </pc:docMkLst>
      <pc:sldChg chg="modSp">
        <pc:chgData name="Bouikidis, Zois" userId="S::zbouikidis@deloitte.com::bd1a3939-50ae-4ed9-9f20-380b71c15406" providerId="AD" clId="Web-{4F15BD88-FAFF-B804-33BF-D5D879DEE46B}" dt="2020-07-13T17:51:45.751" v="3" actId="20577"/>
        <pc:sldMkLst>
          <pc:docMk/>
          <pc:sldMk cId="3472853465" sldId="8838"/>
        </pc:sldMkLst>
        <pc:spChg chg="mod">
          <ac:chgData name="Bouikidis, Zois" userId="S::zbouikidis@deloitte.com::bd1a3939-50ae-4ed9-9f20-380b71c15406" providerId="AD" clId="Web-{4F15BD88-FAFF-B804-33BF-D5D879DEE46B}" dt="2020-07-13T17:51:45.751" v="3" actId="20577"/>
          <ac:spMkLst>
            <pc:docMk/>
            <pc:sldMk cId="3472853465" sldId="8838"/>
            <ac:spMk id="13" creationId="{00000000-0000-0000-0000-000000000000}"/>
          </ac:spMkLst>
        </pc:spChg>
      </pc:sldChg>
    </pc:docChg>
  </pc:docChgLst>
  <pc:docChgLst>
    <pc:chgData name="Majjiga, Swetha Reddy" userId="S::smajjiga@deloitte.com::5540cba4-1ece-4c56-97c2-75b6521b9cee" providerId="AD" clId="Web-{5B331C17-1725-4DD4-A068-30D227734349}"/>
    <pc:docChg chg="modSld">
      <pc:chgData name="Majjiga, Swetha Reddy" userId="S::smajjiga@deloitte.com::5540cba4-1ece-4c56-97c2-75b6521b9cee" providerId="AD" clId="Web-{5B331C17-1725-4DD4-A068-30D227734349}" dt="2020-07-13T12:38:02.426" v="172" actId="20577"/>
      <pc:docMkLst>
        <pc:docMk/>
      </pc:docMkLst>
      <pc:sldChg chg="addSp delSp modSp">
        <pc:chgData name="Majjiga, Swetha Reddy" userId="S::smajjiga@deloitte.com::5540cba4-1ece-4c56-97c2-75b6521b9cee" providerId="AD" clId="Web-{5B331C17-1725-4DD4-A068-30D227734349}" dt="2020-07-13T12:38:02.426" v="172" actId="20577"/>
        <pc:sldMkLst>
          <pc:docMk/>
          <pc:sldMk cId="4099786269" sldId="8812"/>
        </pc:sldMkLst>
        <pc:spChg chg="del mod">
          <ac:chgData name="Majjiga, Swetha Reddy" userId="S::smajjiga@deloitte.com::5540cba4-1ece-4c56-97c2-75b6521b9cee" providerId="AD" clId="Web-{5B331C17-1725-4DD4-A068-30D227734349}" dt="2020-07-13T12:08:37.814" v="13"/>
          <ac:spMkLst>
            <pc:docMk/>
            <pc:sldMk cId="4099786269" sldId="8812"/>
            <ac:spMk id="2" creationId="{3E132A87-B07E-4654-A6D5-582DD48B752A}"/>
          </ac:spMkLst>
        </pc:spChg>
        <pc:spChg chg="add mod">
          <ac:chgData name="Majjiga, Swetha Reddy" userId="S::smajjiga@deloitte.com::5540cba4-1ece-4c56-97c2-75b6521b9cee" providerId="AD" clId="Web-{5B331C17-1725-4DD4-A068-30D227734349}" dt="2020-07-13T12:35:11.174" v="96" actId="1076"/>
          <ac:spMkLst>
            <pc:docMk/>
            <pc:sldMk cId="4099786269" sldId="8812"/>
            <ac:spMk id="3" creationId="{D95B969B-DED9-4E70-B1D9-B2A725B3E61D}"/>
          </ac:spMkLst>
        </pc:spChg>
        <pc:spChg chg="mod">
          <ac:chgData name="Majjiga, Swetha Reddy" userId="S::smajjiga@deloitte.com::5540cba4-1ece-4c56-97c2-75b6521b9cee" providerId="AD" clId="Web-{5B331C17-1725-4DD4-A068-30D227734349}" dt="2020-07-13T12:38:02.426" v="172" actId="20577"/>
          <ac:spMkLst>
            <pc:docMk/>
            <pc:sldMk cId="4099786269" sldId="8812"/>
            <ac:spMk id="4" creationId="{00000000-0000-0000-0000-000000000000}"/>
          </ac:spMkLst>
        </pc:spChg>
      </pc:sldChg>
    </pc:docChg>
  </pc:docChgLst>
  <pc:docChgLst>
    <pc:chgData name="Chinda, Sowjanya" userId="S::schinda@deloitte.com::fc5c6afc-3b7c-40b3-bf0d-c9a2eae19122" providerId="AD" clId="Web-{E88E1B87-2A50-4908-9205-4D29BC114246}"/>
    <pc:docChg chg="modSld">
      <pc:chgData name="Chinda, Sowjanya" userId="S::schinda@deloitte.com::fc5c6afc-3b7c-40b3-bf0d-c9a2eae19122" providerId="AD" clId="Web-{E88E1B87-2A50-4908-9205-4D29BC114246}" dt="2020-07-14T06:33:49.074" v="10" actId="20577"/>
      <pc:docMkLst>
        <pc:docMk/>
      </pc:docMkLst>
      <pc:sldChg chg="modSp">
        <pc:chgData name="Chinda, Sowjanya" userId="S::schinda@deloitte.com::fc5c6afc-3b7c-40b3-bf0d-c9a2eae19122" providerId="AD" clId="Web-{E88E1B87-2A50-4908-9205-4D29BC114246}" dt="2020-07-14T06:33:49.074" v="10" actId="20577"/>
        <pc:sldMkLst>
          <pc:docMk/>
          <pc:sldMk cId="4099786269" sldId="8812"/>
        </pc:sldMkLst>
        <pc:spChg chg="mod">
          <ac:chgData name="Chinda, Sowjanya" userId="S::schinda@deloitte.com::fc5c6afc-3b7c-40b3-bf0d-c9a2eae19122" providerId="AD" clId="Web-{E88E1B87-2A50-4908-9205-4D29BC114246}" dt="2020-07-14T06:33:49.074" v="10" actId="20577"/>
          <ac:spMkLst>
            <pc:docMk/>
            <pc:sldMk cId="4099786269" sldId="8812"/>
            <ac:spMk id="4" creationId="{00000000-0000-0000-0000-000000000000}"/>
          </ac:spMkLst>
        </pc:spChg>
      </pc:sldChg>
    </pc:docChg>
  </pc:docChgLst>
  <pc:docChgLst>
    <pc:chgData name="Jivrajani, Dharini" userId="S::djivrajani@deloitte.com::9f28c9a6-e07b-4de5-8682-ac3f5c875595" providerId="AD" clId="Web-{4443EE54-E8DE-4D57-B090-DCFCE5B5A5B9}"/>
    <pc:docChg chg="modSld">
      <pc:chgData name="Jivrajani, Dharini" userId="S::djivrajani@deloitte.com::9f28c9a6-e07b-4de5-8682-ac3f5c875595" providerId="AD" clId="Web-{4443EE54-E8DE-4D57-B090-DCFCE5B5A5B9}" dt="2021-03-29T15:15:30.908" v="1" actId="20577"/>
      <pc:docMkLst>
        <pc:docMk/>
      </pc:docMkLst>
      <pc:sldChg chg="modSp">
        <pc:chgData name="Jivrajani, Dharini" userId="S::djivrajani@deloitte.com::9f28c9a6-e07b-4de5-8682-ac3f5c875595" providerId="AD" clId="Web-{4443EE54-E8DE-4D57-B090-DCFCE5B5A5B9}" dt="2021-03-29T15:15:30.908" v="1" actId="20577"/>
        <pc:sldMkLst>
          <pc:docMk/>
          <pc:sldMk cId="3661564267" sldId="257"/>
        </pc:sldMkLst>
        <pc:spChg chg="mod">
          <ac:chgData name="Jivrajani, Dharini" userId="S::djivrajani@deloitte.com::9f28c9a6-e07b-4de5-8682-ac3f5c875595" providerId="AD" clId="Web-{4443EE54-E8DE-4D57-B090-DCFCE5B5A5B9}" dt="2021-03-29T15:15:30.908" v="1" actId="20577"/>
          <ac:spMkLst>
            <pc:docMk/>
            <pc:sldMk cId="3661564267" sldId="257"/>
            <ac:spMk id="4" creationId="{00000000-0000-0000-0000-000000000000}"/>
          </ac:spMkLst>
        </pc:spChg>
      </pc:sldChg>
    </pc:docChg>
  </pc:docChgLst>
  <pc:docChgLst>
    <pc:chgData name="Rudraraju, Vijaya" userId="106f6c26-77b2-4e0c-8472-1c142b7002a0" providerId="ADAL" clId="{9FD7C15A-C4D4-4B1F-A10B-6A98299773D0}"/>
    <pc:docChg chg="undo redo custSel delSld modSld modSection">
      <pc:chgData name="Rudraraju, Vijaya" userId="106f6c26-77b2-4e0c-8472-1c142b7002a0" providerId="ADAL" clId="{9FD7C15A-C4D4-4B1F-A10B-6A98299773D0}" dt="2021-07-13T08:58:05.096" v="79" actId="47"/>
      <pc:docMkLst>
        <pc:docMk/>
      </pc:docMkLst>
      <pc:sldChg chg="modSp mod">
        <pc:chgData name="Rudraraju, Vijaya" userId="106f6c26-77b2-4e0c-8472-1c142b7002a0" providerId="ADAL" clId="{9FD7C15A-C4D4-4B1F-A10B-6A98299773D0}" dt="2021-07-13T07:26:15.246" v="5" actId="20577"/>
        <pc:sldMkLst>
          <pc:docMk/>
          <pc:sldMk cId="1369081146" sldId="8773"/>
        </pc:sldMkLst>
        <pc:graphicFrameChg chg="modGraphic">
          <ac:chgData name="Rudraraju, Vijaya" userId="106f6c26-77b2-4e0c-8472-1c142b7002a0" providerId="ADAL" clId="{9FD7C15A-C4D4-4B1F-A10B-6A98299773D0}" dt="2021-07-13T07:26:15.246" v="5" actId="20577"/>
          <ac:graphicFrameMkLst>
            <pc:docMk/>
            <pc:sldMk cId="1369081146" sldId="8773"/>
            <ac:graphicFrameMk id="4" creationId="{2AAAC88F-F4B4-4FE3-956E-C3F806D71324}"/>
          </ac:graphicFrameMkLst>
        </pc:graphicFrameChg>
      </pc:sldChg>
      <pc:sldChg chg="modSp mod">
        <pc:chgData name="Rudraraju, Vijaya" userId="106f6c26-77b2-4e0c-8472-1c142b7002a0" providerId="ADAL" clId="{9FD7C15A-C4D4-4B1F-A10B-6A98299773D0}" dt="2021-07-13T08:57:13.739" v="76" actId="20577"/>
        <pc:sldMkLst>
          <pc:docMk/>
          <pc:sldMk cId="3148283714" sldId="8987"/>
        </pc:sldMkLst>
        <pc:spChg chg="mod">
          <ac:chgData name="Rudraraju, Vijaya" userId="106f6c26-77b2-4e0c-8472-1c142b7002a0" providerId="ADAL" clId="{9FD7C15A-C4D4-4B1F-A10B-6A98299773D0}" dt="2021-07-13T08:57:13.739" v="76" actId="20577"/>
          <ac:spMkLst>
            <pc:docMk/>
            <pc:sldMk cId="3148283714" sldId="8987"/>
            <ac:spMk id="13" creationId="{00000000-0000-0000-0000-000000000000}"/>
          </ac:spMkLst>
        </pc:spChg>
      </pc:sldChg>
      <pc:sldChg chg="addSp delSp modSp del mod">
        <pc:chgData name="Rudraraju, Vijaya" userId="106f6c26-77b2-4e0c-8472-1c142b7002a0" providerId="ADAL" clId="{9FD7C15A-C4D4-4B1F-A10B-6A98299773D0}" dt="2021-07-13T08:58:05.096" v="79" actId="47"/>
        <pc:sldMkLst>
          <pc:docMk/>
          <pc:sldMk cId="1983421167" sldId="9059"/>
        </pc:sldMkLst>
        <pc:spChg chg="add del">
          <ac:chgData name="Rudraraju, Vijaya" userId="106f6c26-77b2-4e0c-8472-1c142b7002a0" providerId="ADAL" clId="{9FD7C15A-C4D4-4B1F-A10B-6A98299773D0}" dt="2021-07-13T08:57:05.793" v="72" actId="478"/>
          <ac:spMkLst>
            <pc:docMk/>
            <pc:sldMk cId="1983421167" sldId="9059"/>
            <ac:spMk id="5" creationId="{B6F7D438-10C9-4B5B-B1A1-868C5F942DED}"/>
          </ac:spMkLst>
        </pc:spChg>
        <pc:spChg chg="mod">
          <ac:chgData name="Rudraraju, Vijaya" userId="106f6c26-77b2-4e0c-8472-1c142b7002a0" providerId="ADAL" clId="{9FD7C15A-C4D4-4B1F-A10B-6A98299773D0}" dt="2021-07-13T08:57:05.533" v="71" actId="6549"/>
          <ac:spMkLst>
            <pc:docMk/>
            <pc:sldMk cId="1983421167" sldId="9059"/>
            <ac:spMk id="10" creationId="{B0E43679-B78C-4EF2-A4A4-B1815A689742}"/>
          </ac:spMkLst>
        </pc:spChg>
        <pc:spChg chg="add del">
          <ac:chgData name="Rudraraju, Vijaya" userId="106f6c26-77b2-4e0c-8472-1c142b7002a0" providerId="ADAL" clId="{9FD7C15A-C4D4-4B1F-A10B-6A98299773D0}" dt="2021-07-13T08:57:06.053" v="73" actId="478"/>
          <ac:spMkLst>
            <pc:docMk/>
            <pc:sldMk cId="1983421167" sldId="9059"/>
            <ac:spMk id="12" creationId="{8E8943AA-3585-43EE-8E66-F64790A5ECF6}"/>
          </ac:spMkLst>
        </pc:spChg>
        <pc:spChg chg="mod">
          <ac:chgData name="Rudraraju, Vijaya" userId="106f6c26-77b2-4e0c-8472-1c142b7002a0" providerId="ADAL" clId="{9FD7C15A-C4D4-4B1F-A10B-6A98299773D0}" dt="2021-07-13T08:57:05.242" v="70" actId="6549"/>
          <ac:spMkLst>
            <pc:docMk/>
            <pc:sldMk cId="1983421167" sldId="9059"/>
            <ac:spMk id="14" creationId="{66CAAA7E-64AF-4616-864E-E8D77391474F}"/>
          </ac:spMkLst>
        </pc:spChg>
        <pc:picChg chg="add del mod">
          <ac:chgData name="Rudraraju, Vijaya" userId="106f6c26-77b2-4e0c-8472-1c142b7002a0" providerId="ADAL" clId="{9FD7C15A-C4D4-4B1F-A10B-6A98299773D0}" dt="2021-07-13T08:57:21.759" v="78" actId="478"/>
          <ac:picMkLst>
            <pc:docMk/>
            <pc:sldMk cId="1983421167" sldId="9059"/>
            <ac:picMk id="2" creationId="{D935FC68-DACB-4A36-B0E6-DCEC04C590C4}"/>
          </ac:picMkLst>
        </pc:picChg>
      </pc:sldChg>
    </pc:docChg>
  </pc:docChgLst>
  <pc:docChgLst>
    <pc:chgData name="Kandula, Sowmya" userId="S::skandula@deloitte.com::1b9a64a6-a227-4856-95ee-482c206ded6a" providerId="AD" clId="Web-{06B4A06B-DBD1-4E83-AF61-8D564080D947}"/>
    <pc:docChg chg="modSld">
      <pc:chgData name="Kandula, Sowmya" userId="S::skandula@deloitte.com::1b9a64a6-a227-4856-95ee-482c206ded6a" providerId="AD" clId="Web-{06B4A06B-DBD1-4E83-AF61-8D564080D947}" dt="2021-02-22T17:20:51" v="77" actId="20577"/>
      <pc:docMkLst>
        <pc:docMk/>
      </pc:docMkLst>
      <pc:sldChg chg="modSp">
        <pc:chgData name="Kandula, Sowmya" userId="S::skandula@deloitte.com::1b9a64a6-a227-4856-95ee-482c206ded6a" providerId="AD" clId="Web-{06B4A06B-DBD1-4E83-AF61-8D564080D947}" dt="2021-02-22T17:20:51" v="77" actId="20577"/>
        <pc:sldMkLst>
          <pc:docMk/>
          <pc:sldMk cId="1709308679" sldId="8783"/>
        </pc:sldMkLst>
        <pc:spChg chg="mod">
          <ac:chgData name="Kandula, Sowmya" userId="S::skandula@deloitte.com::1b9a64a6-a227-4856-95ee-482c206ded6a" providerId="AD" clId="Web-{06B4A06B-DBD1-4E83-AF61-8D564080D947}" dt="2021-02-22T17:20:51" v="77" actId="20577"/>
          <ac:spMkLst>
            <pc:docMk/>
            <pc:sldMk cId="1709308679" sldId="8783"/>
            <ac:spMk id="3" creationId="{87771578-1EA4-4F1C-88F2-9EF60D8C6089}"/>
          </ac:spMkLst>
        </pc:spChg>
        <pc:spChg chg="mod">
          <ac:chgData name="Kandula, Sowmya" userId="S::skandula@deloitte.com::1b9a64a6-a227-4856-95ee-482c206ded6a" providerId="AD" clId="Web-{06B4A06B-DBD1-4E83-AF61-8D564080D947}" dt="2021-02-22T17:18:35.669" v="11" actId="20577"/>
          <ac:spMkLst>
            <pc:docMk/>
            <pc:sldMk cId="1709308679" sldId="8783"/>
            <ac:spMk id="6" creationId="{9C163676-2CF3-4FA5-9828-5A9969A379CA}"/>
          </ac:spMkLst>
        </pc:spChg>
        <pc:spChg chg="mod">
          <ac:chgData name="Kandula, Sowmya" userId="S::skandula@deloitte.com::1b9a64a6-a227-4856-95ee-482c206ded6a" providerId="AD" clId="Web-{06B4A06B-DBD1-4E83-AF61-8D564080D947}" dt="2021-02-22T17:19:50.155" v="61" actId="20577"/>
          <ac:spMkLst>
            <pc:docMk/>
            <pc:sldMk cId="1709308679" sldId="8783"/>
            <ac:spMk id="13" creationId="{EF8A928F-790F-4408-9D94-F7104E6CE2DC}"/>
          </ac:spMkLst>
        </pc:spChg>
        <pc:spChg chg="mod">
          <ac:chgData name="Kandula, Sowmya" userId="S::skandula@deloitte.com::1b9a64a6-a227-4856-95ee-482c206ded6a" providerId="AD" clId="Web-{06B4A06B-DBD1-4E83-AF61-8D564080D947}" dt="2021-02-22T17:19:01.670" v="34" actId="20577"/>
          <ac:spMkLst>
            <pc:docMk/>
            <pc:sldMk cId="1709308679" sldId="8783"/>
            <ac:spMk id="14" creationId="{E000F57D-05FA-4E5A-8E44-848A42C21BE2}"/>
          </ac:spMkLst>
        </pc:spChg>
        <pc:spChg chg="mod">
          <ac:chgData name="Kandula, Sowmya" userId="S::skandula@deloitte.com::1b9a64a6-a227-4856-95ee-482c206ded6a" providerId="AD" clId="Web-{06B4A06B-DBD1-4E83-AF61-8D564080D947}" dt="2021-02-22T17:19:34.436" v="59" actId="20577"/>
          <ac:spMkLst>
            <pc:docMk/>
            <pc:sldMk cId="1709308679" sldId="8783"/>
            <ac:spMk id="15" creationId="{7904DCF5-C920-467A-A15D-3875ACAF4B62}"/>
          </ac:spMkLst>
        </pc:spChg>
      </pc:sldChg>
    </pc:docChg>
  </pc:docChgLst>
  <pc:docChgLst>
    <pc:chgData name="Prakash, Ankur" userId="S::anprakash@deloitte.com::e5ec4ef6-a8ef-421f-ae1a-afd967453ffe" providerId="AD" clId="Web-{00B3C15D-7F03-4EFE-B8E0-8004B4E42158}"/>
    <pc:docChg chg="modSld">
      <pc:chgData name="Prakash, Ankur" userId="S::anprakash@deloitte.com::e5ec4ef6-a8ef-421f-ae1a-afd967453ffe" providerId="AD" clId="Web-{00B3C15D-7F03-4EFE-B8E0-8004B4E42158}" dt="2020-06-10T07:52:04.835" v="44" actId="20577"/>
      <pc:docMkLst>
        <pc:docMk/>
      </pc:docMkLst>
      <pc:sldChg chg="modSp">
        <pc:chgData name="Prakash, Ankur" userId="S::anprakash@deloitte.com::e5ec4ef6-a8ef-421f-ae1a-afd967453ffe" providerId="AD" clId="Web-{00B3C15D-7F03-4EFE-B8E0-8004B4E42158}" dt="2020-06-10T07:52:04.835" v="44" actId="20577"/>
        <pc:sldMkLst>
          <pc:docMk/>
          <pc:sldMk cId="1709308679" sldId="8783"/>
        </pc:sldMkLst>
        <pc:spChg chg="mod">
          <ac:chgData name="Prakash, Ankur" userId="S::anprakash@deloitte.com::e5ec4ef6-a8ef-421f-ae1a-afd967453ffe" providerId="AD" clId="Web-{00B3C15D-7F03-4EFE-B8E0-8004B4E42158}" dt="2020-06-10T07:51:28.724" v="18" actId="20577"/>
          <ac:spMkLst>
            <pc:docMk/>
            <pc:sldMk cId="1709308679" sldId="8783"/>
            <ac:spMk id="6" creationId="{9C163676-2CF3-4FA5-9828-5A9969A379CA}"/>
          </ac:spMkLst>
        </pc:spChg>
        <pc:spChg chg="mod">
          <ac:chgData name="Prakash, Ankur" userId="S::anprakash@deloitte.com::e5ec4ef6-a8ef-421f-ae1a-afd967453ffe" providerId="AD" clId="Web-{00B3C15D-7F03-4EFE-B8E0-8004B4E42158}" dt="2020-06-10T07:52:04.835" v="44" actId="20577"/>
          <ac:spMkLst>
            <pc:docMk/>
            <pc:sldMk cId="1709308679" sldId="8783"/>
            <ac:spMk id="14" creationId="{E000F57D-05FA-4E5A-8E44-848A42C21BE2}"/>
          </ac:spMkLst>
        </pc:spChg>
      </pc:sldChg>
    </pc:docChg>
  </pc:docChgLst>
  <pc:docChgLst>
    <pc:chgData name="Jivrajani, Dharini" userId="S::djivrajani@deloitte.com::9f28c9a6-e07b-4de5-8682-ac3f5c875595" providerId="AD" clId="Web-{CEDF9327-626A-40CF-B606-AAB504B17843}"/>
    <pc:docChg chg="modSld">
      <pc:chgData name="Jivrajani, Dharini" userId="S::djivrajani@deloitte.com::9f28c9a6-e07b-4de5-8682-ac3f5c875595" providerId="AD" clId="Web-{CEDF9327-626A-40CF-B606-AAB504B17843}" dt="2020-06-12T02:19:31.207" v="21"/>
      <pc:docMkLst>
        <pc:docMk/>
      </pc:docMkLst>
      <pc:sldChg chg="modSp addCm">
        <pc:chgData name="Jivrajani, Dharini" userId="S::djivrajani@deloitte.com::9f28c9a6-e07b-4de5-8682-ac3f5c875595" providerId="AD" clId="Web-{CEDF9327-626A-40CF-B606-AAB504B17843}" dt="2020-06-12T02:18:55.236" v="18"/>
        <pc:sldMkLst>
          <pc:docMk/>
          <pc:sldMk cId="3608320234" sldId="266"/>
        </pc:sldMkLst>
        <pc:spChg chg="mod">
          <ac:chgData name="Jivrajani, Dharini" userId="S::djivrajani@deloitte.com::9f28c9a6-e07b-4de5-8682-ac3f5c875595" providerId="AD" clId="Web-{CEDF9327-626A-40CF-B606-AAB504B17843}" dt="2020-06-12T02:18:24.407" v="17" actId="20577"/>
          <ac:spMkLst>
            <pc:docMk/>
            <pc:sldMk cId="3608320234" sldId="266"/>
            <ac:spMk id="8" creationId="{01129FF2-9327-4476-815B-658384BD2EA8}"/>
          </ac:spMkLst>
        </pc:spChg>
      </pc:sldChg>
      <pc:sldChg chg="modSp">
        <pc:chgData name="Jivrajani, Dharini" userId="S::djivrajani@deloitte.com::9f28c9a6-e07b-4de5-8682-ac3f5c875595" providerId="AD" clId="Web-{CEDF9327-626A-40CF-B606-AAB504B17843}" dt="2020-06-12T02:19:31.207" v="21"/>
        <pc:sldMkLst>
          <pc:docMk/>
          <pc:sldMk cId="3377722835" sldId="8772"/>
        </pc:sldMkLst>
        <pc:graphicFrameChg chg="mod modGraphic">
          <ac:chgData name="Jivrajani, Dharini" userId="S::djivrajani@deloitte.com::9f28c9a6-e07b-4de5-8682-ac3f5c875595" providerId="AD" clId="Web-{CEDF9327-626A-40CF-B606-AAB504B17843}" dt="2020-06-12T02:19:31.207" v="21"/>
          <ac:graphicFrameMkLst>
            <pc:docMk/>
            <pc:sldMk cId="3377722835" sldId="8772"/>
            <ac:graphicFrameMk id="2" creationId="{7D8F2493-A0C4-4740-A16F-E066BC79CDD8}"/>
          </ac:graphicFrameMkLst>
        </pc:graphicFrameChg>
      </pc:sldChg>
    </pc:docChg>
  </pc:docChgLst>
  <pc:docChgLst>
    <pc:chgData name="Jivrajani, Dharini" userId="S::djivrajani@deloitte.com::9f28c9a6-e07b-4de5-8682-ac3f5c875595" providerId="AD" clId="Web-{A7BE767E-720C-FDC7-3A07-FDB862416E8D}"/>
    <pc:docChg chg="modSld">
      <pc:chgData name="Jivrajani, Dharini" userId="S::djivrajani@deloitte.com::9f28c9a6-e07b-4de5-8682-ac3f5c875595" providerId="AD" clId="Web-{A7BE767E-720C-FDC7-3A07-FDB862416E8D}" dt="2020-06-18T14:12:45.334" v="0" actId="1076"/>
      <pc:docMkLst>
        <pc:docMk/>
      </pc:docMkLst>
      <pc:sldChg chg="modSp">
        <pc:chgData name="Jivrajani, Dharini" userId="S::djivrajani@deloitte.com::9f28c9a6-e07b-4de5-8682-ac3f5c875595" providerId="AD" clId="Web-{A7BE767E-720C-FDC7-3A07-FDB862416E8D}" dt="2020-06-18T14:12:45.334" v="0" actId="1076"/>
        <pc:sldMkLst>
          <pc:docMk/>
          <pc:sldMk cId="3377722835" sldId="8772"/>
        </pc:sldMkLst>
        <pc:graphicFrameChg chg="mod">
          <ac:chgData name="Jivrajani, Dharini" userId="S::djivrajani@deloitte.com::9f28c9a6-e07b-4de5-8682-ac3f5c875595" providerId="AD" clId="Web-{A7BE767E-720C-FDC7-3A07-FDB862416E8D}" dt="2020-06-18T14:12:45.334" v="0" actId="1076"/>
          <ac:graphicFrameMkLst>
            <pc:docMk/>
            <pc:sldMk cId="3377722835" sldId="8772"/>
            <ac:graphicFrameMk id="2" creationId="{7D8F2493-A0C4-4740-A16F-E066BC79CDD8}"/>
          </ac:graphicFrameMkLst>
        </pc:graphicFrameChg>
      </pc:sldChg>
    </pc:docChg>
  </pc:docChgLst>
  <pc:docChgLst>
    <pc:chgData name="Ghosh, Anindya" userId="S::anighosh@deloitte.com::1c8636f3-f28e-411c-9bbf-d78a395a60f5" providerId="AD" clId="Web-{61ED94FE-8E53-4B56-86B8-AAB5F218E563}"/>
    <pc:docChg chg="modSld">
      <pc:chgData name="Ghosh, Anindya" userId="S::anighosh@deloitte.com::1c8636f3-f28e-411c-9bbf-d78a395a60f5" providerId="AD" clId="Web-{61ED94FE-8E53-4B56-86B8-AAB5F218E563}" dt="2020-11-22T02:48:58.359" v="56"/>
      <pc:docMkLst>
        <pc:docMk/>
      </pc:docMkLst>
      <pc:sldChg chg="delSp modSp">
        <pc:chgData name="Ghosh, Anindya" userId="S::anighosh@deloitte.com::1c8636f3-f28e-411c-9bbf-d78a395a60f5" providerId="AD" clId="Web-{61ED94FE-8E53-4B56-86B8-AAB5F218E563}" dt="2020-11-22T02:48:58.359" v="56"/>
        <pc:sldMkLst>
          <pc:docMk/>
          <pc:sldMk cId="4169581344" sldId="8798"/>
        </pc:sldMkLst>
        <pc:spChg chg="mod">
          <ac:chgData name="Ghosh, Anindya" userId="S::anighosh@deloitte.com::1c8636f3-f28e-411c-9bbf-d78a395a60f5" providerId="AD" clId="Web-{61ED94FE-8E53-4B56-86B8-AAB5F218E563}" dt="2020-11-22T02:48:53.078" v="51" actId="20577"/>
          <ac:spMkLst>
            <pc:docMk/>
            <pc:sldMk cId="4169581344" sldId="8798"/>
            <ac:spMk id="3" creationId="{BCEB1B60-2A70-48F8-B225-997AF7F15017}"/>
          </ac:spMkLst>
        </pc:spChg>
        <pc:spChg chg="del mod">
          <ac:chgData name="Ghosh, Anindya" userId="S::anighosh@deloitte.com::1c8636f3-f28e-411c-9bbf-d78a395a60f5" providerId="AD" clId="Web-{61ED94FE-8E53-4B56-86B8-AAB5F218E563}" dt="2020-11-22T02:48:58.359" v="56"/>
          <ac:spMkLst>
            <pc:docMk/>
            <pc:sldMk cId="4169581344" sldId="8798"/>
            <ac:spMk id="5" creationId="{F0E8E7DB-D899-44C1-8C0E-F57610F3DF87}"/>
          </ac:spMkLst>
        </pc:spChg>
        <pc:spChg chg="mod">
          <ac:chgData name="Ghosh, Anindya" userId="S::anighosh@deloitte.com::1c8636f3-f28e-411c-9bbf-d78a395a60f5" providerId="AD" clId="Web-{61ED94FE-8E53-4B56-86B8-AAB5F218E563}" dt="2020-11-22T02:47:15.358" v="0" actId="1076"/>
          <ac:spMkLst>
            <pc:docMk/>
            <pc:sldMk cId="4169581344" sldId="8798"/>
            <ac:spMk id="6" creationId="{CF03D461-03F3-4208-8816-01F8B124B339}"/>
          </ac:spMkLst>
        </pc:spChg>
      </pc:sldChg>
    </pc:docChg>
  </pc:docChgLst>
  <pc:docChgLst>
    <pc:chgData name="Adusumilli, Jyothi" userId="S::jadusumilli@deloitte.com::8c4b02f9-8cf8-44b0-8a08-470ec7725883" providerId="AD" clId="Web-{A4C14502-AC28-4E9E-A0C3-6DE528300B4D}"/>
    <pc:docChg chg="modSld">
      <pc:chgData name="Adusumilli, Jyothi" userId="S::jadusumilli@deloitte.com::8c4b02f9-8cf8-44b0-8a08-470ec7725883" providerId="AD" clId="Web-{A4C14502-AC28-4E9E-A0C3-6DE528300B4D}" dt="2020-06-17T05:54:03.847" v="148" actId="20577"/>
      <pc:docMkLst>
        <pc:docMk/>
      </pc:docMkLst>
      <pc:sldChg chg="modSp">
        <pc:chgData name="Adusumilli, Jyothi" userId="S::jadusumilli@deloitte.com::8c4b02f9-8cf8-44b0-8a08-470ec7725883" providerId="AD" clId="Web-{A4C14502-AC28-4E9E-A0C3-6DE528300B4D}" dt="2020-06-17T05:54:03.847" v="148" actId="20577"/>
        <pc:sldMkLst>
          <pc:docMk/>
          <pc:sldMk cId="2940807522" sldId="8784"/>
        </pc:sldMkLst>
        <pc:spChg chg="mod">
          <ac:chgData name="Adusumilli, Jyothi" userId="S::jadusumilli@deloitte.com::8c4b02f9-8cf8-44b0-8a08-470ec7725883" providerId="AD" clId="Web-{A4C14502-AC28-4E9E-A0C3-6DE528300B4D}" dt="2020-06-17T05:54:03.847" v="148" actId="20577"/>
          <ac:spMkLst>
            <pc:docMk/>
            <pc:sldMk cId="2940807522" sldId="8784"/>
            <ac:spMk id="8" creationId="{3AD73DD1-CA9D-43A7-AE40-783F13202818}"/>
          </ac:spMkLst>
        </pc:spChg>
        <pc:spChg chg="mod">
          <ac:chgData name="Adusumilli, Jyothi" userId="S::jadusumilli@deloitte.com::8c4b02f9-8cf8-44b0-8a08-470ec7725883" providerId="AD" clId="Web-{A4C14502-AC28-4E9E-A0C3-6DE528300B4D}" dt="2020-06-17T05:53:12.878" v="119" actId="20577"/>
          <ac:spMkLst>
            <pc:docMk/>
            <pc:sldMk cId="2940807522" sldId="8784"/>
            <ac:spMk id="10" creationId="{63C4D4D1-A06E-4F86-8E1F-FBE3DBFA51E8}"/>
          </ac:spMkLst>
        </pc:spChg>
      </pc:sldChg>
    </pc:docChg>
  </pc:docChgLst>
  <pc:docChgLst>
    <pc:chgData name="Jivrajani, Dharini" userId="S::djivrajani@deloitte.com::9f28c9a6-e07b-4de5-8682-ac3f5c875595" providerId="AD" clId="Web-{72B8203F-CF87-4FB4-B264-E9EF98C30780}"/>
    <pc:docChg chg="modSld">
      <pc:chgData name="Jivrajani, Dharini" userId="S::djivrajani@deloitte.com::9f28c9a6-e07b-4de5-8682-ac3f5c875595" providerId="AD" clId="Web-{72B8203F-CF87-4FB4-B264-E9EF98C30780}" dt="2020-06-24T14:22:28.723" v="171"/>
      <pc:docMkLst>
        <pc:docMk/>
      </pc:docMkLst>
      <pc:sldChg chg="modSp">
        <pc:chgData name="Jivrajani, Dharini" userId="S::djivrajani@deloitte.com::9f28c9a6-e07b-4de5-8682-ac3f5c875595" providerId="AD" clId="Web-{72B8203F-CF87-4FB4-B264-E9EF98C30780}" dt="2020-06-24T14:20:39.503" v="53"/>
        <pc:sldMkLst>
          <pc:docMk/>
          <pc:sldMk cId="1039189330" sldId="8774"/>
        </pc:sldMkLst>
        <pc:graphicFrameChg chg="mod modGraphic">
          <ac:chgData name="Jivrajani, Dharini" userId="S::djivrajani@deloitte.com::9f28c9a6-e07b-4de5-8682-ac3f5c875595" providerId="AD" clId="Web-{72B8203F-CF87-4FB4-B264-E9EF98C30780}" dt="2020-06-24T14:20:39.503" v="53"/>
          <ac:graphicFrameMkLst>
            <pc:docMk/>
            <pc:sldMk cId="1039189330" sldId="8774"/>
            <ac:graphicFrameMk id="4" creationId="{2AAAC88F-F4B4-4FE3-956E-C3F806D71324}"/>
          </ac:graphicFrameMkLst>
        </pc:graphicFrameChg>
      </pc:sldChg>
      <pc:sldChg chg="modSp">
        <pc:chgData name="Jivrajani, Dharini" userId="S::djivrajani@deloitte.com::9f28c9a6-e07b-4de5-8682-ac3f5c875595" providerId="AD" clId="Web-{72B8203F-CF87-4FB4-B264-E9EF98C30780}" dt="2020-06-24T14:22:28.723" v="171"/>
        <pc:sldMkLst>
          <pc:docMk/>
          <pc:sldMk cId="2407685793" sldId="8775"/>
        </pc:sldMkLst>
        <pc:graphicFrameChg chg="mod modGraphic">
          <ac:chgData name="Jivrajani, Dharini" userId="S::djivrajani@deloitte.com::9f28c9a6-e07b-4de5-8682-ac3f5c875595" providerId="AD" clId="Web-{72B8203F-CF87-4FB4-B264-E9EF98C30780}" dt="2020-06-24T14:22:28.723" v="171"/>
          <ac:graphicFrameMkLst>
            <pc:docMk/>
            <pc:sldMk cId="2407685793" sldId="8775"/>
            <ac:graphicFrameMk id="4" creationId="{2AAAC88F-F4B4-4FE3-956E-C3F806D71324}"/>
          </ac:graphicFrameMkLst>
        </pc:graphicFrameChg>
      </pc:sldChg>
    </pc:docChg>
  </pc:docChgLst>
  <pc:docChgLst>
    <pc:chgData name="Jackman, Lauren" userId="ef96ab20-fb12-476c-a3e0-14bd051fc290" providerId="ADAL" clId="{78ECF93C-4CC2-4C69-B034-73BBE3ADB890}"/>
    <pc:docChg chg="undo custSel addSld delSld modSld sldOrd delSection modSection">
      <pc:chgData name="Jackman, Lauren" userId="ef96ab20-fb12-476c-a3e0-14bd051fc290" providerId="ADAL" clId="{78ECF93C-4CC2-4C69-B034-73BBE3ADB890}" dt="2021-07-13T13:13:16.560" v="2861" actId="2165"/>
      <pc:docMkLst>
        <pc:docMk/>
      </pc:docMkLst>
      <pc:sldChg chg="modSp mod addCm modCm">
        <pc:chgData name="Jackman, Lauren" userId="ef96ab20-fb12-476c-a3e0-14bd051fc290" providerId="ADAL" clId="{78ECF93C-4CC2-4C69-B034-73BBE3ADB890}" dt="2021-06-28T12:34:45.658" v="19"/>
        <pc:sldMkLst>
          <pc:docMk/>
          <pc:sldMk cId="3661564267" sldId="257"/>
        </pc:sldMkLst>
        <pc:spChg chg="mod">
          <ac:chgData name="Jackman, Lauren" userId="ef96ab20-fb12-476c-a3e0-14bd051fc290" providerId="ADAL" clId="{78ECF93C-4CC2-4C69-B034-73BBE3ADB890}" dt="2021-06-28T12:34:12.857" v="17" actId="20577"/>
          <ac:spMkLst>
            <pc:docMk/>
            <pc:sldMk cId="3661564267" sldId="257"/>
            <ac:spMk id="4" creationId="{00000000-0000-0000-0000-000000000000}"/>
          </ac:spMkLst>
        </pc:spChg>
      </pc:sldChg>
      <pc:sldChg chg="del">
        <pc:chgData name="Jackman, Lauren" userId="ef96ab20-fb12-476c-a3e0-14bd051fc290" providerId="ADAL" clId="{78ECF93C-4CC2-4C69-B034-73BBE3ADB890}" dt="2021-06-28T12:45:56.389" v="36" actId="47"/>
        <pc:sldMkLst>
          <pc:docMk/>
          <pc:sldMk cId="3612224109" sldId="259"/>
        </pc:sldMkLst>
      </pc:sldChg>
      <pc:sldChg chg="del">
        <pc:chgData name="Jackman, Lauren" userId="ef96ab20-fb12-476c-a3e0-14bd051fc290" providerId="ADAL" clId="{78ECF93C-4CC2-4C69-B034-73BBE3ADB890}" dt="2021-06-28T12:45:56.389" v="36" actId="47"/>
        <pc:sldMkLst>
          <pc:docMk/>
          <pc:sldMk cId="4245201569" sldId="260"/>
        </pc:sldMkLst>
      </pc:sldChg>
      <pc:sldChg chg="del">
        <pc:chgData name="Jackman, Lauren" userId="ef96ab20-fb12-476c-a3e0-14bd051fc290" providerId="ADAL" clId="{78ECF93C-4CC2-4C69-B034-73BBE3ADB890}" dt="2021-06-28T12:45:56.389" v="36" actId="47"/>
        <pc:sldMkLst>
          <pc:docMk/>
          <pc:sldMk cId="712478242" sldId="261"/>
        </pc:sldMkLst>
      </pc:sldChg>
      <pc:sldChg chg="del">
        <pc:chgData name="Jackman, Lauren" userId="ef96ab20-fb12-476c-a3e0-14bd051fc290" providerId="ADAL" clId="{78ECF93C-4CC2-4C69-B034-73BBE3ADB890}" dt="2021-06-28T12:45:56.389" v="36" actId="47"/>
        <pc:sldMkLst>
          <pc:docMk/>
          <pc:sldMk cId="1284604554" sldId="262"/>
        </pc:sldMkLst>
      </pc:sldChg>
      <pc:sldChg chg="del">
        <pc:chgData name="Jackman, Lauren" userId="ef96ab20-fb12-476c-a3e0-14bd051fc290" providerId="ADAL" clId="{78ECF93C-4CC2-4C69-B034-73BBE3ADB890}" dt="2021-06-28T12:45:56.389" v="36" actId="47"/>
        <pc:sldMkLst>
          <pc:docMk/>
          <pc:sldMk cId="2744346080" sldId="263"/>
        </pc:sldMkLst>
      </pc:sldChg>
      <pc:sldChg chg="del">
        <pc:chgData name="Jackman, Lauren" userId="ef96ab20-fb12-476c-a3e0-14bd051fc290" providerId="ADAL" clId="{78ECF93C-4CC2-4C69-B034-73BBE3ADB890}" dt="2021-06-28T12:45:56.389" v="36" actId="47"/>
        <pc:sldMkLst>
          <pc:docMk/>
          <pc:sldMk cId="694831116" sldId="264"/>
        </pc:sldMkLst>
      </pc:sldChg>
      <pc:sldChg chg="del">
        <pc:chgData name="Jackman, Lauren" userId="ef96ab20-fb12-476c-a3e0-14bd051fc290" providerId="ADAL" clId="{78ECF93C-4CC2-4C69-B034-73BBE3ADB890}" dt="2021-06-28T12:45:56.389" v="36" actId="47"/>
        <pc:sldMkLst>
          <pc:docMk/>
          <pc:sldMk cId="2710355878" sldId="265"/>
        </pc:sldMkLst>
      </pc:sldChg>
      <pc:sldChg chg="del">
        <pc:chgData name="Jackman, Lauren" userId="ef96ab20-fb12-476c-a3e0-14bd051fc290" providerId="ADAL" clId="{78ECF93C-4CC2-4C69-B034-73BBE3ADB890}" dt="2021-06-28T12:45:56.389" v="36" actId="47"/>
        <pc:sldMkLst>
          <pc:docMk/>
          <pc:sldMk cId="971593373" sldId="266"/>
        </pc:sldMkLst>
      </pc:sldChg>
      <pc:sldChg chg="addSp delSp modSp del mod addCm modCm">
        <pc:chgData name="Jackman, Lauren" userId="ef96ab20-fb12-476c-a3e0-14bd051fc290" providerId="ADAL" clId="{78ECF93C-4CC2-4C69-B034-73BBE3ADB890}" dt="2021-07-12T19:57:47.258" v="2121" actId="2696"/>
        <pc:sldMkLst>
          <pc:docMk/>
          <pc:sldMk cId="1078693895" sldId="268"/>
        </pc:sldMkLst>
        <pc:spChg chg="mod">
          <ac:chgData name="Jackman, Lauren" userId="ef96ab20-fb12-476c-a3e0-14bd051fc290" providerId="ADAL" clId="{78ECF93C-4CC2-4C69-B034-73BBE3ADB890}" dt="2021-06-28T12:56:16.031" v="117" actId="6549"/>
          <ac:spMkLst>
            <pc:docMk/>
            <pc:sldMk cId="1078693895" sldId="268"/>
            <ac:spMk id="8" creationId="{9C3F0425-3E6B-4AE1-A79F-5F24555AF6D0}"/>
          </ac:spMkLst>
        </pc:spChg>
        <pc:spChg chg="mod">
          <ac:chgData name="Jackman, Lauren" userId="ef96ab20-fb12-476c-a3e0-14bd051fc290" providerId="ADAL" clId="{78ECF93C-4CC2-4C69-B034-73BBE3ADB890}" dt="2021-06-28T12:52:49.719" v="98" actId="20577"/>
          <ac:spMkLst>
            <pc:docMk/>
            <pc:sldMk cId="1078693895" sldId="268"/>
            <ac:spMk id="14" creationId="{5D719E63-E741-4437-8121-ABA5F5E6CA33}"/>
          </ac:spMkLst>
        </pc:spChg>
        <pc:spChg chg="mod">
          <ac:chgData name="Jackman, Lauren" userId="ef96ab20-fb12-476c-a3e0-14bd051fc290" providerId="ADAL" clId="{78ECF93C-4CC2-4C69-B034-73BBE3ADB890}" dt="2021-06-28T12:55:15.197" v="112" actId="14100"/>
          <ac:spMkLst>
            <pc:docMk/>
            <pc:sldMk cId="1078693895" sldId="268"/>
            <ac:spMk id="17" creationId="{DC7EC01E-5784-4F90-8E40-A3F631182295}"/>
          </ac:spMkLst>
        </pc:spChg>
        <pc:spChg chg="add del mod">
          <ac:chgData name="Jackman, Lauren" userId="ef96ab20-fb12-476c-a3e0-14bd051fc290" providerId="ADAL" clId="{78ECF93C-4CC2-4C69-B034-73BBE3ADB890}" dt="2021-06-28T12:55:20.925" v="113" actId="14100"/>
          <ac:spMkLst>
            <pc:docMk/>
            <pc:sldMk cId="1078693895" sldId="268"/>
            <ac:spMk id="20" creationId="{97F95232-FAF7-4FBD-A394-067DD3DBBE84}"/>
          </ac:spMkLst>
        </pc:spChg>
        <pc:spChg chg="mod">
          <ac:chgData name="Jackman, Lauren" userId="ef96ab20-fb12-476c-a3e0-14bd051fc290" providerId="ADAL" clId="{78ECF93C-4CC2-4C69-B034-73BBE3ADB890}" dt="2021-06-28T12:52:02.561" v="85" actId="20577"/>
          <ac:spMkLst>
            <pc:docMk/>
            <pc:sldMk cId="1078693895" sldId="268"/>
            <ac:spMk id="21" creationId="{F18A993C-B7C9-4F11-A56F-781ECF936695}"/>
          </ac:spMkLst>
        </pc:spChg>
        <pc:spChg chg="mod">
          <ac:chgData name="Jackman, Lauren" userId="ef96ab20-fb12-476c-a3e0-14bd051fc290" providerId="ADAL" clId="{78ECF93C-4CC2-4C69-B034-73BBE3ADB890}" dt="2021-06-28T12:55:24.352" v="114" actId="14100"/>
          <ac:spMkLst>
            <pc:docMk/>
            <pc:sldMk cId="1078693895" sldId="268"/>
            <ac:spMk id="22" creationId="{E4EEB0BB-CEA4-435D-930A-B95795FCC5A9}"/>
          </ac:spMkLst>
        </pc:spChg>
      </pc:sldChg>
      <pc:sldChg chg="del">
        <pc:chgData name="Jackman, Lauren" userId="ef96ab20-fb12-476c-a3e0-14bd051fc290" providerId="ADAL" clId="{78ECF93C-4CC2-4C69-B034-73BBE3ADB890}" dt="2021-06-28T12:45:56.389" v="36" actId="47"/>
        <pc:sldMkLst>
          <pc:docMk/>
          <pc:sldMk cId="3045282304" sldId="341"/>
        </pc:sldMkLst>
      </pc:sldChg>
      <pc:sldChg chg="del">
        <pc:chgData name="Jackman, Lauren" userId="ef96ab20-fb12-476c-a3e0-14bd051fc290" providerId="ADAL" clId="{78ECF93C-4CC2-4C69-B034-73BBE3ADB890}" dt="2021-06-28T12:45:56.389" v="36" actId="47"/>
        <pc:sldMkLst>
          <pc:docMk/>
          <pc:sldMk cId="550082952" sldId="342"/>
        </pc:sldMkLst>
      </pc:sldChg>
      <pc:sldChg chg="del">
        <pc:chgData name="Jackman, Lauren" userId="ef96ab20-fb12-476c-a3e0-14bd051fc290" providerId="ADAL" clId="{78ECF93C-4CC2-4C69-B034-73BBE3ADB890}" dt="2021-06-28T12:45:56.389" v="36" actId="47"/>
        <pc:sldMkLst>
          <pc:docMk/>
          <pc:sldMk cId="181748203" sldId="344"/>
        </pc:sldMkLst>
      </pc:sldChg>
      <pc:sldChg chg="del">
        <pc:chgData name="Jackman, Lauren" userId="ef96ab20-fb12-476c-a3e0-14bd051fc290" providerId="ADAL" clId="{78ECF93C-4CC2-4C69-B034-73BBE3ADB890}" dt="2021-06-28T12:45:56.389" v="36" actId="47"/>
        <pc:sldMkLst>
          <pc:docMk/>
          <pc:sldMk cId="62935408" sldId="345"/>
        </pc:sldMkLst>
      </pc:sldChg>
      <pc:sldChg chg="del">
        <pc:chgData name="Jackman, Lauren" userId="ef96ab20-fb12-476c-a3e0-14bd051fc290" providerId="ADAL" clId="{78ECF93C-4CC2-4C69-B034-73BBE3ADB890}" dt="2021-06-28T12:45:56.389" v="36" actId="47"/>
        <pc:sldMkLst>
          <pc:docMk/>
          <pc:sldMk cId="4218331651" sldId="346"/>
        </pc:sldMkLst>
      </pc:sldChg>
      <pc:sldChg chg="del">
        <pc:chgData name="Jackman, Lauren" userId="ef96ab20-fb12-476c-a3e0-14bd051fc290" providerId="ADAL" clId="{78ECF93C-4CC2-4C69-B034-73BBE3ADB890}" dt="2021-06-28T12:45:56.389" v="36" actId="47"/>
        <pc:sldMkLst>
          <pc:docMk/>
          <pc:sldMk cId="3872283610" sldId="349"/>
        </pc:sldMkLst>
      </pc:sldChg>
      <pc:sldChg chg="del">
        <pc:chgData name="Jackman, Lauren" userId="ef96ab20-fb12-476c-a3e0-14bd051fc290" providerId="ADAL" clId="{78ECF93C-4CC2-4C69-B034-73BBE3ADB890}" dt="2021-06-28T12:45:56.389" v="36" actId="47"/>
        <pc:sldMkLst>
          <pc:docMk/>
          <pc:sldMk cId="3061799694" sldId="351"/>
        </pc:sldMkLst>
      </pc:sldChg>
      <pc:sldChg chg="del">
        <pc:chgData name="Jackman, Lauren" userId="ef96ab20-fb12-476c-a3e0-14bd051fc290" providerId="ADAL" clId="{78ECF93C-4CC2-4C69-B034-73BBE3ADB890}" dt="2021-06-28T12:45:56.389" v="36" actId="47"/>
        <pc:sldMkLst>
          <pc:docMk/>
          <pc:sldMk cId="3209181381" sldId="352"/>
        </pc:sldMkLst>
      </pc:sldChg>
      <pc:sldChg chg="del">
        <pc:chgData name="Jackman, Lauren" userId="ef96ab20-fb12-476c-a3e0-14bd051fc290" providerId="ADAL" clId="{78ECF93C-4CC2-4C69-B034-73BBE3ADB890}" dt="2021-06-28T12:45:56.389" v="36" actId="47"/>
        <pc:sldMkLst>
          <pc:docMk/>
          <pc:sldMk cId="3392929693" sldId="353"/>
        </pc:sldMkLst>
      </pc:sldChg>
      <pc:sldChg chg="del">
        <pc:chgData name="Jackman, Lauren" userId="ef96ab20-fb12-476c-a3e0-14bd051fc290" providerId="ADAL" clId="{78ECF93C-4CC2-4C69-B034-73BBE3ADB890}" dt="2021-06-28T12:45:56.389" v="36" actId="47"/>
        <pc:sldMkLst>
          <pc:docMk/>
          <pc:sldMk cId="4269618821" sldId="354"/>
        </pc:sldMkLst>
      </pc:sldChg>
      <pc:sldChg chg="del">
        <pc:chgData name="Jackman, Lauren" userId="ef96ab20-fb12-476c-a3e0-14bd051fc290" providerId="ADAL" clId="{78ECF93C-4CC2-4C69-B034-73BBE3ADB890}" dt="2021-06-28T12:45:56.389" v="36" actId="47"/>
        <pc:sldMkLst>
          <pc:docMk/>
          <pc:sldMk cId="4260294199" sldId="355"/>
        </pc:sldMkLst>
      </pc:sldChg>
      <pc:sldChg chg="del">
        <pc:chgData name="Jackman, Lauren" userId="ef96ab20-fb12-476c-a3e0-14bd051fc290" providerId="ADAL" clId="{78ECF93C-4CC2-4C69-B034-73BBE3ADB890}" dt="2021-06-28T12:45:56.389" v="36" actId="47"/>
        <pc:sldMkLst>
          <pc:docMk/>
          <pc:sldMk cId="4091698492" sldId="356"/>
        </pc:sldMkLst>
      </pc:sldChg>
      <pc:sldChg chg="del">
        <pc:chgData name="Jackman, Lauren" userId="ef96ab20-fb12-476c-a3e0-14bd051fc290" providerId="ADAL" clId="{78ECF93C-4CC2-4C69-B034-73BBE3ADB890}" dt="2021-06-28T12:45:56.389" v="36" actId="47"/>
        <pc:sldMkLst>
          <pc:docMk/>
          <pc:sldMk cId="3207541963" sldId="357"/>
        </pc:sldMkLst>
      </pc:sldChg>
      <pc:sldChg chg="del">
        <pc:chgData name="Jackman, Lauren" userId="ef96ab20-fb12-476c-a3e0-14bd051fc290" providerId="ADAL" clId="{78ECF93C-4CC2-4C69-B034-73BBE3ADB890}" dt="2021-06-28T12:45:56.389" v="36" actId="47"/>
        <pc:sldMkLst>
          <pc:docMk/>
          <pc:sldMk cId="247627757" sldId="358"/>
        </pc:sldMkLst>
      </pc:sldChg>
      <pc:sldChg chg="del">
        <pc:chgData name="Jackman, Lauren" userId="ef96ab20-fb12-476c-a3e0-14bd051fc290" providerId="ADAL" clId="{78ECF93C-4CC2-4C69-B034-73BBE3ADB890}" dt="2021-06-28T12:45:56.389" v="36" actId="47"/>
        <pc:sldMkLst>
          <pc:docMk/>
          <pc:sldMk cId="2008684765" sldId="359"/>
        </pc:sldMkLst>
      </pc:sldChg>
      <pc:sldChg chg="del">
        <pc:chgData name="Jackman, Lauren" userId="ef96ab20-fb12-476c-a3e0-14bd051fc290" providerId="ADAL" clId="{78ECF93C-4CC2-4C69-B034-73BBE3ADB890}" dt="2021-06-28T12:45:56.389" v="36" actId="47"/>
        <pc:sldMkLst>
          <pc:docMk/>
          <pc:sldMk cId="2249100331" sldId="360"/>
        </pc:sldMkLst>
      </pc:sldChg>
      <pc:sldChg chg="del">
        <pc:chgData name="Jackman, Lauren" userId="ef96ab20-fb12-476c-a3e0-14bd051fc290" providerId="ADAL" clId="{78ECF93C-4CC2-4C69-B034-73BBE3ADB890}" dt="2021-06-28T12:45:56.389" v="36" actId="47"/>
        <pc:sldMkLst>
          <pc:docMk/>
          <pc:sldMk cId="1139146320" sldId="361"/>
        </pc:sldMkLst>
      </pc:sldChg>
      <pc:sldChg chg="del">
        <pc:chgData name="Jackman, Lauren" userId="ef96ab20-fb12-476c-a3e0-14bd051fc290" providerId="ADAL" clId="{78ECF93C-4CC2-4C69-B034-73BBE3ADB890}" dt="2021-06-28T12:45:56.389" v="36" actId="47"/>
        <pc:sldMkLst>
          <pc:docMk/>
          <pc:sldMk cId="2994773505" sldId="362"/>
        </pc:sldMkLst>
      </pc:sldChg>
      <pc:sldChg chg="del">
        <pc:chgData name="Jackman, Lauren" userId="ef96ab20-fb12-476c-a3e0-14bd051fc290" providerId="ADAL" clId="{78ECF93C-4CC2-4C69-B034-73BBE3ADB890}" dt="2021-06-28T12:45:56.389" v="36" actId="47"/>
        <pc:sldMkLst>
          <pc:docMk/>
          <pc:sldMk cId="4292634053" sldId="363"/>
        </pc:sldMkLst>
      </pc:sldChg>
      <pc:sldChg chg="del">
        <pc:chgData name="Jackman, Lauren" userId="ef96ab20-fb12-476c-a3e0-14bd051fc290" providerId="ADAL" clId="{78ECF93C-4CC2-4C69-B034-73BBE3ADB890}" dt="2021-06-28T12:45:56.389" v="36" actId="47"/>
        <pc:sldMkLst>
          <pc:docMk/>
          <pc:sldMk cId="2326389061" sldId="364"/>
        </pc:sldMkLst>
      </pc:sldChg>
      <pc:sldChg chg="del">
        <pc:chgData name="Jackman, Lauren" userId="ef96ab20-fb12-476c-a3e0-14bd051fc290" providerId="ADAL" clId="{78ECF93C-4CC2-4C69-B034-73BBE3ADB890}" dt="2021-06-28T12:45:56.389" v="36" actId="47"/>
        <pc:sldMkLst>
          <pc:docMk/>
          <pc:sldMk cId="3039481074" sldId="365"/>
        </pc:sldMkLst>
      </pc:sldChg>
      <pc:sldChg chg="del">
        <pc:chgData name="Jackman, Lauren" userId="ef96ab20-fb12-476c-a3e0-14bd051fc290" providerId="ADAL" clId="{78ECF93C-4CC2-4C69-B034-73BBE3ADB890}" dt="2021-06-28T12:45:56.389" v="36" actId="47"/>
        <pc:sldMkLst>
          <pc:docMk/>
          <pc:sldMk cId="1359490369" sldId="366"/>
        </pc:sldMkLst>
      </pc:sldChg>
      <pc:sldChg chg="del">
        <pc:chgData name="Jackman, Lauren" userId="ef96ab20-fb12-476c-a3e0-14bd051fc290" providerId="ADAL" clId="{78ECF93C-4CC2-4C69-B034-73BBE3ADB890}" dt="2021-06-28T12:45:56.389" v="36" actId="47"/>
        <pc:sldMkLst>
          <pc:docMk/>
          <pc:sldMk cId="2820521265" sldId="367"/>
        </pc:sldMkLst>
      </pc:sldChg>
      <pc:sldChg chg="del">
        <pc:chgData name="Jackman, Lauren" userId="ef96ab20-fb12-476c-a3e0-14bd051fc290" providerId="ADAL" clId="{78ECF93C-4CC2-4C69-B034-73BBE3ADB890}" dt="2021-06-28T12:45:56.389" v="36" actId="47"/>
        <pc:sldMkLst>
          <pc:docMk/>
          <pc:sldMk cId="22602089" sldId="368"/>
        </pc:sldMkLst>
      </pc:sldChg>
      <pc:sldChg chg="del">
        <pc:chgData name="Jackman, Lauren" userId="ef96ab20-fb12-476c-a3e0-14bd051fc290" providerId="ADAL" clId="{78ECF93C-4CC2-4C69-B034-73BBE3ADB890}" dt="2021-06-28T12:45:56.389" v="36" actId="47"/>
        <pc:sldMkLst>
          <pc:docMk/>
          <pc:sldMk cId="483866223" sldId="369"/>
        </pc:sldMkLst>
      </pc:sldChg>
      <pc:sldChg chg="del">
        <pc:chgData name="Jackman, Lauren" userId="ef96ab20-fb12-476c-a3e0-14bd051fc290" providerId="ADAL" clId="{78ECF93C-4CC2-4C69-B034-73BBE3ADB890}" dt="2021-06-28T12:45:56.389" v="36" actId="47"/>
        <pc:sldMkLst>
          <pc:docMk/>
          <pc:sldMk cId="1283524451" sldId="370"/>
        </pc:sldMkLst>
      </pc:sldChg>
      <pc:sldChg chg="del">
        <pc:chgData name="Jackman, Lauren" userId="ef96ab20-fb12-476c-a3e0-14bd051fc290" providerId="ADAL" clId="{78ECF93C-4CC2-4C69-B034-73BBE3ADB890}" dt="2021-06-28T12:45:56.389" v="36" actId="47"/>
        <pc:sldMkLst>
          <pc:docMk/>
          <pc:sldMk cId="1650035913" sldId="371"/>
        </pc:sldMkLst>
      </pc:sldChg>
      <pc:sldChg chg="del">
        <pc:chgData name="Jackman, Lauren" userId="ef96ab20-fb12-476c-a3e0-14bd051fc290" providerId="ADAL" clId="{78ECF93C-4CC2-4C69-B034-73BBE3ADB890}" dt="2021-06-28T12:45:56.389" v="36" actId="47"/>
        <pc:sldMkLst>
          <pc:docMk/>
          <pc:sldMk cId="2489808466" sldId="372"/>
        </pc:sldMkLst>
      </pc:sldChg>
      <pc:sldChg chg="del">
        <pc:chgData name="Jackman, Lauren" userId="ef96ab20-fb12-476c-a3e0-14bd051fc290" providerId="ADAL" clId="{78ECF93C-4CC2-4C69-B034-73BBE3ADB890}" dt="2021-06-28T12:45:56.389" v="36" actId="47"/>
        <pc:sldMkLst>
          <pc:docMk/>
          <pc:sldMk cId="3449760871" sldId="373"/>
        </pc:sldMkLst>
      </pc:sldChg>
      <pc:sldChg chg="addSp delSp modSp mod ord">
        <pc:chgData name="Jackman, Lauren" userId="ef96ab20-fb12-476c-a3e0-14bd051fc290" providerId="ADAL" clId="{78ECF93C-4CC2-4C69-B034-73BBE3ADB890}" dt="2021-07-12T21:00:58.613" v="2855"/>
        <pc:sldMkLst>
          <pc:docMk/>
          <pc:sldMk cId="2134256953" sldId="457"/>
        </pc:sldMkLst>
        <pc:spChg chg="del">
          <ac:chgData name="Jackman, Lauren" userId="ef96ab20-fb12-476c-a3e0-14bd051fc290" providerId="ADAL" clId="{78ECF93C-4CC2-4C69-B034-73BBE3ADB890}" dt="2021-06-28T21:09:15.120" v="868" actId="478"/>
          <ac:spMkLst>
            <pc:docMk/>
            <pc:sldMk cId="2134256953" sldId="457"/>
            <ac:spMk id="6" creationId="{C9039B4E-1BAF-4C29-80E9-E81CE470D8C1}"/>
          </ac:spMkLst>
        </pc:spChg>
        <pc:spChg chg="add del mod">
          <ac:chgData name="Jackman, Lauren" userId="ef96ab20-fb12-476c-a3e0-14bd051fc290" providerId="ADAL" clId="{78ECF93C-4CC2-4C69-B034-73BBE3ADB890}" dt="2021-06-28T21:09:22.921" v="869" actId="478"/>
          <ac:spMkLst>
            <pc:docMk/>
            <pc:sldMk cId="2134256953" sldId="457"/>
            <ac:spMk id="8" creationId="{EDE34C1C-5051-4825-870E-E23BA1962902}"/>
          </ac:spMkLst>
        </pc:spChg>
        <pc:graphicFrameChg chg="modGraphic">
          <ac:chgData name="Jackman, Lauren" userId="ef96ab20-fb12-476c-a3e0-14bd051fc290" providerId="ADAL" clId="{78ECF93C-4CC2-4C69-B034-73BBE3ADB890}" dt="2021-06-28T21:10:13.971" v="941" actId="207"/>
          <ac:graphicFrameMkLst>
            <pc:docMk/>
            <pc:sldMk cId="2134256953" sldId="457"/>
            <ac:graphicFrameMk id="2" creationId="{00000000-0000-0000-0000-000000000000}"/>
          </ac:graphicFrameMkLst>
        </pc:graphicFrameChg>
        <pc:graphicFrameChg chg="mod modGraphic">
          <ac:chgData name="Jackman, Lauren" userId="ef96ab20-fb12-476c-a3e0-14bd051fc290" providerId="ADAL" clId="{78ECF93C-4CC2-4C69-B034-73BBE3ADB890}" dt="2021-06-28T21:11:16.809" v="990" actId="14100"/>
          <ac:graphicFrameMkLst>
            <pc:docMk/>
            <pc:sldMk cId="2134256953" sldId="457"/>
            <ac:graphicFrameMk id="12" creationId="{00000000-0000-0000-0000-000000000000}"/>
          </ac:graphicFrameMkLst>
        </pc:graphicFrameChg>
      </pc:sldChg>
      <pc:sldChg chg="addSp delSp modSp mod addCm delCm modCm">
        <pc:chgData name="Jackman, Lauren" userId="ef96ab20-fb12-476c-a3e0-14bd051fc290" providerId="ADAL" clId="{78ECF93C-4CC2-4C69-B034-73BBE3ADB890}" dt="2021-07-12T20:01:52.037" v="2126" actId="6549"/>
        <pc:sldMkLst>
          <pc:docMk/>
          <pc:sldMk cId="2545999528" sldId="2078"/>
        </pc:sldMkLst>
        <pc:spChg chg="mod">
          <ac:chgData name="Jackman, Lauren" userId="ef96ab20-fb12-476c-a3e0-14bd051fc290" providerId="ADAL" clId="{78ECF93C-4CC2-4C69-B034-73BBE3ADB890}" dt="2021-07-12T20:01:52.037" v="2126" actId="6549"/>
          <ac:spMkLst>
            <pc:docMk/>
            <pc:sldMk cId="2545999528" sldId="2078"/>
            <ac:spMk id="11" creationId="{D81E90CF-FE2B-4EF2-AE01-6B8C8331CB34}"/>
          </ac:spMkLst>
        </pc:spChg>
        <pc:spChg chg="del">
          <ac:chgData name="Jackman, Lauren" userId="ef96ab20-fb12-476c-a3e0-14bd051fc290" providerId="ADAL" clId="{78ECF93C-4CC2-4C69-B034-73BBE3ADB890}" dt="2021-07-12T19:05:52.269" v="1077" actId="478"/>
          <ac:spMkLst>
            <pc:docMk/>
            <pc:sldMk cId="2545999528" sldId="2078"/>
            <ac:spMk id="19" creationId="{E8100364-430E-4DB7-A80D-786478F68DEE}"/>
          </ac:spMkLst>
        </pc:spChg>
        <pc:spChg chg="add del mod">
          <ac:chgData name="Jackman, Lauren" userId="ef96ab20-fb12-476c-a3e0-14bd051fc290" providerId="ADAL" clId="{78ECF93C-4CC2-4C69-B034-73BBE3ADB890}" dt="2021-07-12T19:05:49.050" v="1076" actId="478"/>
          <ac:spMkLst>
            <pc:docMk/>
            <pc:sldMk cId="2545999528" sldId="2078"/>
            <ac:spMk id="33" creationId="{F1C5FFE6-09AC-4EEB-A4E9-C68C188FDE04}"/>
          </ac:spMkLst>
        </pc:spChg>
      </pc:sldChg>
      <pc:sldChg chg="addSp delSp modSp mod">
        <pc:chgData name="Jackman, Lauren" userId="ef96ab20-fb12-476c-a3e0-14bd051fc290" providerId="ADAL" clId="{78ECF93C-4CC2-4C69-B034-73BBE3ADB890}" dt="2021-06-28T21:14:09.728" v="1075" actId="478"/>
        <pc:sldMkLst>
          <pc:docMk/>
          <pc:sldMk cId="1851280809" sldId="2427"/>
        </pc:sldMkLst>
        <pc:spChg chg="del">
          <ac:chgData name="Jackman, Lauren" userId="ef96ab20-fb12-476c-a3e0-14bd051fc290" providerId="ADAL" clId="{78ECF93C-4CC2-4C69-B034-73BBE3ADB890}" dt="2021-06-28T21:14:06.041" v="1074" actId="478"/>
          <ac:spMkLst>
            <pc:docMk/>
            <pc:sldMk cId="1851280809" sldId="2427"/>
            <ac:spMk id="5" creationId="{59CF4A2C-7B38-43A8-B6CA-33B8BDE01941}"/>
          </ac:spMkLst>
        </pc:spChg>
        <pc:spChg chg="mod">
          <ac:chgData name="Jackman, Lauren" userId="ef96ab20-fb12-476c-a3e0-14bd051fc290" providerId="ADAL" clId="{78ECF93C-4CC2-4C69-B034-73BBE3ADB890}" dt="2021-06-28T21:13:53.154" v="1073" actId="20577"/>
          <ac:spMkLst>
            <pc:docMk/>
            <pc:sldMk cId="1851280809" sldId="2427"/>
            <ac:spMk id="14" creationId="{D5A1CBC1-130D-429B-B590-6840637532A9}"/>
          </ac:spMkLst>
        </pc:spChg>
        <pc:spChg chg="add del mod">
          <ac:chgData name="Jackman, Lauren" userId="ef96ab20-fb12-476c-a3e0-14bd051fc290" providerId="ADAL" clId="{78ECF93C-4CC2-4C69-B034-73BBE3ADB890}" dt="2021-06-28T21:14:09.728" v="1075" actId="478"/>
          <ac:spMkLst>
            <pc:docMk/>
            <pc:sldMk cId="1851280809" sldId="2427"/>
            <ac:spMk id="20" creationId="{2DB4218C-243D-45F4-8B24-F3BDABD26194}"/>
          </ac:spMkLst>
        </pc:spChg>
        <pc:cxnChg chg="mod">
          <ac:chgData name="Jackman, Lauren" userId="ef96ab20-fb12-476c-a3e0-14bd051fc290" providerId="ADAL" clId="{78ECF93C-4CC2-4C69-B034-73BBE3ADB890}" dt="2021-06-28T21:12:47.196" v="1028" actId="14100"/>
          <ac:cxnSpMkLst>
            <pc:docMk/>
            <pc:sldMk cId="1851280809" sldId="2427"/>
            <ac:cxnSpMk id="27" creationId="{5C03335F-893E-48C1-AB44-7704AE87A5B1}"/>
          </ac:cxnSpMkLst>
        </pc:cxnChg>
        <pc:cxnChg chg="mod">
          <ac:chgData name="Jackman, Lauren" userId="ef96ab20-fb12-476c-a3e0-14bd051fc290" providerId="ADAL" clId="{78ECF93C-4CC2-4C69-B034-73BBE3ADB890}" dt="2021-06-28T21:12:50.570" v="1029" actId="14100"/>
          <ac:cxnSpMkLst>
            <pc:docMk/>
            <pc:sldMk cId="1851280809" sldId="2427"/>
            <ac:cxnSpMk id="35" creationId="{69191D01-FAEE-4D7C-95A5-4CD36FBEFAA7}"/>
          </ac:cxnSpMkLst>
        </pc:cxnChg>
      </pc:sldChg>
      <pc:sldChg chg="addSp modSp mod addCm modCm">
        <pc:chgData name="Jackman, Lauren" userId="ef96ab20-fb12-476c-a3e0-14bd051fc290" providerId="ADAL" clId="{78ECF93C-4CC2-4C69-B034-73BBE3ADB890}" dt="2021-06-28T12:35:50.295" v="31" actId="255"/>
        <pc:sldMkLst>
          <pc:docMk/>
          <pc:sldMk cId="1369081146" sldId="8773"/>
        </pc:sldMkLst>
        <pc:spChg chg="add mod">
          <ac:chgData name="Jackman, Lauren" userId="ef96ab20-fb12-476c-a3e0-14bd051fc290" providerId="ADAL" clId="{78ECF93C-4CC2-4C69-B034-73BBE3ADB890}" dt="2021-06-28T12:35:50.295" v="31" actId="255"/>
          <ac:spMkLst>
            <pc:docMk/>
            <pc:sldMk cId="1369081146" sldId="8773"/>
            <ac:spMk id="2" creationId="{813D28D1-AC2C-4B65-A0FF-DA341E511D3A}"/>
          </ac:spMkLst>
        </pc:spChg>
      </pc:sldChg>
      <pc:sldChg chg="addSp modSp">
        <pc:chgData name="Jackman, Lauren" userId="ef96ab20-fb12-476c-a3e0-14bd051fc290" providerId="ADAL" clId="{78ECF93C-4CC2-4C69-B034-73BBE3ADB890}" dt="2021-06-28T12:35:58.607" v="32"/>
        <pc:sldMkLst>
          <pc:docMk/>
          <pc:sldMk cId="1039189330" sldId="8774"/>
        </pc:sldMkLst>
        <pc:spChg chg="add mod">
          <ac:chgData name="Jackman, Lauren" userId="ef96ab20-fb12-476c-a3e0-14bd051fc290" providerId="ADAL" clId="{78ECF93C-4CC2-4C69-B034-73BBE3ADB890}" dt="2021-06-28T12:35:58.607" v="32"/>
          <ac:spMkLst>
            <pc:docMk/>
            <pc:sldMk cId="1039189330" sldId="8774"/>
            <ac:spMk id="6" creationId="{0416A2BF-32AF-4CEC-B87F-4A20F7F66A7D}"/>
          </ac:spMkLst>
        </pc:spChg>
      </pc:sldChg>
      <pc:sldChg chg="addSp modSp">
        <pc:chgData name="Jackman, Lauren" userId="ef96ab20-fb12-476c-a3e0-14bd051fc290" providerId="ADAL" clId="{78ECF93C-4CC2-4C69-B034-73BBE3ADB890}" dt="2021-06-28T12:36:00.627" v="33"/>
        <pc:sldMkLst>
          <pc:docMk/>
          <pc:sldMk cId="2407685793" sldId="8775"/>
        </pc:sldMkLst>
        <pc:spChg chg="add mod">
          <ac:chgData name="Jackman, Lauren" userId="ef96ab20-fb12-476c-a3e0-14bd051fc290" providerId="ADAL" clId="{78ECF93C-4CC2-4C69-B034-73BBE3ADB890}" dt="2021-06-28T12:36:00.627" v="33"/>
          <ac:spMkLst>
            <pc:docMk/>
            <pc:sldMk cId="2407685793" sldId="8775"/>
            <ac:spMk id="6" creationId="{D64BD7C8-9FC1-4EC7-B085-DC0BE032BDDC}"/>
          </ac:spMkLst>
        </pc:spChg>
      </pc:sldChg>
      <pc:sldChg chg="addSp delSp modSp del mod addCm modCm">
        <pc:chgData name="Jackman, Lauren" userId="ef96ab20-fb12-476c-a3e0-14bd051fc290" providerId="ADAL" clId="{78ECF93C-4CC2-4C69-B034-73BBE3ADB890}" dt="2021-06-28T20:00:49.671" v="729" actId="2696"/>
        <pc:sldMkLst>
          <pc:docMk/>
          <pc:sldMk cId="3491360341" sldId="8786"/>
        </pc:sldMkLst>
        <pc:spChg chg="mod">
          <ac:chgData name="Jackman, Lauren" userId="ef96ab20-fb12-476c-a3e0-14bd051fc290" providerId="ADAL" clId="{78ECF93C-4CC2-4C69-B034-73BBE3ADB890}" dt="2021-06-28T19:41:11.906" v="500" actId="14100"/>
          <ac:spMkLst>
            <pc:docMk/>
            <pc:sldMk cId="3491360341" sldId="8786"/>
            <ac:spMk id="2" creationId="{88F2756D-BFEC-4C0E-A280-EEE3D75C996A}"/>
          </ac:spMkLst>
        </pc:spChg>
        <pc:spChg chg="mod">
          <ac:chgData name="Jackman, Lauren" userId="ef96ab20-fb12-476c-a3e0-14bd051fc290" providerId="ADAL" clId="{78ECF93C-4CC2-4C69-B034-73BBE3ADB890}" dt="2021-06-28T19:45:47.104" v="535" actId="20577"/>
          <ac:spMkLst>
            <pc:docMk/>
            <pc:sldMk cId="3491360341" sldId="8786"/>
            <ac:spMk id="40" creationId="{121719F8-2A26-490B-BE98-0511C598856F}"/>
          </ac:spMkLst>
        </pc:spChg>
        <pc:spChg chg="mod">
          <ac:chgData name="Jackman, Lauren" userId="ef96ab20-fb12-476c-a3e0-14bd051fc290" providerId="ADAL" clId="{78ECF93C-4CC2-4C69-B034-73BBE3ADB890}" dt="2021-06-28T19:41:13.623" v="501" actId="1076"/>
          <ac:spMkLst>
            <pc:docMk/>
            <pc:sldMk cId="3491360341" sldId="8786"/>
            <ac:spMk id="45" creationId="{E5B82C08-FE36-4E7A-91B6-C4E259006D5B}"/>
          </ac:spMkLst>
        </pc:spChg>
        <pc:spChg chg="add del mod">
          <ac:chgData name="Jackman, Lauren" userId="ef96ab20-fb12-476c-a3e0-14bd051fc290" providerId="ADAL" clId="{78ECF93C-4CC2-4C69-B034-73BBE3ADB890}" dt="2021-06-28T19:41:44.504" v="504" actId="478"/>
          <ac:spMkLst>
            <pc:docMk/>
            <pc:sldMk cId="3491360341" sldId="8786"/>
            <ac:spMk id="55" creationId="{28000978-1E9B-46D2-BA47-4CC46A76016A}"/>
          </ac:spMkLst>
        </pc:spChg>
        <pc:graphicFrameChg chg="mod modGraphic">
          <ac:chgData name="Jackman, Lauren" userId="ef96ab20-fb12-476c-a3e0-14bd051fc290" providerId="ADAL" clId="{78ECF93C-4CC2-4C69-B034-73BBE3ADB890}" dt="2021-06-28T19:46:24.706" v="536" actId="1076"/>
          <ac:graphicFrameMkLst>
            <pc:docMk/>
            <pc:sldMk cId="3491360341" sldId="8786"/>
            <ac:graphicFrameMk id="4" creationId="{FE664A44-2B52-48E1-842B-86373307A2AD}"/>
          </ac:graphicFrameMkLst>
        </pc:graphicFrameChg>
      </pc:sldChg>
      <pc:sldChg chg="addSp delSp modSp mod">
        <pc:chgData name="Jackman, Lauren" userId="ef96ab20-fb12-476c-a3e0-14bd051fc290" providerId="ADAL" clId="{78ECF93C-4CC2-4C69-B034-73BBE3ADB890}" dt="2021-07-12T20:57:54.071" v="2828" actId="14734"/>
        <pc:sldMkLst>
          <pc:docMk/>
          <pc:sldMk cId="800771401" sldId="8787"/>
        </pc:sldMkLst>
        <pc:spChg chg="add mod">
          <ac:chgData name="Jackman, Lauren" userId="ef96ab20-fb12-476c-a3e0-14bd051fc290" providerId="ADAL" clId="{78ECF93C-4CC2-4C69-B034-73BBE3ADB890}" dt="2021-06-28T13:30:26.112" v="423" actId="1076"/>
          <ac:spMkLst>
            <pc:docMk/>
            <pc:sldMk cId="800771401" sldId="8787"/>
            <ac:spMk id="3" creationId="{6D4E6C82-B16C-4A04-B32F-FBA8B7D14C3B}"/>
          </ac:spMkLst>
        </pc:spChg>
        <pc:spChg chg="del">
          <ac:chgData name="Jackman, Lauren" userId="ef96ab20-fb12-476c-a3e0-14bd051fc290" providerId="ADAL" clId="{78ECF93C-4CC2-4C69-B034-73BBE3ADB890}" dt="2021-06-28T13:07:40.264" v="207" actId="478"/>
          <ac:spMkLst>
            <pc:docMk/>
            <pc:sldMk cId="800771401" sldId="8787"/>
            <ac:spMk id="4" creationId="{8D167E41-356D-496C-BAEC-04593EC17913}"/>
          </ac:spMkLst>
        </pc:spChg>
        <pc:graphicFrameChg chg="mod modGraphic">
          <ac:chgData name="Jackman, Lauren" userId="ef96ab20-fb12-476c-a3e0-14bd051fc290" providerId="ADAL" clId="{78ECF93C-4CC2-4C69-B034-73BBE3ADB890}" dt="2021-07-12T20:57:54.071" v="2828" actId="14734"/>
          <ac:graphicFrameMkLst>
            <pc:docMk/>
            <pc:sldMk cId="800771401" sldId="8787"/>
            <ac:graphicFrameMk id="2" creationId="{9FBD2273-D8F8-4BC6-9989-AE46BDA26063}"/>
          </ac:graphicFrameMkLst>
        </pc:graphicFrameChg>
      </pc:sldChg>
      <pc:sldChg chg="modSp mod">
        <pc:chgData name="Jackman, Lauren" userId="ef96ab20-fb12-476c-a3e0-14bd051fc290" providerId="ADAL" clId="{78ECF93C-4CC2-4C69-B034-73BBE3ADB890}" dt="2021-07-12T20:39:42.677" v="2237" actId="20577"/>
        <pc:sldMkLst>
          <pc:docMk/>
          <pc:sldMk cId="847777020" sldId="8791"/>
        </pc:sldMkLst>
        <pc:graphicFrameChg chg="modGraphic">
          <ac:chgData name="Jackman, Lauren" userId="ef96ab20-fb12-476c-a3e0-14bd051fc290" providerId="ADAL" clId="{78ECF93C-4CC2-4C69-B034-73BBE3ADB890}" dt="2021-07-12T20:39:42.677" v="2237" actId="20577"/>
          <ac:graphicFrameMkLst>
            <pc:docMk/>
            <pc:sldMk cId="847777020" sldId="8791"/>
            <ac:graphicFrameMk id="2" creationId="{047A132D-3FAE-48C5-BD5F-C01213AAD2F4}"/>
          </ac:graphicFrameMkLst>
        </pc:graphicFrameChg>
      </pc:sldChg>
      <pc:sldChg chg="del">
        <pc:chgData name="Jackman, Lauren" userId="ef96ab20-fb12-476c-a3e0-14bd051fc290" providerId="ADAL" clId="{78ECF93C-4CC2-4C69-B034-73BBE3ADB890}" dt="2021-06-28T12:48:53.546" v="56" actId="47"/>
        <pc:sldMkLst>
          <pc:docMk/>
          <pc:sldMk cId="3260017691" sldId="8819"/>
        </pc:sldMkLst>
      </pc:sldChg>
      <pc:sldChg chg="addCm modCm">
        <pc:chgData name="Jackman, Lauren" userId="ef96ab20-fb12-476c-a3e0-14bd051fc290" providerId="ADAL" clId="{78ECF93C-4CC2-4C69-B034-73BBE3ADB890}" dt="2021-06-28T12:57:05.051" v="119"/>
        <pc:sldMkLst>
          <pc:docMk/>
          <pc:sldMk cId="27039556" sldId="8820"/>
        </pc:sldMkLst>
      </pc:sldChg>
      <pc:sldChg chg="ord">
        <pc:chgData name="Jackman, Lauren" userId="ef96ab20-fb12-476c-a3e0-14bd051fc290" providerId="ADAL" clId="{78ECF93C-4CC2-4C69-B034-73BBE3ADB890}" dt="2021-06-28T13:22:05.256" v="226"/>
        <pc:sldMkLst>
          <pc:docMk/>
          <pc:sldMk cId="3339402729" sldId="8973"/>
        </pc:sldMkLst>
      </pc:sldChg>
      <pc:sldChg chg="del">
        <pc:chgData name="Jackman, Lauren" userId="ef96ab20-fb12-476c-a3e0-14bd051fc290" providerId="ADAL" clId="{78ECF93C-4CC2-4C69-B034-73BBE3ADB890}" dt="2021-06-28T13:03:30.568" v="190" actId="2696"/>
        <pc:sldMkLst>
          <pc:docMk/>
          <pc:sldMk cId="969028718" sldId="8990"/>
        </pc:sldMkLst>
      </pc:sldChg>
      <pc:sldChg chg="delSp del mod">
        <pc:chgData name="Jackman, Lauren" userId="ef96ab20-fb12-476c-a3e0-14bd051fc290" providerId="ADAL" clId="{78ECF93C-4CC2-4C69-B034-73BBE3ADB890}" dt="2021-06-28T12:48:45.312" v="55" actId="47"/>
        <pc:sldMkLst>
          <pc:docMk/>
          <pc:sldMk cId="4088066546" sldId="9025"/>
        </pc:sldMkLst>
        <pc:spChg chg="del">
          <ac:chgData name="Jackman, Lauren" userId="ef96ab20-fb12-476c-a3e0-14bd051fc290" providerId="ADAL" clId="{78ECF93C-4CC2-4C69-B034-73BBE3ADB890}" dt="2021-06-28T12:48:03.294" v="54" actId="478"/>
          <ac:spMkLst>
            <pc:docMk/>
            <pc:sldMk cId="4088066546" sldId="9025"/>
            <ac:spMk id="92" creationId="{E4AE0AB6-10D8-4782-97F8-8490E9AED78D}"/>
          </ac:spMkLst>
        </pc:spChg>
      </pc:sldChg>
      <pc:sldChg chg="addSp modSp mod">
        <pc:chgData name="Jackman, Lauren" userId="ef96ab20-fb12-476c-a3e0-14bd051fc290" providerId="ADAL" clId="{78ECF93C-4CC2-4C69-B034-73BBE3ADB890}" dt="2021-06-28T21:12:35.153" v="1027" actId="20577"/>
        <pc:sldMkLst>
          <pc:docMk/>
          <pc:sldMk cId="2669552592" sldId="9027"/>
        </pc:sldMkLst>
        <pc:spChg chg="add mod">
          <ac:chgData name="Jackman, Lauren" userId="ef96ab20-fb12-476c-a3e0-14bd051fc290" providerId="ADAL" clId="{78ECF93C-4CC2-4C69-B034-73BBE3ADB890}" dt="2021-06-28T21:12:35.153" v="1027" actId="20577"/>
          <ac:spMkLst>
            <pc:docMk/>
            <pc:sldMk cId="2669552592" sldId="9027"/>
            <ac:spMk id="4" creationId="{1F21A1A3-6CED-4570-90BE-BBEF43763459}"/>
          </ac:spMkLst>
        </pc:spChg>
      </pc:sldChg>
      <pc:sldChg chg="del">
        <pc:chgData name="Jackman, Lauren" userId="ef96ab20-fb12-476c-a3e0-14bd051fc290" providerId="ADAL" clId="{78ECF93C-4CC2-4C69-B034-73BBE3ADB890}" dt="2021-06-28T13:03:23.831" v="189" actId="2696"/>
        <pc:sldMkLst>
          <pc:docMk/>
          <pc:sldMk cId="1920867600" sldId="9038"/>
        </pc:sldMkLst>
      </pc:sldChg>
      <pc:sldChg chg="del">
        <pc:chgData name="Jackman, Lauren" userId="ef96ab20-fb12-476c-a3e0-14bd051fc290" providerId="ADAL" clId="{78ECF93C-4CC2-4C69-B034-73BBE3ADB890}" dt="2021-06-28T12:46:39.677" v="46" actId="2696"/>
        <pc:sldMkLst>
          <pc:docMk/>
          <pc:sldMk cId="1088930848" sldId="9039"/>
        </pc:sldMkLst>
      </pc:sldChg>
      <pc:sldChg chg="del">
        <pc:chgData name="Jackman, Lauren" userId="ef96ab20-fb12-476c-a3e0-14bd051fc290" providerId="ADAL" clId="{78ECF93C-4CC2-4C69-B034-73BBE3ADB890}" dt="2021-06-28T13:19:49.294" v="221" actId="2696"/>
        <pc:sldMkLst>
          <pc:docMk/>
          <pc:sldMk cId="2244708938" sldId="9057"/>
        </pc:sldMkLst>
      </pc:sldChg>
      <pc:sldChg chg="addSp delSp new mod ord">
        <pc:chgData name="Jackman, Lauren" userId="ef96ab20-fb12-476c-a3e0-14bd051fc290" providerId="ADAL" clId="{78ECF93C-4CC2-4C69-B034-73BBE3ADB890}" dt="2021-06-28T13:22:35.465" v="228"/>
        <pc:sldMkLst>
          <pc:docMk/>
          <pc:sldMk cId="3757134594" sldId="9058"/>
        </pc:sldMkLst>
        <pc:spChg chg="del">
          <ac:chgData name="Jackman, Lauren" userId="ef96ab20-fb12-476c-a3e0-14bd051fc290" providerId="ADAL" clId="{78ECF93C-4CC2-4C69-B034-73BBE3ADB890}" dt="2021-06-28T13:19:38.807" v="219" actId="478"/>
          <ac:spMkLst>
            <pc:docMk/>
            <pc:sldMk cId="3757134594" sldId="9058"/>
            <ac:spMk id="2" creationId="{B70BCA65-7ABC-46A8-A04E-0B7722D66BAA}"/>
          </ac:spMkLst>
        </pc:spChg>
        <pc:spChg chg="del">
          <ac:chgData name="Jackman, Lauren" userId="ef96ab20-fb12-476c-a3e0-14bd051fc290" providerId="ADAL" clId="{78ECF93C-4CC2-4C69-B034-73BBE3ADB890}" dt="2021-06-28T13:19:38.807" v="219" actId="478"/>
          <ac:spMkLst>
            <pc:docMk/>
            <pc:sldMk cId="3757134594" sldId="9058"/>
            <ac:spMk id="3" creationId="{7E10F4E9-485E-435D-9171-1CA851F84E89}"/>
          </ac:spMkLst>
        </pc:spChg>
        <pc:spChg chg="del">
          <ac:chgData name="Jackman, Lauren" userId="ef96ab20-fb12-476c-a3e0-14bd051fc290" providerId="ADAL" clId="{78ECF93C-4CC2-4C69-B034-73BBE3ADB890}" dt="2021-06-28T13:19:38.807" v="219" actId="478"/>
          <ac:spMkLst>
            <pc:docMk/>
            <pc:sldMk cId="3757134594" sldId="9058"/>
            <ac:spMk id="4" creationId="{10F0ACA1-123B-4285-9850-C38AFCC914E1}"/>
          </ac:spMkLst>
        </pc:spChg>
        <pc:spChg chg="del">
          <ac:chgData name="Jackman, Lauren" userId="ef96ab20-fb12-476c-a3e0-14bd051fc290" providerId="ADAL" clId="{78ECF93C-4CC2-4C69-B034-73BBE3ADB890}" dt="2021-06-28T13:19:38.807" v="219" actId="478"/>
          <ac:spMkLst>
            <pc:docMk/>
            <pc:sldMk cId="3757134594" sldId="9058"/>
            <ac:spMk id="5" creationId="{2219AD67-490B-43BA-AAA4-D32DFCFCAACC}"/>
          </ac:spMkLst>
        </pc:spChg>
        <pc:picChg chg="add">
          <ac:chgData name="Jackman, Lauren" userId="ef96ab20-fb12-476c-a3e0-14bd051fc290" providerId="ADAL" clId="{78ECF93C-4CC2-4C69-B034-73BBE3ADB890}" dt="2021-06-28T13:19:39.452" v="220"/>
          <ac:picMkLst>
            <pc:docMk/>
            <pc:sldMk cId="3757134594" sldId="9058"/>
            <ac:picMk id="6" creationId="{3D000EE3-5C27-4210-8FC1-29376090BB33}"/>
          </ac:picMkLst>
        </pc:picChg>
      </pc:sldChg>
      <pc:sldChg chg="addSp delSp modSp new mod ord">
        <pc:chgData name="Jackman, Lauren" userId="ef96ab20-fb12-476c-a3e0-14bd051fc290" providerId="ADAL" clId="{78ECF93C-4CC2-4C69-B034-73BBE3ADB890}" dt="2021-07-12T19:54:34.701" v="2120" actId="1076"/>
        <pc:sldMkLst>
          <pc:docMk/>
          <pc:sldMk cId="1983421167" sldId="9059"/>
        </pc:sldMkLst>
        <pc:spChg chg="add del mod">
          <ac:chgData name="Jackman, Lauren" userId="ef96ab20-fb12-476c-a3e0-14bd051fc290" providerId="ADAL" clId="{78ECF93C-4CC2-4C69-B034-73BBE3ADB890}" dt="2021-07-12T19:54:34.701" v="2120" actId="1076"/>
          <ac:spMkLst>
            <pc:docMk/>
            <pc:sldMk cId="1983421167" sldId="9059"/>
            <ac:spMk id="3" creationId="{A1AE85E8-A8FC-49F4-92AB-44FB9221F9F9}"/>
          </ac:spMkLst>
        </pc:spChg>
        <pc:picChg chg="add">
          <ac:chgData name="Jackman, Lauren" userId="ef96ab20-fb12-476c-a3e0-14bd051fc290" providerId="ADAL" clId="{78ECF93C-4CC2-4C69-B034-73BBE3ADB890}" dt="2021-06-28T13:20:52.958" v="223"/>
          <ac:picMkLst>
            <pc:docMk/>
            <pc:sldMk cId="1983421167" sldId="9059"/>
            <ac:picMk id="2" creationId="{D935FC68-DACB-4A36-B0E6-DCEC04C590C4}"/>
          </ac:picMkLst>
        </pc:picChg>
      </pc:sldChg>
      <pc:sldChg chg="addSp delSp modSp mod modCm">
        <pc:chgData name="Jackman, Lauren" userId="ef96ab20-fb12-476c-a3e0-14bd051fc290" providerId="ADAL" clId="{78ECF93C-4CC2-4C69-B034-73BBE3ADB890}" dt="2021-07-13T12:39:17.749" v="2860" actId="207"/>
        <pc:sldMkLst>
          <pc:docMk/>
          <pc:sldMk cId="53167518" sldId="9060"/>
        </pc:sldMkLst>
        <pc:spChg chg="mod">
          <ac:chgData name="Jackman, Lauren" userId="ef96ab20-fb12-476c-a3e0-14bd051fc290" providerId="ADAL" clId="{78ECF93C-4CC2-4C69-B034-73BBE3ADB890}" dt="2021-06-28T20:44:15.037" v="738" actId="20577"/>
          <ac:spMkLst>
            <pc:docMk/>
            <pc:sldMk cId="53167518" sldId="9060"/>
            <ac:spMk id="2" creationId="{88F2756D-BFEC-4C0E-A280-EEE3D75C996A}"/>
          </ac:spMkLst>
        </pc:spChg>
        <pc:spChg chg="mod">
          <ac:chgData name="Jackman, Lauren" userId="ef96ab20-fb12-476c-a3e0-14bd051fc290" providerId="ADAL" clId="{78ECF93C-4CC2-4C69-B034-73BBE3ADB890}" dt="2021-06-28T19:52:48.511" v="660" actId="1076"/>
          <ac:spMkLst>
            <pc:docMk/>
            <pc:sldMk cId="53167518" sldId="9060"/>
            <ac:spMk id="45" creationId="{E5B82C08-FE36-4E7A-91B6-C4E259006D5B}"/>
          </ac:spMkLst>
        </pc:spChg>
        <pc:spChg chg="add mod">
          <ac:chgData name="Jackman, Lauren" userId="ef96ab20-fb12-476c-a3e0-14bd051fc290" providerId="ADAL" clId="{78ECF93C-4CC2-4C69-B034-73BBE3ADB890}" dt="2021-06-28T20:44:47.292" v="750" actId="1035"/>
          <ac:spMkLst>
            <pc:docMk/>
            <pc:sldMk cId="53167518" sldId="9060"/>
            <ac:spMk id="55" creationId="{1CA2DF33-807F-41CA-B003-47F123AFF75B}"/>
          </ac:spMkLst>
        </pc:spChg>
        <pc:spChg chg="add del mod">
          <ac:chgData name="Jackman, Lauren" userId="ef96ab20-fb12-476c-a3e0-14bd051fc290" providerId="ADAL" clId="{78ECF93C-4CC2-4C69-B034-73BBE3ADB890}" dt="2021-06-28T19:47:55.112" v="564" actId="478"/>
          <ac:spMkLst>
            <pc:docMk/>
            <pc:sldMk cId="53167518" sldId="9060"/>
            <ac:spMk id="57" creationId="{594FCF9B-49CA-4AF5-860D-F6A2CB59D5DE}"/>
          </ac:spMkLst>
        </pc:spChg>
        <pc:grpChg chg="mod">
          <ac:chgData name="Jackman, Lauren" userId="ef96ab20-fb12-476c-a3e0-14bd051fc290" providerId="ADAL" clId="{78ECF93C-4CC2-4C69-B034-73BBE3ADB890}" dt="2021-06-28T20:44:47.292" v="750" actId="1035"/>
          <ac:grpSpMkLst>
            <pc:docMk/>
            <pc:sldMk cId="53167518" sldId="9060"/>
            <ac:grpSpMk id="6" creationId="{E07FABE6-2EC8-4D51-A59C-8476977608C6}"/>
          </ac:grpSpMkLst>
        </pc:grpChg>
        <pc:grpChg chg="del mod">
          <ac:chgData name="Jackman, Lauren" userId="ef96ab20-fb12-476c-a3e0-14bd051fc290" providerId="ADAL" clId="{78ECF93C-4CC2-4C69-B034-73BBE3ADB890}" dt="2021-06-28T19:46:45.662" v="538" actId="478"/>
          <ac:grpSpMkLst>
            <pc:docMk/>
            <pc:sldMk cId="53167518" sldId="9060"/>
            <ac:grpSpMk id="39" creationId="{1031A64B-10D5-42F7-A8D2-67DF00923AEE}"/>
          </ac:grpSpMkLst>
        </pc:grpChg>
        <pc:graphicFrameChg chg="mod modGraphic">
          <ac:chgData name="Jackman, Lauren" userId="ef96ab20-fb12-476c-a3e0-14bd051fc290" providerId="ADAL" clId="{78ECF93C-4CC2-4C69-B034-73BBE3ADB890}" dt="2021-07-13T12:39:17.749" v="2860" actId="207"/>
          <ac:graphicFrameMkLst>
            <pc:docMk/>
            <pc:sldMk cId="53167518" sldId="9060"/>
            <ac:graphicFrameMk id="4" creationId="{FE664A44-2B52-48E1-842B-86373307A2AD}"/>
          </ac:graphicFrameMkLst>
        </pc:graphicFrameChg>
        <pc:graphicFrameChg chg="add mod modGraphic">
          <ac:chgData name="Jackman, Lauren" userId="ef96ab20-fb12-476c-a3e0-14bd051fc290" providerId="ADAL" clId="{78ECF93C-4CC2-4C69-B034-73BBE3ADB890}" dt="2021-07-13T12:39:11.303" v="2859" actId="207"/>
          <ac:graphicFrameMkLst>
            <pc:docMk/>
            <pc:sldMk cId="53167518" sldId="9060"/>
            <ac:graphicFrameMk id="58" creationId="{A6EBFF0D-1699-4F57-AC1F-62AAC56A13FE}"/>
          </ac:graphicFrameMkLst>
        </pc:graphicFrameChg>
      </pc:sldChg>
      <pc:sldChg chg="addSp modSp new del mod">
        <pc:chgData name="Jackman, Lauren" userId="ef96ab20-fb12-476c-a3e0-14bd051fc290" providerId="ADAL" clId="{78ECF93C-4CC2-4C69-B034-73BBE3ADB890}" dt="2021-06-28T13:27:07.690" v="278" actId="2696"/>
        <pc:sldMkLst>
          <pc:docMk/>
          <pc:sldMk cId="236536375" sldId="9060"/>
        </pc:sldMkLst>
        <pc:spChg chg="add mod">
          <ac:chgData name="Jackman, Lauren" userId="ef96ab20-fb12-476c-a3e0-14bd051fc290" providerId="ADAL" clId="{78ECF93C-4CC2-4C69-B034-73BBE3ADB890}" dt="2021-06-28T13:23:38.293" v="233" actId="1076"/>
          <ac:spMkLst>
            <pc:docMk/>
            <pc:sldMk cId="236536375" sldId="9060"/>
            <ac:spMk id="2" creationId="{64D333A8-9333-45D2-893B-16AAEAF0A487}"/>
          </ac:spMkLst>
        </pc:spChg>
        <pc:spChg chg="add mod">
          <ac:chgData name="Jackman, Lauren" userId="ef96ab20-fb12-476c-a3e0-14bd051fc290" providerId="ADAL" clId="{78ECF93C-4CC2-4C69-B034-73BBE3ADB890}" dt="2021-06-28T13:23:43.696" v="234"/>
          <ac:spMkLst>
            <pc:docMk/>
            <pc:sldMk cId="236536375" sldId="9060"/>
            <ac:spMk id="3" creationId="{7C19F648-3EEA-42BD-BCE2-F3EDDA760621}"/>
          </ac:spMkLst>
        </pc:spChg>
        <pc:spChg chg="add mod">
          <ac:chgData name="Jackman, Lauren" userId="ef96ab20-fb12-476c-a3e0-14bd051fc290" providerId="ADAL" clId="{78ECF93C-4CC2-4C69-B034-73BBE3ADB890}" dt="2021-06-28T13:25:22.026" v="273" actId="20577"/>
          <ac:spMkLst>
            <pc:docMk/>
            <pc:sldMk cId="236536375" sldId="9060"/>
            <ac:spMk id="4" creationId="{91DD72A6-3016-40F7-AB28-7F10DC5ED387}"/>
          </ac:spMkLst>
        </pc:spChg>
      </pc:sldChg>
      <pc:sldChg chg="addSp modSp new del mod">
        <pc:chgData name="Jackman, Lauren" userId="ef96ab20-fb12-476c-a3e0-14bd051fc290" providerId="ADAL" clId="{78ECF93C-4CC2-4C69-B034-73BBE3ADB890}" dt="2021-06-28T19:43:14.009" v="511" actId="47"/>
        <pc:sldMkLst>
          <pc:docMk/>
          <pc:sldMk cId="1741495951" sldId="9060"/>
        </pc:sldMkLst>
        <pc:spChg chg="add mod">
          <ac:chgData name="Jackman, Lauren" userId="ef96ab20-fb12-476c-a3e0-14bd051fc290" providerId="ADAL" clId="{78ECF93C-4CC2-4C69-B034-73BBE3ADB890}" dt="2021-06-28T19:42:59.945" v="510" actId="6549"/>
          <ac:spMkLst>
            <pc:docMk/>
            <pc:sldMk cId="1741495951" sldId="9060"/>
            <ac:spMk id="2" creationId="{CE657710-9776-4141-81E1-9988348AA57A}"/>
          </ac:spMkLst>
        </pc:spChg>
      </pc:sldChg>
      <pc:sldChg chg="addSp delSp modSp new mod setBg">
        <pc:chgData name="Jackman, Lauren" userId="ef96ab20-fb12-476c-a3e0-14bd051fc290" providerId="ADAL" clId="{78ECF93C-4CC2-4C69-B034-73BBE3ADB890}" dt="2021-06-28T21:07:34.299" v="865" actId="14100"/>
        <pc:sldMkLst>
          <pc:docMk/>
          <pc:sldMk cId="314162243" sldId="9061"/>
        </pc:sldMkLst>
        <pc:spChg chg="del">
          <ac:chgData name="Jackman, Lauren" userId="ef96ab20-fb12-476c-a3e0-14bd051fc290" providerId="ADAL" clId="{78ECF93C-4CC2-4C69-B034-73BBE3ADB890}" dt="2021-06-28T21:00:27.551" v="818" actId="478"/>
          <ac:spMkLst>
            <pc:docMk/>
            <pc:sldMk cId="314162243" sldId="9061"/>
            <ac:spMk id="2" creationId="{E889692A-D5CB-4289-87D4-BE3549732E1B}"/>
          </ac:spMkLst>
        </pc:spChg>
        <pc:spChg chg="del">
          <ac:chgData name="Jackman, Lauren" userId="ef96ab20-fb12-476c-a3e0-14bd051fc290" providerId="ADAL" clId="{78ECF93C-4CC2-4C69-B034-73BBE3ADB890}" dt="2021-06-28T21:00:27.551" v="818" actId="478"/>
          <ac:spMkLst>
            <pc:docMk/>
            <pc:sldMk cId="314162243" sldId="9061"/>
            <ac:spMk id="3" creationId="{EC39D817-B89C-4164-9F88-15D62244FFFB}"/>
          </ac:spMkLst>
        </pc:spChg>
        <pc:spChg chg="del">
          <ac:chgData name="Jackman, Lauren" userId="ef96ab20-fb12-476c-a3e0-14bd051fc290" providerId="ADAL" clId="{78ECF93C-4CC2-4C69-B034-73BBE3ADB890}" dt="2021-06-28T21:00:27.551" v="818" actId="478"/>
          <ac:spMkLst>
            <pc:docMk/>
            <pc:sldMk cId="314162243" sldId="9061"/>
            <ac:spMk id="4" creationId="{90D5A7AC-D886-4A0A-A7B3-883C8BBCBCCE}"/>
          </ac:spMkLst>
        </pc:spChg>
        <pc:spChg chg="add mod">
          <ac:chgData name="Jackman, Lauren" userId="ef96ab20-fb12-476c-a3e0-14bd051fc290" providerId="ADAL" clId="{78ECF93C-4CC2-4C69-B034-73BBE3ADB890}" dt="2021-06-28T21:01:52.395" v="845" actId="255"/>
          <ac:spMkLst>
            <pc:docMk/>
            <pc:sldMk cId="314162243" sldId="9061"/>
            <ac:spMk id="7" creationId="{F208416F-4F12-489C-BE86-57CF758805DA}"/>
          </ac:spMkLst>
        </pc:spChg>
        <pc:spChg chg="add mod">
          <ac:chgData name="Jackman, Lauren" userId="ef96ab20-fb12-476c-a3e0-14bd051fc290" providerId="ADAL" clId="{78ECF93C-4CC2-4C69-B034-73BBE3ADB890}" dt="2021-06-28T21:02:10.399" v="849" actId="208"/>
          <ac:spMkLst>
            <pc:docMk/>
            <pc:sldMk cId="314162243" sldId="9061"/>
            <ac:spMk id="8" creationId="{5D5215CA-5B97-4940-BBFD-63552076D64B}"/>
          </ac:spMkLst>
        </pc:spChg>
        <pc:spChg chg="add mod">
          <ac:chgData name="Jackman, Lauren" userId="ef96ab20-fb12-476c-a3e0-14bd051fc290" providerId="ADAL" clId="{78ECF93C-4CC2-4C69-B034-73BBE3ADB890}" dt="2021-06-28T21:07:34.299" v="865" actId="14100"/>
          <ac:spMkLst>
            <pc:docMk/>
            <pc:sldMk cId="314162243" sldId="9061"/>
            <ac:spMk id="9" creationId="{2C514C91-6389-4263-B6DE-E51A107B176E}"/>
          </ac:spMkLst>
        </pc:spChg>
        <pc:picChg chg="add del mod">
          <ac:chgData name="Jackman, Lauren" userId="ef96ab20-fb12-476c-a3e0-14bd051fc290" providerId="ADAL" clId="{78ECF93C-4CC2-4C69-B034-73BBE3ADB890}" dt="2021-06-28T21:01:25.002" v="824" actId="478"/>
          <ac:picMkLst>
            <pc:docMk/>
            <pc:sldMk cId="314162243" sldId="9061"/>
            <ac:picMk id="5" creationId="{E12130DD-4596-41E8-9157-0419D2A39C5D}"/>
          </ac:picMkLst>
        </pc:picChg>
        <pc:picChg chg="add mod">
          <ac:chgData name="Jackman, Lauren" userId="ef96ab20-fb12-476c-a3e0-14bd051fc290" providerId="ADAL" clId="{78ECF93C-4CC2-4C69-B034-73BBE3ADB890}" dt="2021-06-28T21:01:29.791" v="827" actId="1076"/>
          <ac:picMkLst>
            <pc:docMk/>
            <pc:sldMk cId="314162243" sldId="9061"/>
            <ac:picMk id="6" creationId="{FE54B7D9-2279-40AF-B392-293E41F44EAF}"/>
          </ac:picMkLst>
        </pc:picChg>
      </pc:sldChg>
      <pc:sldChg chg="addSp delSp modSp new mod ord">
        <pc:chgData name="Jackman, Lauren" userId="ef96ab20-fb12-476c-a3e0-14bd051fc290" providerId="ADAL" clId="{78ECF93C-4CC2-4C69-B034-73BBE3ADB890}" dt="2021-07-12T21:00:58.613" v="2855"/>
        <pc:sldMkLst>
          <pc:docMk/>
          <pc:sldMk cId="1641718918" sldId="9062"/>
        </pc:sldMkLst>
        <pc:spChg chg="del">
          <ac:chgData name="Jackman, Lauren" userId="ef96ab20-fb12-476c-a3e0-14bd051fc290" providerId="ADAL" clId="{78ECF93C-4CC2-4C69-B034-73BBE3ADB890}" dt="2021-06-28T21:04:12.546" v="851" actId="478"/>
          <ac:spMkLst>
            <pc:docMk/>
            <pc:sldMk cId="1641718918" sldId="9062"/>
            <ac:spMk id="2" creationId="{944B661E-4EA3-4EC3-A67E-F4728DC92D5A}"/>
          </ac:spMkLst>
        </pc:spChg>
        <pc:spChg chg="del">
          <ac:chgData name="Jackman, Lauren" userId="ef96ab20-fb12-476c-a3e0-14bd051fc290" providerId="ADAL" clId="{78ECF93C-4CC2-4C69-B034-73BBE3ADB890}" dt="2021-06-28T21:04:12.546" v="851" actId="478"/>
          <ac:spMkLst>
            <pc:docMk/>
            <pc:sldMk cId="1641718918" sldId="9062"/>
            <ac:spMk id="3" creationId="{348C9644-3963-485D-9823-2A8B2F4FF7A2}"/>
          </ac:spMkLst>
        </pc:spChg>
        <pc:spChg chg="del">
          <ac:chgData name="Jackman, Lauren" userId="ef96ab20-fb12-476c-a3e0-14bd051fc290" providerId="ADAL" clId="{78ECF93C-4CC2-4C69-B034-73BBE3ADB890}" dt="2021-06-28T21:04:12.546" v="851" actId="478"/>
          <ac:spMkLst>
            <pc:docMk/>
            <pc:sldMk cId="1641718918" sldId="9062"/>
            <ac:spMk id="4" creationId="{251A4E7E-9134-481D-883D-AF6F819C62DA}"/>
          </ac:spMkLst>
        </pc:spChg>
        <pc:spChg chg="add mod">
          <ac:chgData name="Jackman, Lauren" userId="ef96ab20-fb12-476c-a3e0-14bd051fc290" providerId="ADAL" clId="{78ECF93C-4CC2-4C69-B034-73BBE3ADB890}" dt="2021-06-28T21:05:23.379" v="862" actId="14100"/>
          <ac:spMkLst>
            <pc:docMk/>
            <pc:sldMk cId="1641718918" sldId="9062"/>
            <ac:spMk id="6" creationId="{2366480E-6D13-44C8-9CCC-038EB707E488}"/>
          </ac:spMkLst>
        </pc:spChg>
        <pc:picChg chg="add mod">
          <ac:chgData name="Jackman, Lauren" userId="ef96ab20-fb12-476c-a3e0-14bd051fc290" providerId="ADAL" clId="{78ECF93C-4CC2-4C69-B034-73BBE3ADB890}" dt="2021-06-28T21:05:18.489" v="860" actId="1076"/>
          <ac:picMkLst>
            <pc:docMk/>
            <pc:sldMk cId="1641718918" sldId="9062"/>
            <ac:picMk id="5" creationId="{48BF1E4E-ACD4-4BD8-939B-FCCD16AC8A6F}"/>
          </ac:picMkLst>
        </pc:picChg>
      </pc:sldChg>
      <pc:sldChg chg="ord">
        <pc:chgData name="Jackman, Lauren" userId="ef96ab20-fb12-476c-a3e0-14bd051fc290" providerId="ADAL" clId="{78ECF93C-4CC2-4C69-B034-73BBE3ADB890}" dt="2021-07-12T19:49:14.460" v="2117"/>
        <pc:sldMkLst>
          <pc:docMk/>
          <pc:sldMk cId="447954801" sldId="9068"/>
        </pc:sldMkLst>
      </pc:sldChg>
      <pc:sldChg chg="modSp mod">
        <pc:chgData name="Jackman, Lauren" userId="ef96ab20-fb12-476c-a3e0-14bd051fc290" providerId="ADAL" clId="{78ECF93C-4CC2-4C69-B034-73BBE3ADB890}" dt="2021-07-12T21:00:05.791" v="2853" actId="20577"/>
        <pc:sldMkLst>
          <pc:docMk/>
          <pc:sldMk cId="507214722" sldId="9073"/>
        </pc:sldMkLst>
        <pc:graphicFrameChg chg="mod modGraphic">
          <ac:chgData name="Jackman, Lauren" userId="ef96ab20-fb12-476c-a3e0-14bd051fc290" providerId="ADAL" clId="{78ECF93C-4CC2-4C69-B034-73BBE3ADB890}" dt="2021-07-12T21:00:05.791" v="2853" actId="20577"/>
          <ac:graphicFrameMkLst>
            <pc:docMk/>
            <pc:sldMk cId="507214722" sldId="9073"/>
            <ac:graphicFrameMk id="2" creationId="{9FBD2273-D8F8-4BC6-9989-AE46BDA26063}"/>
          </ac:graphicFrameMkLst>
        </pc:graphicFrameChg>
      </pc:sldChg>
      <pc:sldChg chg="modSp mod">
        <pc:chgData name="Jackman, Lauren" userId="ef96ab20-fb12-476c-a3e0-14bd051fc290" providerId="ADAL" clId="{78ECF93C-4CC2-4C69-B034-73BBE3ADB890}" dt="2021-07-13T13:13:16.560" v="2861" actId="2165"/>
        <pc:sldMkLst>
          <pc:docMk/>
          <pc:sldMk cId="1191247395" sldId="9074"/>
        </pc:sldMkLst>
        <pc:graphicFrameChg chg="mod modGraphic">
          <ac:chgData name="Jackman, Lauren" userId="ef96ab20-fb12-476c-a3e0-14bd051fc290" providerId="ADAL" clId="{78ECF93C-4CC2-4C69-B034-73BBE3ADB890}" dt="2021-07-13T13:13:16.560" v="2861" actId="2165"/>
          <ac:graphicFrameMkLst>
            <pc:docMk/>
            <pc:sldMk cId="1191247395" sldId="9074"/>
            <ac:graphicFrameMk id="2" creationId="{9FBD2273-D8F8-4BC6-9989-AE46BDA26063}"/>
          </ac:graphicFrameMkLst>
        </pc:graphicFrameChg>
      </pc:sldChg>
      <pc:sldChg chg="new del">
        <pc:chgData name="Jackman, Lauren" userId="ef96ab20-fb12-476c-a3e0-14bd051fc290" providerId="ADAL" clId="{78ECF93C-4CC2-4C69-B034-73BBE3ADB890}" dt="2021-07-12T19:28:33.940" v="2035" actId="680"/>
        <pc:sldMkLst>
          <pc:docMk/>
          <pc:sldMk cId="1271989868" sldId="9074"/>
        </pc:sldMkLst>
      </pc:sldChg>
    </pc:docChg>
  </pc:docChgLst>
  <pc:docChgLst>
    <pc:chgData name="Berkhout, Arnold" userId="S::aberkhout@deloitte.com::0ca40ea5-eff1-45d8-a898-ae6e843d717d" providerId="AD" clId="Web-{42413066-269F-4755-81D8-2FBC4C1E1B86}"/>
    <pc:docChg chg="modSld">
      <pc:chgData name="Berkhout, Arnold" userId="S::aberkhout@deloitte.com::0ca40ea5-eff1-45d8-a898-ae6e843d717d" providerId="AD" clId="Web-{42413066-269F-4755-81D8-2FBC4C1E1B86}" dt="2020-12-01T22:33:32.482" v="65"/>
      <pc:docMkLst>
        <pc:docMk/>
      </pc:docMkLst>
      <pc:sldChg chg="modSp">
        <pc:chgData name="Berkhout, Arnold" userId="S::aberkhout@deloitte.com::0ca40ea5-eff1-45d8-a898-ae6e843d717d" providerId="AD" clId="Web-{42413066-269F-4755-81D8-2FBC4C1E1B86}" dt="2020-12-01T22:24:11.026" v="14" actId="20577"/>
        <pc:sldMkLst>
          <pc:docMk/>
          <pc:sldMk cId="3491360341" sldId="8786"/>
        </pc:sldMkLst>
        <pc:spChg chg="mod">
          <ac:chgData name="Berkhout, Arnold" userId="S::aberkhout@deloitte.com::0ca40ea5-eff1-45d8-a898-ae6e843d717d" providerId="AD" clId="Web-{42413066-269F-4755-81D8-2FBC4C1E1B86}" dt="2020-12-01T22:24:11.026" v="14" actId="20577"/>
          <ac:spMkLst>
            <pc:docMk/>
            <pc:sldMk cId="3491360341" sldId="8786"/>
            <ac:spMk id="40" creationId="{121719F8-2A26-490B-BE98-0511C598856F}"/>
          </ac:spMkLst>
        </pc:spChg>
      </pc:sldChg>
      <pc:sldChg chg="modSp delCm">
        <pc:chgData name="Berkhout, Arnold" userId="S::aberkhout@deloitte.com::0ca40ea5-eff1-45d8-a898-ae6e843d717d" providerId="AD" clId="Web-{42413066-269F-4755-81D8-2FBC4C1E1B86}" dt="2020-12-01T22:33:32.482" v="65"/>
        <pc:sldMkLst>
          <pc:docMk/>
          <pc:sldMk cId="847777020" sldId="8791"/>
        </pc:sldMkLst>
        <pc:graphicFrameChg chg="mod modGraphic">
          <ac:chgData name="Berkhout, Arnold" userId="S::aberkhout@deloitte.com::0ca40ea5-eff1-45d8-a898-ae6e843d717d" providerId="AD" clId="Web-{42413066-269F-4755-81D8-2FBC4C1E1B86}" dt="2020-12-01T22:33:32.482" v="65"/>
          <ac:graphicFrameMkLst>
            <pc:docMk/>
            <pc:sldMk cId="847777020" sldId="8791"/>
            <ac:graphicFrameMk id="2" creationId="{047A132D-3FAE-48C5-BD5F-C01213AAD2F4}"/>
          </ac:graphicFrameMkLst>
        </pc:graphicFrameChg>
      </pc:sldChg>
      <pc:sldChg chg="modSp">
        <pc:chgData name="Berkhout, Arnold" userId="S::aberkhout@deloitte.com::0ca40ea5-eff1-45d8-a898-ae6e843d717d" providerId="AD" clId="Web-{42413066-269F-4755-81D8-2FBC4C1E1B86}" dt="2020-12-01T22:31:38.600" v="16" actId="20577"/>
        <pc:sldMkLst>
          <pc:docMk/>
          <pc:sldMk cId="1917742098" sldId="9021"/>
        </pc:sldMkLst>
        <pc:spChg chg="mod">
          <ac:chgData name="Berkhout, Arnold" userId="S::aberkhout@deloitte.com::0ca40ea5-eff1-45d8-a898-ae6e843d717d" providerId="AD" clId="Web-{42413066-269F-4755-81D8-2FBC4C1E1B86}" dt="2020-12-01T22:31:38.600" v="16" actId="20577"/>
          <ac:spMkLst>
            <pc:docMk/>
            <pc:sldMk cId="1917742098" sldId="9021"/>
            <ac:spMk id="4" creationId="{30EF7E5B-7924-4E05-B8AA-489BA066B7A0}"/>
          </ac:spMkLst>
        </pc:spChg>
      </pc:sldChg>
    </pc:docChg>
  </pc:docChgLst>
  <pc:docChgLst>
    <pc:chgData name="Pichike, Manohar" userId="S::mpichike@deloitte.com::2f99a31d-82ca-482b-b1ad-2702f0916dfa" providerId="AD" clId="Web-{328F476F-3FC7-4F8B-9209-E6F66A48323A}"/>
    <pc:docChg chg="modSld">
      <pc:chgData name="Pichike, Manohar" userId="S::mpichike@deloitte.com::2f99a31d-82ca-482b-b1ad-2702f0916dfa" providerId="AD" clId="Web-{328F476F-3FC7-4F8B-9209-E6F66A48323A}" dt="2020-09-24T06:49:26.976" v="1" actId="1076"/>
      <pc:docMkLst>
        <pc:docMk/>
      </pc:docMkLst>
      <pc:sldChg chg="modSp">
        <pc:chgData name="Pichike, Manohar" userId="S::mpichike@deloitte.com::2f99a31d-82ca-482b-b1ad-2702f0916dfa" providerId="AD" clId="Web-{328F476F-3FC7-4F8B-9209-E6F66A48323A}" dt="2020-09-24T06:49:26.976" v="1" actId="1076"/>
        <pc:sldMkLst>
          <pc:docMk/>
          <pc:sldMk cId="2506138062" sldId="8782"/>
        </pc:sldMkLst>
        <pc:spChg chg="mod">
          <ac:chgData name="Pichike, Manohar" userId="S::mpichike@deloitte.com::2f99a31d-82ca-482b-b1ad-2702f0916dfa" providerId="AD" clId="Web-{328F476F-3FC7-4F8B-9209-E6F66A48323A}" dt="2020-09-24T06:49:26.976" v="1" actId="1076"/>
          <ac:spMkLst>
            <pc:docMk/>
            <pc:sldMk cId="2506138062" sldId="8782"/>
            <ac:spMk id="3" creationId="{2B44DC9A-1DE4-4B24-8493-D9073A6B5DAE}"/>
          </ac:spMkLst>
        </pc:spChg>
      </pc:sldChg>
    </pc:docChg>
  </pc:docChgLst>
  <pc:docChgLst>
    <pc:chgData name="Bouikidis, Zois" userId="S::zbouikidis@deloitte.com::bd1a3939-50ae-4ed9-9f20-380b71c15406" providerId="AD" clId="Web-{A84B12CB-9CDE-4C7E-B25E-F8D4426B3F58}"/>
    <pc:docChg chg="modSld">
      <pc:chgData name="Bouikidis, Zois" userId="S::zbouikidis@deloitte.com::bd1a3939-50ae-4ed9-9f20-380b71c15406" providerId="AD" clId="Web-{A84B12CB-9CDE-4C7E-B25E-F8D4426B3F58}" dt="2021-07-12T21:43:44.435" v="1031"/>
      <pc:docMkLst>
        <pc:docMk/>
      </pc:docMkLst>
      <pc:sldChg chg="modSp">
        <pc:chgData name="Bouikidis, Zois" userId="S::zbouikidis@deloitte.com::bd1a3939-50ae-4ed9-9f20-380b71c15406" providerId="AD" clId="Web-{A84B12CB-9CDE-4C7E-B25E-F8D4426B3F58}" dt="2021-07-12T21:43:44.435" v="1031"/>
        <pc:sldMkLst>
          <pc:docMk/>
          <pc:sldMk cId="3148283714" sldId="8987"/>
        </pc:sldMkLst>
        <pc:spChg chg="mod">
          <ac:chgData name="Bouikidis, Zois" userId="S::zbouikidis@deloitte.com::bd1a3939-50ae-4ed9-9f20-380b71c15406" providerId="AD" clId="Web-{A84B12CB-9CDE-4C7E-B25E-F8D4426B3F58}" dt="2021-07-12T21:43:44.435" v="1031"/>
          <ac:spMkLst>
            <pc:docMk/>
            <pc:sldMk cId="3148283714" sldId="8987"/>
            <ac:spMk id="13" creationId="{00000000-0000-0000-0000-000000000000}"/>
          </ac:spMkLst>
        </pc:spChg>
      </pc:sldChg>
      <pc:sldChg chg="modSp">
        <pc:chgData name="Bouikidis, Zois" userId="S::zbouikidis@deloitte.com::bd1a3939-50ae-4ed9-9f20-380b71c15406" providerId="AD" clId="Web-{A84B12CB-9CDE-4C7E-B25E-F8D4426B3F58}" dt="2021-07-12T21:43:21.668" v="1021" actId="20577"/>
        <pc:sldMkLst>
          <pc:docMk/>
          <pc:sldMk cId="2318716816" sldId="9041"/>
        </pc:sldMkLst>
        <pc:spChg chg="mod">
          <ac:chgData name="Bouikidis, Zois" userId="S::zbouikidis@deloitte.com::bd1a3939-50ae-4ed9-9f20-380b71c15406" providerId="AD" clId="Web-{A84B12CB-9CDE-4C7E-B25E-F8D4426B3F58}" dt="2021-07-12T21:43:21.668" v="1021" actId="20577"/>
          <ac:spMkLst>
            <pc:docMk/>
            <pc:sldMk cId="2318716816" sldId="9041"/>
            <ac:spMk id="13" creationId="{00000000-0000-0000-0000-000000000000}"/>
          </ac:spMkLst>
        </pc:spChg>
      </pc:sldChg>
    </pc:docChg>
  </pc:docChgLst>
  <pc:docChgLst>
    <pc:chgData name="Ghosh, Anindya" userId="S::anighosh@deloitte.com::1c8636f3-f28e-411c-9bbf-d78a395a60f5" providerId="AD" clId="Web-{C0E50D12-A481-4E4F-8BD1-D1BCA6A99D1F}"/>
    <pc:docChg chg="modSld">
      <pc:chgData name="Ghosh, Anindya" userId="S::anighosh@deloitte.com::1c8636f3-f28e-411c-9bbf-d78a395a60f5" providerId="AD" clId="Web-{C0E50D12-A481-4E4F-8BD1-D1BCA6A99D1F}" dt="2020-12-02T03:03:11.822" v="622"/>
      <pc:docMkLst>
        <pc:docMk/>
      </pc:docMkLst>
      <pc:sldChg chg="delSp modSp delCm">
        <pc:chgData name="Ghosh, Anindya" userId="S::anighosh@deloitte.com::1c8636f3-f28e-411c-9bbf-d78a395a60f5" providerId="AD" clId="Web-{C0E50D12-A481-4E4F-8BD1-D1BCA6A99D1F}" dt="2020-12-02T03:03:11.822" v="622"/>
        <pc:sldMkLst>
          <pc:docMk/>
          <pc:sldMk cId="4169581344" sldId="8798"/>
        </pc:sldMkLst>
        <pc:spChg chg="mod">
          <ac:chgData name="Ghosh, Anindya" userId="S::anighosh@deloitte.com::1c8636f3-f28e-411c-9bbf-d78a395a60f5" providerId="AD" clId="Web-{C0E50D12-A481-4E4F-8BD1-D1BCA6A99D1F}" dt="2020-12-02T02:59:50.587" v="617" actId="20577"/>
          <ac:spMkLst>
            <pc:docMk/>
            <pc:sldMk cId="4169581344" sldId="8798"/>
            <ac:spMk id="3" creationId="{BCEB1B60-2A70-48F8-B225-997AF7F15017}"/>
          </ac:spMkLst>
        </pc:spChg>
        <pc:spChg chg="del">
          <ac:chgData name="Ghosh, Anindya" userId="S::anighosh@deloitte.com::1c8636f3-f28e-411c-9bbf-d78a395a60f5" providerId="AD" clId="Web-{C0E50D12-A481-4E4F-8BD1-D1BCA6A99D1F}" dt="2020-12-02T02:59:40.212" v="616"/>
          <ac:spMkLst>
            <pc:docMk/>
            <pc:sldMk cId="4169581344" sldId="8798"/>
            <ac:spMk id="6" creationId="{CF03D461-03F3-4208-8816-01F8B124B339}"/>
          </ac:spMkLst>
        </pc:spChg>
      </pc:sldChg>
      <pc:sldChg chg="modSp">
        <pc:chgData name="Ghosh, Anindya" userId="S::anighosh@deloitte.com::1c8636f3-f28e-411c-9bbf-d78a395a60f5" providerId="AD" clId="Web-{C0E50D12-A481-4E4F-8BD1-D1BCA6A99D1F}" dt="2020-12-02T03:02:26.697" v="621" actId="20577"/>
        <pc:sldMkLst>
          <pc:docMk/>
          <pc:sldMk cId="2725184318" sldId="8836"/>
        </pc:sldMkLst>
        <pc:spChg chg="mod">
          <ac:chgData name="Ghosh, Anindya" userId="S::anighosh@deloitte.com::1c8636f3-f28e-411c-9bbf-d78a395a60f5" providerId="AD" clId="Web-{C0E50D12-A481-4E4F-8BD1-D1BCA6A99D1F}" dt="2020-12-02T03:02:26.697" v="621" actId="20577"/>
          <ac:spMkLst>
            <pc:docMk/>
            <pc:sldMk cId="2725184318" sldId="8836"/>
            <ac:spMk id="13" creationId="{00000000-0000-0000-0000-000000000000}"/>
          </ac:spMkLst>
        </pc:spChg>
      </pc:sldChg>
      <pc:sldChg chg="modSp">
        <pc:chgData name="Ghosh, Anindya" userId="S::anighosh@deloitte.com::1c8636f3-f28e-411c-9bbf-d78a395a60f5" providerId="AD" clId="Web-{C0E50D12-A481-4E4F-8BD1-D1BCA6A99D1F}" dt="2020-12-02T02:55:59.915" v="244" actId="20577"/>
        <pc:sldMkLst>
          <pc:docMk/>
          <pc:sldMk cId="219835004" sldId="9019"/>
        </pc:sldMkLst>
        <pc:spChg chg="mod">
          <ac:chgData name="Ghosh, Anindya" userId="S::anighosh@deloitte.com::1c8636f3-f28e-411c-9bbf-d78a395a60f5" providerId="AD" clId="Web-{C0E50D12-A481-4E4F-8BD1-D1BCA6A99D1F}" dt="2020-12-02T02:55:59.915" v="244" actId="20577"/>
          <ac:spMkLst>
            <pc:docMk/>
            <pc:sldMk cId="219835004" sldId="9019"/>
            <ac:spMk id="13" creationId="{00000000-0000-0000-0000-000000000000}"/>
          </ac:spMkLst>
        </pc:spChg>
      </pc:sldChg>
    </pc:docChg>
  </pc:docChgLst>
  <pc:docChgLst>
    <pc:chgData name="Chinda, Sowjanya" userId="S::schinda@deloitte.com::fc5c6afc-3b7c-40b3-bf0d-c9a2eae19122" providerId="AD" clId="Web-{90CE559B-B0B4-41F4-AF56-6B57EEEDB7E2}"/>
    <pc:docChg chg="modSld">
      <pc:chgData name="Chinda, Sowjanya" userId="S::schinda@deloitte.com::fc5c6afc-3b7c-40b3-bf0d-c9a2eae19122" providerId="AD" clId="Web-{90CE559B-B0B4-41F4-AF56-6B57EEEDB7E2}" dt="2021-03-23T12:01:53.803" v="21" actId="20577"/>
      <pc:docMkLst>
        <pc:docMk/>
      </pc:docMkLst>
      <pc:sldChg chg="modSp">
        <pc:chgData name="Chinda, Sowjanya" userId="S::schinda@deloitte.com::fc5c6afc-3b7c-40b3-bf0d-c9a2eae19122" providerId="AD" clId="Web-{90CE559B-B0B4-41F4-AF56-6B57EEEDB7E2}" dt="2021-03-23T12:01:53.803" v="21" actId="20577"/>
        <pc:sldMkLst>
          <pc:docMk/>
          <pc:sldMk cId="4099786269" sldId="8812"/>
        </pc:sldMkLst>
        <pc:spChg chg="mod">
          <ac:chgData name="Chinda, Sowjanya" userId="S::schinda@deloitte.com::fc5c6afc-3b7c-40b3-bf0d-c9a2eae19122" providerId="AD" clId="Web-{90CE559B-B0B4-41F4-AF56-6B57EEEDB7E2}" dt="2021-03-23T12:01:53.803" v="21" actId="20577"/>
          <ac:spMkLst>
            <pc:docMk/>
            <pc:sldMk cId="4099786269" sldId="8812"/>
            <ac:spMk id="4" creationId="{00000000-0000-0000-0000-000000000000}"/>
          </ac:spMkLst>
        </pc:spChg>
      </pc:sldChg>
    </pc:docChg>
  </pc:docChgLst>
  <pc:docChgLst>
    <pc:chgData name="Jivrajani, Dharini" userId="S::djivrajani@deloitte.com::9f28c9a6-e07b-4de5-8682-ac3f5c875595" providerId="AD" clId="Web-{8E6E9859-63E2-4A00-BE2C-989C7008122E}"/>
    <pc:docChg chg="modSld">
      <pc:chgData name="Jivrajani, Dharini" userId="S::djivrajani@deloitte.com::9f28c9a6-e07b-4de5-8682-ac3f5c875595" providerId="AD" clId="Web-{8E6E9859-63E2-4A00-BE2C-989C7008122E}" dt="2020-06-24T14:35:29.201" v="0" actId="1076"/>
      <pc:docMkLst>
        <pc:docMk/>
      </pc:docMkLst>
      <pc:sldChg chg="modSp">
        <pc:chgData name="Jivrajani, Dharini" userId="S::djivrajani@deloitte.com::9f28c9a6-e07b-4de5-8682-ac3f5c875595" providerId="AD" clId="Web-{8E6E9859-63E2-4A00-BE2C-989C7008122E}" dt="2020-06-24T14:35:29.201" v="0" actId="1076"/>
        <pc:sldMkLst>
          <pc:docMk/>
          <pc:sldMk cId="1369081146" sldId="8773"/>
        </pc:sldMkLst>
        <pc:graphicFrameChg chg="mod">
          <ac:chgData name="Jivrajani, Dharini" userId="S::djivrajani@deloitte.com::9f28c9a6-e07b-4de5-8682-ac3f5c875595" providerId="AD" clId="Web-{8E6E9859-63E2-4A00-BE2C-989C7008122E}" dt="2020-06-24T14:35:29.201" v="0" actId="1076"/>
          <ac:graphicFrameMkLst>
            <pc:docMk/>
            <pc:sldMk cId="1369081146" sldId="8773"/>
            <ac:graphicFrameMk id="4" creationId="{2AAAC88F-F4B4-4FE3-956E-C3F806D71324}"/>
          </ac:graphicFrameMkLst>
        </pc:graphicFrameChg>
      </pc:sldChg>
    </pc:docChg>
  </pc:docChgLst>
  <pc:docChgLst>
    <pc:chgData name="Kutas-Hille, Janine" userId="S::jkutashille@deloitte.com::0788d68a-0adc-44ef-94ed-31189926cb8f" providerId="AD" clId="Web-{3DC2C3F3-93BA-4588-A74E-798DAC0CD601}"/>
    <pc:docChg chg="modSld">
      <pc:chgData name="Kutas-Hille, Janine" userId="S::jkutashille@deloitte.com::0788d68a-0adc-44ef-94ed-31189926cb8f" providerId="AD" clId="Web-{3DC2C3F3-93BA-4588-A74E-798DAC0CD601}" dt="2021-03-22T20:44:17.727" v="5" actId="20577"/>
      <pc:docMkLst>
        <pc:docMk/>
      </pc:docMkLst>
      <pc:sldChg chg="modSp">
        <pc:chgData name="Kutas-Hille, Janine" userId="S::jkutashille@deloitte.com::0788d68a-0adc-44ef-94ed-31189926cb8f" providerId="AD" clId="Web-{3DC2C3F3-93BA-4588-A74E-798DAC0CD601}" dt="2021-03-22T20:44:17.727" v="5" actId="20577"/>
        <pc:sldMkLst>
          <pc:docMk/>
          <pc:sldMk cId="3148283714" sldId="8987"/>
        </pc:sldMkLst>
        <pc:spChg chg="mod">
          <ac:chgData name="Kutas-Hille, Janine" userId="S::jkutashille@deloitte.com::0788d68a-0adc-44ef-94ed-31189926cb8f" providerId="AD" clId="Web-{3DC2C3F3-93BA-4588-A74E-798DAC0CD601}" dt="2021-03-22T20:44:17.727" v="5" actId="20577"/>
          <ac:spMkLst>
            <pc:docMk/>
            <pc:sldMk cId="3148283714" sldId="8987"/>
            <ac:spMk id="13" creationId="{00000000-0000-0000-0000-000000000000}"/>
          </ac:spMkLst>
        </pc:spChg>
      </pc:sldChg>
    </pc:docChg>
  </pc:docChgLst>
  <pc:docChgLst>
    <pc:chgData name="Jivrajani, Dharini" userId="9f28c9a6-e07b-4de5-8682-ac3f5c875595" providerId="ADAL" clId="{3C441D5E-C08F-44E7-97DF-A8A863EFE6C4}"/>
    <pc:docChg chg="custSel addSld modSld">
      <pc:chgData name="Jivrajani, Dharini" userId="9f28c9a6-e07b-4de5-8682-ac3f5c875595" providerId="ADAL" clId="{3C441D5E-C08F-44E7-97DF-A8A863EFE6C4}" dt="2021-03-16T19:34:39.920" v="123"/>
      <pc:docMkLst>
        <pc:docMk/>
      </pc:docMkLst>
      <pc:sldChg chg="delCm">
        <pc:chgData name="Jivrajani, Dharini" userId="9f28c9a6-e07b-4de5-8682-ac3f5c875595" providerId="ADAL" clId="{3C441D5E-C08F-44E7-97DF-A8A863EFE6C4}" dt="2021-03-16T19:27:40.149" v="117" actId="1592"/>
        <pc:sldMkLst>
          <pc:docMk/>
          <pc:sldMk cId="1078693895" sldId="268"/>
        </pc:sldMkLst>
      </pc:sldChg>
      <pc:sldChg chg="delSp modSp">
        <pc:chgData name="Jivrajani, Dharini" userId="9f28c9a6-e07b-4de5-8682-ac3f5c875595" providerId="ADAL" clId="{3C441D5E-C08F-44E7-97DF-A8A863EFE6C4}" dt="2021-03-16T19:21:15.772" v="116"/>
        <pc:sldMkLst>
          <pc:docMk/>
          <pc:sldMk cId="1851280809" sldId="2427"/>
        </pc:sldMkLst>
        <pc:spChg chg="del mod">
          <ac:chgData name="Jivrajani, Dharini" userId="9f28c9a6-e07b-4de5-8682-ac3f5c875595" providerId="ADAL" clId="{3C441D5E-C08F-44E7-97DF-A8A863EFE6C4}" dt="2021-03-16T19:21:15.772" v="116"/>
          <ac:spMkLst>
            <pc:docMk/>
            <pc:sldMk cId="1851280809" sldId="2427"/>
            <ac:spMk id="5" creationId="{105E7877-FAF1-4564-A3DA-3360B316461F}"/>
          </ac:spMkLst>
        </pc:spChg>
      </pc:sldChg>
      <pc:sldChg chg="modSp">
        <pc:chgData name="Jivrajani, Dharini" userId="9f28c9a6-e07b-4de5-8682-ac3f5c875595" providerId="ADAL" clId="{3C441D5E-C08F-44E7-97DF-A8A863EFE6C4}" dt="2021-03-16T19:17:47.410" v="112" actId="1076"/>
        <pc:sldMkLst>
          <pc:docMk/>
          <pc:sldMk cId="3491360341" sldId="8786"/>
        </pc:sldMkLst>
        <pc:spChg chg="mod">
          <ac:chgData name="Jivrajani, Dharini" userId="9f28c9a6-e07b-4de5-8682-ac3f5c875595" providerId="ADAL" clId="{3C441D5E-C08F-44E7-97DF-A8A863EFE6C4}" dt="2021-03-16T19:17:47.410" v="112" actId="1076"/>
          <ac:spMkLst>
            <pc:docMk/>
            <pc:sldMk cId="3491360341" sldId="8786"/>
            <ac:spMk id="40" creationId="{121719F8-2A26-490B-BE98-0511C598856F}"/>
          </ac:spMkLst>
        </pc:spChg>
        <pc:spChg chg="mod">
          <ac:chgData name="Jivrajani, Dharini" userId="9f28c9a6-e07b-4de5-8682-ac3f5c875595" providerId="ADAL" clId="{3C441D5E-C08F-44E7-97DF-A8A863EFE6C4}" dt="2021-03-16T19:13:18.741" v="23" actId="20577"/>
          <ac:spMkLst>
            <pc:docMk/>
            <pc:sldMk cId="3491360341" sldId="8786"/>
            <ac:spMk id="41" creationId="{D440AF5E-65CC-4214-BAB1-EFF93CA5419F}"/>
          </ac:spMkLst>
        </pc:spChg>
      </pc:sldChg>
      <pc:sldChg chg="addSp delSp modSp add">
        <pc:chgData name="Jivrajani, Dharini" userId="9f28c9a6-e07b-4de5-8682-ac3f5c875595" providerId="ADAL" clId="{3C441D5E-C08F-44E7-97DF-A8A863EFE6C4}" dt="2021-03-16T19:34:39.920" v="123"/>
        <pc:sldMkLst>
          <pc:docMk/>
          <pc:sldMk cId="2669552592" sldId="9027"/>
        </pc:sldMkLst>
        <pc:spChg chg="del">
          <ac:chgData name="Jivrajani, Dharini" userId="9f28c9a6-e07b-4de5-8682-ac3f5c875595" providerId="ADAL" clId="{3C441D5E-C08F-44E7-97DF-A8A863EFE6C4}" dt="2021-03-16T19:33:56.589" v="120" actId="478"/>
          <ac:spMkLst>
            <pc:docMk/>
            <pc:sldMk cId="2669552592" sldId="9027"/>
            <ac:spMk id="2" creationId="{E3763A19-84D1-4F91-B43F-D4D74CDD02CB}"/>
          </ac:spMkLst>
        </pc:spChg>
        <pc:spChg chg="del">
          <ac:chgData name="Jivrajani, Dharini" userId="9f28c9a6-e07b-4de5-8682-ac3f5c875595" providerId="ADAL" clId="{3C441D5E-C08F-44E7-97DF-A8A863EFE6C4}" dt="2021-03-16T19:33:53.094" v="119" actId="478"/>
          <ac:spMkLst>
            <pc:docMk/>
            <pc:sldMk cId="2669552592" sldId="9027"/>
            <ac:spMk id="3" creationId="{4CE4C59C-F50F-4F39-BA4E-A9D5399EDC82}"/>
          </ac:spMkLst>
        </pc:spChg>
        <pc:spChg chg="del mod">
          <ac:chgData name="Jivrajani, Dharini" userId="9f28c9a6-e07b-4de5-8682-ac3f5c875595" providerId="ADAL" clId="{3C441D5E-C08F-44E7-97DF-A8A863EFE6C4}" dt="2021-03-16T19:34:00.931" v="122" actId="478"/>
          <ac:spMkLst>
            <pc:docMk/>
            <pc:sldMk cId="2669552592" sldId="9027"/>
            <ac:spMk id="4" creationId="{F8CA3497-40F8-4EE5-AC7E-898511D8DC5F}"/>
          </ac:spMkLst>
        </pc:spChg>
        <pc:picChg chg="add">
          <ac:chgData name="Jivrajani, Dharini" userId="9f28c9a6-e07b-4de5-8682-ac3f5c875595" providerId="ADAL" clId="{3C441D5E-C08F-44E7-97DF-A8A863EFE6C4}" dt="2021-03-16T19:34:39.920" v="123"/>
          <ac:picMkLst>
            <pc:docMk/>
            <pc:sldMk cId="2669552592" sldId="9027"/>
            <ac:picMk id="5" creationId="{6F684850-714F-43B7-B05D-F816F89CEDB5}"/>
          </ac:picMkLst>
        </pc:picChg>
      </pc:sldChg>
    </pc:docChg>
  </pc:docChgLst>
  <pc:docChgLst>
    <pc:chgData name="Jivrajani, Dharini" userId="S::djivrajani@deloitte.com::9f28c9a6-e07b-4de5-8682-ac3f5c875595" providerId="AD" clId="Web-{3AB7AA48-A2C8-49E7-B70E-F32DD602B431}"/>
    <pc:docChg chg="delSld modSection">
      <pc:chgData name="Jivrajani, Dharini" userId="S::djivrajani@deloitte.com::9f28c9a6-e07b-4de5-8682-ac3f5c875595" providerId="AD" clId="Web-{3AB7AA48-A2C8-49E7-B70E-F32DD602B431}" dt="2021-03-23T10:49:19.317" v="2"/>
      <pc:docMkLst>
        <pc:docMk/>
      </pc:docMkLst>
      <pc:sldChg chg="del">
        <pc:chgData name="Jivrajani, Dharini" userId="S::djivrajani@deloitte.com::9f28c9a6-e07b-4de5-8682-ac3f5c875595" providerId="AD" clId="Web-{3AB7AA48-A2C8-49E7-B70E-F32DD602B431}" dt="2021-03-23T10:49:10.989" v="1"/>
        <pc:sldMkLst>
          <pc:docMk/>
          <pc:sldMk cId="2093104445" sldId="269"/>
        </pc:sldMkLst>
      </pc:sldChg>
      <pc:sldChg chg="del">
        <pc:chgData name="Jivrajani, Dharini" userId="S::djivrajani@deloitte.com::9f28c9a6-e07b-4de5-8682-ac3f5c875595" providerId="AD" clId="Web-{3AB7AA48-A2C8-49E7-B70E-F32DD602B431}" dt="2021-03-23T10:49:19.317" v="2"/>
        <pc:sldMkLst>
          <pc:docMk/>
          <pc:sldMk cId="3569670892" sldId="9003"/>
        </pc:sldMkLst>
      </pc:sldChg>
      <pc:sldChg chg="del">
        <pc:chgData name="Jivrajani, Dharini" userId="S::djivrajani@deloitte.com::9f28c9a6-e07b-4de5-8682-ac3f5c875595" providerId="AD" clId="Web-{3AB7AA48-A2C8-49E7-B70E-F32DD602B431}" dt="2021-03-23T10:49:09.505" v="0"/>
        <pc:sldMkLst>
          <pc:docMk/>
          <pc:sldMk cId="219835004" sldId="9019"/>
        </pc:sldMkLst>
      </pc:sldChg>
    </pc:docChg>
  </pc:docChgLst>
  <pc:docChgLst>
    <pc:chgData clId="Web-{EE6C6267-1AB8-42B7-8D84-743BC35D94DD}"/>
    <pc:docChg chg="modSld">
      <pc:chgData name="" userId="" providerId="" clId="Web-{EE6C6267-1AB8-42B7-8D84-743BC35D94DD}" dt="2021-03-18T15:01:33.646" v="1" actId="20577"/>
      <pc:docMkLst>
        <pc:docMk/>
      </pc:docMkLst>
      <pc:sldChg chg="modSp">
        <pc:chgData name="" userId="" providerId="" clId="Web-{EE6C6267-1AB8-42B7-8D84-743BC35D94DD}" dt="2021-03-18T15:01:33.646" v="1" actId="20577"/>
        <pc:sldMkLst>
          <pc:docMk/>
          <pc:sldMk cId="3661564267" sldId="257"/>
        </pc:sldMkLst>
        <pc:spChg chg="mod">
          <ac:chgData name="" userId="" providerId="" clId="Web-{EE6C6267-1AB8-42B7-8D84-743BC35D94DD}" dt="2021-03-18T15:01:33.646" v="1" actId="20577"/>
          <ac:spMkLst>
            <pc:docMk/>
            <pc:sldMk cId="3661564267" sldId="257"/>
            <ac:spMk id="4" creationId="{00000000-0000-0000-0000-000000000000}"/>
          </ac:spMkLst>
        </pc:spChg>
      </pc:sldChg>
    </pc:docChg>
  </pc:docChgLst>
  <pc:docChgLst>
    <pc:chgData name="Jivrajani, Dharini" userId="S::djivrajani@deloitte.com::9f28c9a6-e07b-4de5-8682-ac3f5c875595" providerId="AD" clId="Web-{821A9680-17EA-4037-B021-085D5C62392D}"/>
    <pc:docChg chg="modSld">
      <pc:chgData name="Jivrajani, Dharini" userId="S::djivrajani@deloitte.com::9f28c9a6-e07b-4de5-8682-ac3f5c875595" providerId="AD" clId="Web-{821A9680-17EA-4037-B021-085D5C62392D}" dt="2020-06-11T18:32:01.543" v="205"/>
      <pc:docMkLst>
        <pc:docMk/>
      </pc:docMkLst>
      <pc:sldChg chg="delSp modSp">
        <pc:chgData name="Jivrajani, Dharini" userId="S::djivrajani@deloitte.com::9f28c9a6-e07b-4de5-8682-ac3f5c875595" providerId="AD" clId="Web-{821A9680-17EA-4037-B021-085D5C62392D}" dt="2020-06-11T18:28:19.337" v="149" actId="20577"/>
        <pc:sldMkLst>
          <pc:docMk/>
          <pc:sldMk cId="3608320234" sldId="266"/>
        </pc:sldMkLst>
        <pc:spChg chg="mod">
          <ac:chgData name="Jivrajani, Dharini" userId="S::djivrajani@deloitte.com::9f28c9a6-e07b-4de5-8682-ac3f5c875595" providerId="AD" clId="Web-{821A9680-17EA-4037-B021-085D5C62392D}" dt="2020-06-11T18:28:19.337" v="149" actId="20577"/>
          <ac:spMkLst>
            <pc:docMk/>
            <pc:sldMk cId="3608320234" sldId="266"/>
            <ac:spMk id="8" creationId="{01129FF2-9327-4476-815B-658384BD2EA8}"/>
          </ac:spMkLst>
        </pc:spChg>
        <pc:spChg chg="del">
          <ac:chgData name="Jivrajani, Dharini" userId="S::djivrajani@deloitte.com::9f28c9a6-e07b-4de5-8682-ac3f5c875595" providerId="AD" clId="Web-{821A9680-17EA-4037-B021-085D5C62392D}" dt="2020-06-11T18:23:02.866" v="130"/>
          <ac:spMkLst>
            <pc:docMk/>
            <pc:sldMk cId="3608320234" sldId="266"/>
            <ac:spMk id="9" creationId="{7BAA6C09-2832-44A8-A10B-D2D917862A7A}"/>
          </ac:spMkLst>
        </pc:spChg>
      </pc:sldChg>
      <pc:sldChg chg="modSp">
        <pc:chgData name="Jivrajani, Dharini" userId="S::djivrajani@deloitte.com::9f28c9a6-e07b-4de5-8682-ac3f5c875595" providerId="AD" clId="Web-{821A9680-17EA-4037-B021-085D5C62392D}" dt="2020-06-11T18:32:01.543" v="205"/>
        <pc:sldMkLst>
          <pc:docMk/>
          <pc:sldMk cId="3377722835" sldId="8772"/>
        </pc:sldMkLst>
        <pc:graphicFrameChg chg="mod modGraphic">
          <ac:chgData name="Jivrajani, Dharini" userId="S::djivrajani@deloitte.com::9f28c9a6-e07b-4de5-8682-ac3f5c875595" providerId="AD" clId="Web-{821A9680-17EA-4037-B021-085D5C62392D}" dt="2020-06-11T18:32:01.543" v="205"/>
          <ac:graphicFrameMkLst>
            <pc:docMk/>
            <pc:sldMk cId="3377722835" sldId="8772"/>
            <ac:graphicFrameMk id="2" creationId="{7D8F2493-A0C4-4740-A16F-E066BC79CDD8}"/>
          </ac:graphicFrameMkLst>
        </pc:graphicFrameChg>
      </pc:sldChg>
      <pc:sldChg chg="modSp">
        <pc:chgData name="Jivrajani, Dharini" userId="S::djivrajani@deloitte.com::9f28c9a6-e07b-4de5-8682-ac3f5c875595" providerId="AD" clId="Web-{821A9680-17EA-4037-B021-085D5C62392D}" dt="2020-06-11T18:15:42.065" v="87" actId="20577"/>
        <pc:sldMkLst>
          <pc:docMk/>
          <pc:sldMk cId="3491360341" sldId="8786"/>
        </pc:sldMkLst>
        <pc:spChg chg="mod">
          <ac:chgData name="Jivrajani, Dharini" userId="S::djivrajani@deloitte.com::9f28c9a6-e07b-4de5-8682-ac3f5c875595" providerId="AD" clId="Web-{821A9680-17EA-4037-B021-085D5C62392D}" dt="2020-06-11T18:15:42.065" v="87" actId="20577"/>
          <ac:spMkLst>
            <pc:docMk/>
            <pc:sldMk cId="3491360341" sldId="8786"/>
            <ac:spMk id="40" creationId="{121719F8-2A26-490B-BE98-0511C598856F}"/>
          </ac:spMkLst>
        </pc:spChg>
      </pc:sldChg>
    </pc:docChg>
  </pc:docChgLst>
  <pc:docChgLst>
    <pc:chgData name="Sharma Palla, Rakesh" userId="S::rsharmapalla@deloitte.com::10f9904b-c976-486e-940c-ca5698800d24" providerId="AD" clId="Web-{A203869C-F38F-4638-8582-10BE742C89BA}"/>
    <pc:docChg chg="modSld">
      <pc:chgData name="Sharma Palla, Rakesh" userId="S::rsharmapalla@deloitte.com::10f9904b-c976-486e-940c-ca5698800d24" providerId="AD" clId="Web-{A203869C-F38F-4638-8582-10BE742C89BA}" dt="2020-12-01T17:29:06.761" v="2"/>
      <pc:docMkLst>
        <pc:docMk/>
      </pc:docMkLst>
      <pc:sldChg chg="modSp">
        <pc:chgData name="Sharma Palla, Rakesh" userId="S::rsharmapalla@deloitte.com::10f9904b-c976-486e-940c-ca5698800d24" providerId="AD" clId="Web-{A203869C-F38F-4638-8582-10BE742C89BA}" dt="2020-12-01T17:29:06.761" v="2"/>
        <pc:sldMkLst>
          <pc:docMk/>
          <pc:sldMk cId="847777020" sldId="8791"/>
        </pc:sldMkLst>
        <pc:graphicFrameChg chg="mod modGraphic">
          <ac:chgData name="Sharma Palla, Rakesh" userId="S::rsharmapalla@deloitte.com::10f9904b-c976-486e-940c-ca5698800d24" providerId="AD" clId="Web-{A203869C-F38F-4638-8582-10BE742C89BA}" dt="2020-12-01T17:29:06.761" v="2"/>
          <ac:graphicFrameMkLst>
            <pc:docMk/>
            <pc:sldMk cId="847777020" sldId="8791"/>
            <ac:graphicFrameMk id="2" creationId="{047A132D-3FAE-48C5-BD5F-C01213AAD2F4}"/>
          </ac:graphicFrameMkLst>
        </pc:graphicFrameChg>
      </pc:sldChg>
    </pc:docChg>
  </pc:docChgLst>
  <pc:docChgLst>
    <pc:chgData name="M, Shilpa Goud" userId="S::shilpam@deloitte.com::a9d4caf0-26bb-4255-ac96-11e70e69739c" providerId="AD" clId="Web-{DB5C6E8F-95BE-4FD1-9E6A-AB137406D255}"/>
    <pc:docChg chg="modSld">
      <pc:chgData name="M, Shilpa Goud" userId="S::shilpam@deloitte.com::a9d4caf0-26bb-4255-ac96-11e70e69739c" providerId="AD" clId="Web-{DB5C6E8F-95BE-4FD1-9E6A-AB137406D255}" dt="2020-12-02T13:03:21.128" v="17"/>
      <pc:docMkLst>
        <pc:docMk/>
      </pc:docMkLst>
      <pc:sldChg chg="modSp">
        <pc:chgData name="M, Shilpa Goud" userId="S::shilpam@deloitte.com::a9d4caf0-26bb-4255-ac96-11e70e69739c" providerId="AD" clId="Web-{DB5C6E8F-95BE-4FD1-9E6A-AB137406D255}" dt="2020-12-02T13:03:21.128" v="17"/>
        <pc:sldMkLst>
          <pc:docMk/>
          <pc:sldMk cId="3491360341" sldId="8786"/>
        </pc:sldMkLst>
        <pc:spChg chg="mod">
          <ac:chgData name="M, Shilpa Goud" userId="S::shilpam@deloitte.com::a9d4caf0-26bb-4255-ac96-11e70e69739c" providerId="AD" clId="Web-{DB5C6E8F-95BE-4FD1-9E6A-AB137406D255}" dt="2020-12-02T13:03:04.378" v="2" actId="20577"/>
          <ac:spMkLst>
            <pc:docMk/>
            <pc:sldMk cId="3491360341" sldId="8786"/>
            <ac:spMk id="5" creationId="{02DEB1AA-D738-40F6-A7DD-D454C53CCBCE}"/>
          </ac:spMkLst>
        </pc:spChg>
        <pc:graphicFrameChg chg="mod modGraphic">
          <ac:chgData name="M, Shilpa Goud" userId="S::shilpam@deloitte.com::a9d4caf0-26bb-4255-ac96-11e70e69739c" providerId="AD" clId="Web-{DB5C6E8F-95BE-4FD1-9E6A-AB137406D255}" dt="2020-12-02T13:03:21.128" v="17"/>
          <ac:graphicFrameMkLst>
            <pc:docMk/>
            <pc:sldMk cId="3491360341" sldId="8786"/>
            <ac:graphicFrameMk id="4" creationId="{FE664A44-2B52-48E1-842B-86373307A2AD}"/>
          </ac:graphicFrameMkLst>
        </pc:graphicFrameChg>
      </pc:sldChg>
    </pc:docChg>
  </pc:docChgLst>
  <pc:docChgLst>
    <pc:chgData name="Thilakan, Andrew" userId="1f143052-8546-4a36-b467-ac96e3b8e64e" providerId="ADAL" clId="{49E12F85-4890-4DF0-8C38-749C411F2B38}"/>
    <pc:docChg chg="custSel delSld modSld modSection">
      <pc:chgData name="Thilakan, Andrew" userId="1f143052-8546-4a36-b467-ac96e3b8e64e" providerId="ADAL" clId="{49E12F85-4890-4DF0-8C38-749C411F2B38}" dt="2021-03-19T19:25:55.121" v="549" actId="20577"/>
      <pc:docMkLst>
        <pc:docMk/>
      </pc:docMkLst>
      <pc:sldChg chg="modSp">
        <pc:chgData name="Thilakan, Andrew" userId="1f143052-8546-4a36-b467-ac96e3b8e64e" providerId="ADAL" clId="{49E12F85-4890-4DF0-8C38-749C411F2B38}" dt="2021-03-19T19:14:59.717" v="29" actId="20577"/>
        <pc:sldMkLst>
          <pc:docMk/>
          <pc:sldMk cId="1369081146" sldId="8773"/>
        </pc:sldMkLst>
        <pc:graphicFrameChg chg="modGraphic">
          <ac:chgData name="Thilakan, Andrew" userId="1f143052-8546-4a36-b467-ac96e3b8e64e" providerId="ADAL" clId="{49E12F85-4890-4DF0-8C38-749C411F2B38}" dt="2021-03-19T19:14:59.717" v="29" actId="20577"/>
          <ac:graphicFrameMkLst>
            <pc:docMk/>
            <pc:sldMk cId="1369081146" sldId="8773"/>
            <ac:graphicFrameMk id="4" creationId="{2AAAC88F-F4B4-4FE3-956E-C3F806D71324}"/>
          </ac:graphicFrameMkLst>
        </pc:graphicFrameChg>
      </pc:sldChg>
      <pc:sldChg chg="delSp modSp">
        <pc:chgData name="Thilakan, Andrew" userId="1f143052-8546-4a36-b467-ac96e3b8e64e" providerId="ADAL" clId="{49E12F85-4890-4DF0-8C38-749C411F2B38}" dt="2021-03-19T19:18:01.155" v="33" actId="20577"/>
        <pc:sldMkLst>
          <pc:docMk/>
          <pc:sldMk cId="2246163936" sldId="8788"/>
        </pc:sldMkLst>
        <pc:spChg chg="del">
          <ac:chgData name="Thilakan, Andrew" userId="1f143052-8546-4a36-b467-ac96e3b8e64e" providerId="ADAL" clId="{49E12F85-4890-4DF0-8C38-749C411F2B38}" dt="2021-03-19T19:17:28.464" v="30" actId="478"/>
          <ac:spMkLst>
            <pc:docMk/>
            <pc:sldMk cId="2246163936" sldId="8788"/>
            <ac:spMk id="5" creationId="{D6FD882E-38C6-4C92-B9B1-77910BBAFBF3}"/>
          </ac:spMkLst>
        </pc:spChg>
        <pc:graphicFrameChg chg="modGraphic">
          <ac:chgData name="Thilakan, Andrew" userId="1f143052-8546-4a36-b467-ac96e3b8e64e" providerId="ADAL" clId="{49E12F85-4890-4DF0-8C38-749C411F2B38}" dt="2021-03-19T19:18:01.155" v="33" actId="20577"/>
          <ac:graphicFrameMkLst>
            <pc:docMk/>
            <pc:sldMk cId="2246163936" sldId="8788"/>
            <ac:graphicFrameMk id="2" creationId="{DBFB0C01-4024-4DDF-BB08-6AA678F60360}"/>
          </ac:graphicFrameMkLst>
        </pc:graphicFrameChg>
      </pc:sldChg>
      <pc:sldChg chg="delSp modSp">
        <pc:chgData name="Thilakan, Andrew" userId="1f143052-8546-4a36-b467-ac96e3b8e64e" providerId="ADAL" clId="{49E12F85-4890-4DF0-8C38-749C411F2B38}" dt="2021-03-19T19:25:55.121" v="549" actId="20577"/>
        <pc:sldMkLst>
          <pc:docMk/>
          <pc:sldMk cId="1867916483" sldId="8795"/>
        </pc:sldMkLst>
        <pc:spChg chg="del">
          <ac:chgData name="Thilakan, Andrew" userId="1f143052-8546-4a36-b467-ac96e3b8e64e" providerId="ADAL" clId="{49E12F85-4890-4DF0-8C38-749C411F2B38}" dt="2021-03-19T19:18:26.796" v="34" actId="478"/>
          <ac:spMkLst>
            <pc:docMk/>
            <pc:sldMk cId="1867916483" sldId="8795"/>
            <ac:spMk id="5" creationId="{5E238A66-ED44-4AFF-B894-79734044A1B2}"/>
          </ac:spMkLst>
        </pc:spChg>
        <pc:graphicFrameChg chg="modGraphic">
          <ac:chgData name="Thilakan, Andrew" userId="1f143052-8546-4a36-b467-ac96e3b8e64e" providerId="ADAL" clId="{49E12F85-4890-4DF0-8C38-749C411F2B38}" dt="2021-03-19T19:25:55.121" v="549" actId="20577"/>
          <ac:graphicFrameMkLst>
            <pc:docMk/>
            <pc:sldMk cId="1867916483" sldId="8795"/>
            <ac:graphicFrameMk id="2" creationId="{DBFB0C01-4024-4DDF-BB08-6AA678F60360}"/>
          </ac:graphicFrameMkLst>
        </pc:graphicFrameChg>
      </pc:sldChg>
      <pc:sldChg chg="del">
        <pc:chgData name="Thilakan, Andrew" userId="1f143052-8546-4a36-b467-ac96e3b8e64e" providerId="ADAL" clId="{49E12F85-4890-4DF0-8C38-749C411F2B38}" dt="2021-03-19T19:25:16.975" v="546" actId="2696"/>
        <pc:sldMkLst>
          <pc:docMk/>
          <pc:sldMk cId="1957478734" sldId="8996"/>
        </pc:sldMkLst>
      </pc:sldChg>
      <pc:sldChg chg="del">
        <pc:chgData name="Thilakan, Andrew" userId="1f143052-8546-4a36-b467-ac96e3b8e64e" providerId="ADAL" clId="{49E12F85-4890-4DF0-8C38-749C411F2B38}" dt="2021-03-19T19:25:17.022" v="547" actId="2696"/>
        <pc:sldMkLst>
          <pc:docMk/>
          <pc:sldMk cId="1917742098" sldId="9021"/>
        </pc:sldMkLst>
      </pc:sldChg>
    </pc:docChg>
  </pc:docChgLst>
  <pc:docChgLst>
    <pc:chgData name="Swarna, Padmini" userId="S::padswarna@deloitte.com::03b348e6-46b3-471e-9507-2b8a34198287" providerId="AD" clId="Web-{45DCC727-C620-493F-8EB0-3C279171FFDB}"/>
    <pc:docChg chg="modSld">
      <pc:chgData name="Swarna, Padmini" userId="S::padswarna@deloitte.com::03b348e6-46b3-471e-9507-2b8a34198287" providerId="AD" clId="Web-{45DCC727-C620-493F-8EB0-3C279171FFDB}" dt="2021-02-23T13:33:53.719" v="55" actId="20577"/>
      <pc:docMkLst>
        <pc:docMk/>
      </pc:docMkLst>
      <pc:sldChg chg="modSp">
        <pc:chgData name="Swarna, Padmini" userId="S::padswarna@deloitte.com::03b348e6-46b3-471e-9507-2b8a34198287" providerId="AD" clId="Web-{45DCC727-C620-493F-8EB0-3C279171FFDB}" dt="2021-02-23T13:33:53.719" v="55" actId="20577"/>
        <pc:sldMkLst>
          <pc:docMk/>
          <pc:sldMk cId="2506138062" sldId="8782"/>
        </pc:sldMkLst>
        <pc:spChg chg="mod">
          <ac:chgData name="Swarna, Padmini" userId="S::padswarna@deloitte.com::03b348e6-46b3-471e-9507-2b8a34198287" providerId="AD" clId="Web-{45DCC727-C620-493F-8EB0-3C279171FFDB}" dt="2021-02-23T13:33:53.719" v="55" actId="20577"/>
          <ac:spMkLst>
            <pc:docMk/>
            <pc:sldMk cId="2506138062" sldId="8782"/>
            <ac:spMk id="3" creationId="{2B44DC9A-1DE4-4B24-8493-D9073A6B5DAE}"/>
          </ac:spMkLst>
        </pc:spChg>
        <pc:spChg chg="mod">
          <ac:chgData name="Swarna, Padmini" userId="S::padswarna@deloitte.com::03b348e6-46b3-471e-9507-2b8a34198287" providerId="AD" clId="Web-{45DCC727-C620-493F-8EB0-3C279171FFDB}" dt="2021-02-23T13:29:49.245" v="37" actId="20577"/>
          <ac:spMkLst>
            <pc:docMk/>
            <pc:sldMk cId="2506138062" sldId="8782"/>
            <ac:spMk id="4" creationId="{3FAEEAA9-008B-43F6-BAE2-39F36A6706FE}"/>
          </ac:spMkLst>
        </pc:spChg>
      </pc:sldChg>
    </pc:docChg>
  </pc:docChgLst>
  <pc:docChgLst>
    <pc:chgData name="Berkhout, Arnold" userId="0ca40ea5-eff1-45d8-a898-ae6e843d717d" providerId="ADAL" clId="{EE5CCF0C-8866-4D16-978A-BC32F6C61DCC}"/>
    <pc:docChg chg="modSld">
      <pc:chgData name="Berkhout, Arnold" userId="0ca40ea5-eff1-45d8-a898-ae6e843d717d" providerId="ADAL" clId="{EE5CCF0C-8866-4D16-978A-BC32F6C61DCC}" dt="2020-11-20T20:52:42.639" v="0" actId="1076"/>
      <pc:docMkLst>
        <pc:docMk/>
      </pc:docMkLst>
      <pc:sldChg chg="modSp">
        <pc:chgData name="Berkhout, Arnold" userId="0ca40ea5-eff1-45d8-a898-ae6e843d717d" providerId="ADAL" clId="{EE5CCF0C-8866-4D16-978A-BC32F6C61DCC}" dt="2020-11-20T20:52:42.639" v="0" actId="1076"/>
        <pc:sldMkLst>
          <pc:docMk/>
          <pc:sldMk cId="2545999528" sldId="2078"/>
        </pc:sldMkLst>
        <pc:spChg chg="mod">
          <ac:chgData name="Berkhout, Arnold" userId="0ca40ea5-eff1-45d8-a898-ae6e843d717d" providerId="ADAL" clId="{EE5CCF0C-8866-4D16-978A-BC32F6C61DCC}" dt="2020-11-20T20:52:42.639" v="0" actId="1076"/>
          <ac:spMkLst>
            <pc:docMk/>
            <pc:sldMk cId="2545999528" sldId="2078"/>
            <ac:spMk id="19" creationId="{A0DB5BBA-D158-4B58-9002-8BEC66C283DA}"/>
          </ac:spMkLst>
        </pc:spChg>
      </pc:sldChg>
    </pc:docChg>
  </pc:docChgLst>
  <pc:docChgLst>
    <pc:chgData name="Chinda, Sowjanya" userId="S::schinda@deloitte.com::fc5c6afc-3b7c-40b3-bf0d-c9a2eae19122" providerId="AD" clId="Web-{43D8B63E-6E49-4D10-B08F-6835B6C8420B}"/>
    <pc:docChg chg="modSld">
      <pc:chgData name="Chinda, Sowjanya" userId="S::schinda@deloitte.com::fc5c6afc-3b7c-40b3-bf0d-c9a2eae19122" providerId="AD" clId="Web-{43D8B63E-6E49-4D10-B08F-6835B6C8420B}" dt="2021-07-13T11:41:59.500" v="29"/>
      <pc:docMkLst>
        <pc:docMk/>
      </pc:docMkLst>
      <pc:sldChg chg="modSp">
        <pc:chgData name="Chinda, Sowjanya" userId="S::schinda@deloitte.com::fc5c6afc-3b7c-40b3-bf0d-c9a2eae19122" providerId="AD" clId="Web-{43D8B63E-6E49-4D10-B08F-6835B6C8420B}" dt="2021-07-13T11:41:59.500" v="29"/>
        <pc:sldMkLst>
          <pc:docMk/>
          <pc:sldMk cId="847777020" sldId="8791"/>
        </pc:sldMkLst>
        <pc:graphicFrameChg chg="mod modGraphic">
          <ac:chgData name="Chinda, Sowjanya" userId="S::schinda@deloitte.com::fc5c6afc-3b7c-40b3-bf0d-c9a2eae19122" providerId="AD" clId="Web-{43D8B63E-6E49-4D10-B08F-6835B6C8420B}" dt="2021-07-13T11:41:59.500" v="29"/>
          <ac:graphicFrameMkLst>
            <pc:docMk/>
            <pc:sldMk cId="847777020" sldId="8791"/>
            <ac:graphicFrameMk id="2" creationId="{047A132D-3FAE-48C5-BD5F-C01213AAD2F4}"/>
          </ac:graphicFrameMkLst>
        </pc:graphicFrameChg>
      </pc:sldChg>
    </pc:docChg>
  </pc:docChgLst>
  <pc:docChgLst>
    <pc:chgData name="Bouikidis, Zois" userId="S::zbouikidis@deloitte.com::bd1a3939-50ae-4ed9-9f20-380b71c15406" providerId="AD" clId="Web-{8BA23DDA-3BD1-4AA9-BF5C-2CC0508680AC}"/>
    <pc:docChg chg="modSld">
      <pc:chgData name="Bouikidis, Zois" userId="S::zbouikidis@deloitte.com::bd1a3939-50ae-4ed9-9f20-380b71c15406" providerId="AD" clId="Web-{8BA23DDA-3BD1-4AA9-BF5C-2CC0508680AC}" dt="2020-07-13T16:33:34.661" v="101" actId="20577"/>
      <pc:docMkLst>
        <pc:docMk/>
      </pc:docMkLst>
      <pc:sldChg chg="modSp">
        <pc:chgData name="Bouikidis, Zois" userId="S::zbouikidis@deloitte.com::bd1a3939-50ae-4ed9-9f20-380b71c15406" providerId="AD" clId="Web-{8BA23DDA-3BD1-4AA9-BF5C-2CC0508680AC}" dt="2020-07-13T16:00:23.283" v="47" actId="20577"/>
        <pc:sldMkLst>
          <pc:docMk/>
          <pc:sldMk cId="208755446" sldId="8837"/>
        </pc:sldMkLst>
        <pc:spChg chg="mod">
          <ac:chgData name="Bouikidis, Zois" userId="S::zbouikidis@deloitte.com::bd1a3939-50ae-4ed9-9f20-380b71c15406" providerId="AD" clId="Web-{8BA23DDA-3BD1-4AA9-BF5C-2CC0508680AC}" dt="2020-07-13T16:00:23.283" v="47" actId="20577"/>
          <ac:spMkLst>
            <pc:docMk/>
            <pc:sldMk cId="208755446" sldId="8837"/>
            <ac:spMk id="13" creationId="{00000000-0000-0000-0000-000000000000}"/>
          </ac:spMkLst>
        </pc:spChg>
      </pc:sldChg>
      <pc:sldChg chg="modSp">
        <pc:chgData name="Bouikidis, Zois" userId="S::zbouikidis@deloitte.com::bd1a3939-50ae-4ed9-9f20-380b71c15406" providerId="AD" clId="Web-{8BA23DDA-3BD1-4AA9-BF5C-2CC0508680AC}" dt="2020-07-13T16:33:34.661" v="101" actId="20577"/>
        <pc:sldMkLst>
          <pc:docMk/>
          <pc:sldMk cId="3472853465" sldId="8838"/>
        </pc:sldMkLst>
        <pc:spChg chg="mod">
          <ac:chgData name="Bouikidis, Zois" userId="S::zbouikidis@deloitte.com::bd1a3939-50ae-4ed9-9f20-380b71c15406" providerId="AD" clId="Web-{8BA23DDA-3BD1-4AA9-BF5C-2CC0508680AC}" dt="2020-07-13T16:33:34.661" v="101" actId="20577"/>
          <ac:spMkLst>
            <pc:docMk/>
            <pc:sldMk cId="3472853465" sldId="8838"/>
            <ac:spMk id="13" creationId="{00000000-0000-0000-0000-000000000000}"/>
          </ac:spMkLst>
        </pc:spChg>
      </pc:sldChg>
    </pc:docChg>
  </pc:docChgLst>
  <pc:docChgLst>
    <pc:chgData clId="Web-{D5559453-3265-4E41-BE66-DA7D118466F5}"/>
    <pc:docChg chg="modSld">
      <pc:chgData name="" userId="" providerId="" clId="Web-{D5559453-3265-4E41-BE66-DA7D118466F5}" dt="2020-11-17T17:32:15.974" v="3" actId="20577"/>
      <pc:docMkLst>
        <pc:docMk/>
      </pc:docMkLst>
      <pc:sldChg chg="modSp">
        <pc:chgData name="" userId="" providerId="" clId="Web-{D5559453-3265-4E41-BE66-DA7D118466F5}" dt="2020-11-17T17:32:15.974" v="3" actId="20577"/>
        <pc:sldMkLst>
          <pc:docMk/>
          <pc:sldMk cId="3661564267" sldId="257"/>
        </pc:sldMkLst>
        <pc:spChg chg="mod">
          <ac:chgData name="" userId="" providerId="" clId="Web-{D5559453-3265-4E41-BE66-DA7D118466F5}" dt="2020-11-17T17:32:15.974" v="3" actId="20577"/>
          <ac:spMkLst>
            <pc:docMk/>
            <pc:sldMk cId="3661564267" sldId="257"/>
            <ac:spMk id="4" creationId="{00000000-0000-0000-0000-000000000000}"/>
          </ac:spMkLst>
        </pc:spChg>
      </pc:sldChg>
    </pc:docChg>
  </pc:docChgLst>
  <pc:docChgLst>
    <pc:chgData name="Prakash, Ankur" userId="S::anprakash@deloitte.com::e5ec4ef6-a8ef-421f-ae1a-afd967453ffe" providerId="AD" clId="Web-{B5F19BA1-B6DE-4748-8C9A-789E59F4C0A8}"/>
    <pc:docChg chg="modSld">
      <pc:chgData name="Prakash, Ankur" userId="S::anprakash@deloitte.com::e5ec4ef6-a8ef-421f-ae1a-afd967453ffe" providerId="AD" clId="Web-{B5F19BA1-B6DE-4748-8C9A-789E59F4C0A8}" dt="2020-07-08T13:28:46.842" v="33" actId="20577"/>
      <pc:docMkLst>
        <pc:docMk/>
      </pc:docMkLst>
      <pc:sldChg chg="modSp">
        <pc:chgData name="Prakash, Ankur" userId="S::anprakash@deloitte.com::e5ec4ef6-a8ef-421f-ae1a-afd967453ffe" providerId="AD" clId="Web-{B5F19BA1-B6DE-4748-8C9A-789E59F4C0A8}" dt="2020-07-08T13:28:46.842" v="33" actId="20577"/>
        <pc:sldMkLst>
          <pc:docMk/>
          <pc:sldMk cId="3924100793" sldId="8832"/>
        </pc:sldMkLst>
        <pc:spChg chg="mod">
          <ac:chgData name="Prakash, Ankur" userId="S::anprakash@deloitte.com::e5ec4ef6-a8ef-421f-ae1a-afd967453ffe" providerId="AD" clId="Web-{B5F19BA1-B6DE-4748-8C9A-789E59F4C0A8}" dt="2020-07-08T13:27:40.525" v="8" actId="20577"/>
          <ac:spMkLst>
            <pc:docMk/>
            <pc:sldMk cId="3924100793" sldId="8832"/>
            <ac:spMk id="7" creationId="{BD52B5DB-DDAB-4EC0-94A0-8CED04FAB517}"/>
          </ac:spMkLst>
        </pc:spChg>
        <pc:spChg chg="mod">
          <ac:chgData name="Prakash, Ankur" userId="S::anprakash@deloitte.com::e5ec4ef6-a8ef-421f-ae1a-afd967453ffe" providerId="AD" clId="Web-{B5F19BA1-B6DE-4748-8C9A-789E59F4C0A8}" dt="2020-07-08T13:28:46.842" v="33" actId="20577"/>
          <ac:spMkLst>
            <pc:docMk/>
            <pc:sldMk cId="3924100793" sldId="8832"/>
            <ac:spMk id="15" creationId="{3A2580C5-CA76-46C2-9A0D-5F85045F5460}"/>
          </ac:spMkLst>
        </pc:spChg>
        <pc:spChg chg="mod">
          <ac:chgData name="Prakash, Ankur" userId="S::anprakash@deloitte.com::e5ec4ef6-a8ef-421f-ae1a-afd967453ffe" providerId="AD" clId="Web-{B5F19BA1-B6DE-4748-8C9A-789E59F4C0A8}" dt="2020-07-08T13:27:53.260" v="27" actId="20577"/>
          <ac:spMkLst>
            <pc:docMk/>
            <pc:sldMk cId="3924100793" sldId="8832"/>
            <ac:spMk id="16" creationId="{710120A0-9CD3-4973-9051-F6B314FD17A7}"/>
          </ac:spMkLst>
        </pc:spChg>
      </pc:sldChg>
    </pc:docChg>
  </pc:docChgLst>
  <pc:docChgLst>
    <pc:chgData name="Jivrajani, Dharini" userId="S::djivrajani@deloitte.com::9f28c9a6-e07b-4de5-8682-ac3f5c875595" providerId="AD" clId="Web-{50C8BFF3-0789-43B0-916F-305E30AD1889}"/>
    <pc:docChg chg="modSld">
      <pc:chgData name="Jivrajani, Dharini" userId="S::djivrajani@deloitte.com::9f28c9a6-e07b-4de5-8682-ac3f5c875595" providerId="AD" clId="Web-{50C8BFF3-0789-43B0-916F-305E30AD1889}" dt="2020-07-14T03:47:14.624" v="19"/>
      <pc:docMkLst>
        <pc:docMk/>
      </pc:docMkLst>
      <pc:sldChg chg="modSp">
        <pc:chgData name="Jivrajani, Dharini" userId="S::djivrajani@deloitte.com::9f28c9a6-e07b-4de5-8682-ac3f5c875595" providerId="AD" clId="Web-{50C8BFF3-0789-43B0-916F-305E30AD1889}" dt="2020-07-14T03:47:14.624" v="19"/>
        <pc:sldMkLst>
          <pc:docMk/>
          <pc:sldMk cId="1369081146" sldId="8773"/>
        </pc:sldMkLst>
        <pc:graphicFrameChg chg="mod modGraphic">
          <ac:chgData name="Jivrajani, Dharini" userId="S::djivrajani@deloitte.com::9f28c9a6-e07b-4de5-8682-ac3f5c875595" providerId="AD" clId="Web-{50C8BFF3-0789-43B0-916F-305E30AD1889}" dt="2020-07-14T03:47:14.624" v="19"/>
          <ac:graphicFrameMkLst>
            <pc:docMk/>
            <pc:sldMk cId="1369081146" sldId="8773"/>
            <ac:graphicFrameMk id="4" creationId="{2AAAC88F-F4B4-4FE3-956E-C3F806D71324}"/>
          </ac:graphicFrameMkLst>
        </pc:graphicFrameChg>
      </pc:sldChg>
    </pc:docChg>
  </pc:docChgLst>
  <pc:docChgLst>
    <pc:chgData name="Lakshmi Kalyan Chakravart, Lakshmi" userId="S::llakshmikalyancha@deloitte.com::59aadd41-0ad0-497c-abc3-cdea2ef388fe" providerId="AD" clId="Web-{EF23F573-963C-4E80-AEDC-3816CF58A0FD}"/>
    <pc:docChg chg="modSld">
      <pc:chgData name="Lakshmi Kalyan Chakravart, Lakshmi" userId="S::llakshmikalyancha@deloitte.com::59aadd41-0ad0-497c-abc3-cdea2ef388fe" providerId="AD" clId="Web-{EF23F573-963C-4E80-AEDC-3816CF58A0FD}" dt="2021-07-12T07:50:49.374" v="45" actId="20577"/>
      <pc:docMkLst>
        <pc:docMk/>
      </pc:docMkLst>
      <pc:sldChg chg="modSp">
        <pc:chgData name="Lakshmi Kalyan Chakravart, Lakshmi" userId="S::llakshmikalyancha@deloitte.com::59aadd41-0ad0-497c-abc3-cdea2ef388fe" providerId="AD" clId="Web-{EF23F573-963C-4E80-AEDC-3816CF58A0FD}" dt="2021-07-12T07:50:49.374" v="45" actId="20577"/>
        <pc:sldMkLst>
          <pc:docMk/>
          <pc:sldMk cId="633251387" sldId="9036"/>
        </pc:sldMkLst>
        <pc:spChg chg="mod">
          <ac:chgData name="Lakshmi Kalyan Chakravart, Lakshmi" userId="S::llakshmikalyancha@deloitte.com::59aadd41-0ad0-497c-abc3-cdea2ef388fe" providerId="AD" clId="Web-{EF23F573-963C-4E80-AEDC-3816CF58A0FD}" dt="2021-07-12T07:50:49.374" v="45" actId="20577"/>
          <ac:spMkLst>
            <pc:docMk/>
            <pc:sldMk cId="633251387" sldId="9036"/>
            <ac:spMk id="12" creationId="{BD52B5DB-DDAB-4EC0-94A0-8CED04FAB517}"/>
          </ac:spMkLst>
        </pc:spChg>
        <pc:spChg chg="mod">
          <ac:chgData name="Lakshmi Kalyan Chakravart, Lakshmi" userId="S::llakshmikalyancha@deloitte.com::59aadd41-0ad0-497c-abc3-cdea2ef388fe" providerId="AD" clId="Web-{EF23F573-963C-4E80-AEDC-3816CF58A0FD}" dt="2021-07-12T07:50:04.077" v="38" actId="20577"/>
          <ac:spMkLst>
            <pc:docMk/>
            <pc:sldMk cId="633251387" sldId="9036"/>
            <ac:spMk id="21" creationId="{5349EEFB-D456-493E-A735-8C86A8FF21EC}"/>
          </ac:spMkLst>
        </pc:spChg>
      </pc:sldChg>
      <pc:sldChg chg="modSp">
        <pc:chgData name="Lakshmi Kalyan Chakravart, Lakshmi" userId="S::llakshmikalyancha@deloitte.com::59aadd41-0ad0-497c-abc3-cdea2ef388fe" providerId="AD" clId="Web-{EF23F573-963C-4E80-AEDC-3816CF58A0FD}" dt="2021-07-12T07:48:39.764" v="29"/>
        <pc:sldMkLst>
          <pc:docMk/>
          <pc:sldMk cId="53167518" sldId="9060"/>
        </pc:sldMkLst>
        <pc:graphicFrameChg chg="mod modGraphic">
          <ac:chgData name="Lakshmi Kalyan Chakravart, Lakshmi" userId="S::llakshmikalyancha@deloitte.com::59aadd41-0ad0-497c-abc3-cdea2ef388fe" providerId="AD" clId="Web-{EF23F573-963C-4E80-AEDC-3816CF58A0FD}" dt="2021-07-12T07:48:39.764" v="29"/>
          <ac:graphicFrameMkLst>
            <pc:docMk/>
            <pc:sldMk cId="53167518" sldId="9060"/>
            <ac:graphicFrameMk id="4" creationId="{FE664A44-2B52-48E1-842B-86373307A2AD}"/>
          </ac:graphicFrameMkLst>
        </pc:graphicFrameChg>
      </pc:sldChg>
    </pc:docChg>
  </pc:docChgLst>
  <pc:docChgLst>
    <pc:chgData name="Ghosh, Anindya" userId="S::anighosh@deloitte.com::1c8636f3-f28e-411c-9bbf-d78a395a60f5" providerId="AD" clId="Web-{DF58CE15-E75B-4638-887E-2413B32CF310}"/>
    <pc:docChg chg="modSld">
      <pc:chgData name="Ghosh, Anindya" userId="S::anighosh@deloitte.com::1c8636f3-f28e-411c-9bbf-d78a395a60f5" providerId="AD" clId="Web-{DF58CE15-E75B-4638-887E-2413B32CF310}" dt="2020-12-02T10:08:31.504" v="110"/>
      <pc:docMkLst>
        <pc:docMk/>
      </pc:docMkLst>
      <pc:sldChg chg="modSp">
        <pc:chgData name="Ghosh, Anindya" userId="S::anighosh@deloitte.com::1c8636f3-f28e-411c-9bbf-d78a395a60f5" providerId="AD" clId="Web-{DF58CE15-E75B-4638-887E-2413B32CF310}" dt="2020-12-02T10:08:31.504" v="110"/>
        <pc:sldMkLst>
          <pc:docMk/>
          <pc:sldMk cId="473660456" sldId="9024"/>
        </pc:sldMkLst>
        <pc:graphicFrameChg chg="mod modGraphic">
          <ac:chgData name="Ghosh, Anindya" userId="S::anighosh@deloitte.com::1c8636f3-f28e-411c-9bbf-d78a395a60f5" providerId="AD" clId="Web-{DF58CE15-E75B-4638-887E-2413B32CF310}" dt="2020-12-02T10:08:31.504" v="110"/>
          <ac:graphicFrameMkLst>
            <pc:docMk/>
            <pc:sldMk cId="473660456" sldId="9024"/>
            <ac:graphicFrameMk id="3" creationId="{52A01B89-C80C-4A73-99F5-B9725D6DA2FC}"/>
          </ac:graphicFrameMkLst>
        </pc:graphicFrameChg>
      </pc:sldChg>
    </pc:docChg>
  </pc:docChgLst>
  <pc:docChgLst>
    <pc:chgData name="Rudraraju, Vijaya" userId="S::vijrudraraju@deloitte.com::106f6c26-77b2-4e0c-8472-1c142b7002a0" providerId="AD" clId="Web-{0EB63F3E-04F3-4F12-B5D3-E156003B49B4}"/>
    <pc:docChg chg="modSld">
      <pc:chgData name="Rudraraju, Vijaya" userId="S::vijrudraraju@deloitte.com::106f6c26-77b2-4e0c-8472-1c142b7002a0" providerId="AD" clId="Web-{0EB63F3E-04F3-4F12-B5D3-E156003B49B4}" dt="2021-03-23T03:29:49.858" v="64" actId="20577"/>
      <pc:docMkLst>
        <pc:docMk/>
      </pc:docMkLst>
      <pc:sldChg chg="modSp">
        <pc:chgData name="Rudraraju, Vijaya" userId="S::vijrudraraju@deloitte.com::106f6c26-77b2-4e0c-8472-1c142b7002a0" providerId="AD" clId="Web-{0EB63F3E-04F3-4F12-B5D3-E156003B49B4}" dt="2021-03-23T03:24:54.368" v="19"/>
        <pc:sldMkLst>
          <pc:docMk/>
          <pc:sldMk cId="3491360341" sldId="8786"/>
        </pc:sldMkLst>
        <pc:graphicFrameChg chg="mod modGraphic">
          <ac:chgData name="Rudraraju, Vijaya" userId="S::vijrudraraju@deloitte.com::106f6c26-77b2-4e0c-8472-1c142b7002a0" providerId="AD" clId="Web-{0EB63F3E-04F3-4F12-B5D3-E156003B49B4}" dt="2021-03-23T03:24:54.368" v="19"/>
          <ac:graphicFrameMkLst>
            <pc:docMk/>
            <pc:sldMk cId="3491360341" sldId="8786"/>
            <ac:graphicFrameMk id="4" creationId="{FE664A44-2B52-48E1-842B-86373307A2AD}"/>
          </ac:graphicFrameMkLst>
        </pc:graphicFrameChg>
      </pc:sldChg>
      <pc:sldChg chg="modSp">
        <pc:chgData name="Rudraraju, Vijaya" userId="S::vijrudraraju@deloitte.com::106f6c26-77b2-4e0c-8472-1c142b7002a0" providerId="AD" clId="Web-{0EB63F3E-04F3-4F12-B5D3-E156003B49B4}" dt="2021-03-23T03:29:49.858" v="64" actId="20577"/>
        <pc:sldMkLst>
          <pc:docMk/>
          <pc:sldMk cId="1686814665" sldId="9034"/>
        </pc:sldMkLst>
        <pc:spChg chg="mod">
          <ac:chgData name="Rudraraju, Vijaya" userId="S::vijrudraraju@deloitte.com::106f6c26-77b2-4e0c-8472-1c142b7002a0" providerId="AD" clId="Web-{0EB63F3E-04F3-4F12-B5D3-E156003B49B4}" dt="2021-03-23T03:29:49.858" v="64" actId="20577"/>
          <ac:spMkLst>
            <pc:docMk/>
            <pc:sldMk cId="1686814665" sldId="9034"/>
            <ac:spMk id="8" creationId="{3AD73DD1-CA9D-43A7-AE40-783F13202818}"/>
          </ac:spMkLst>
        </pc:spChg>
        <pc:spChg chg="mod">
          <ac:chgData name="Rudraraju, Vijaya" userId="S::vijrudraraju@deloitte.com::106f6c26-77b2-4e0c-8472-1c142b7002a0" providerId="AD" clId="Web-{0EB63F3E-04F3-4F12-B5D3-E156003B49B4}" dt="2021-03-23T03:29:18.139" v="51" actId="20577"/>
          <ac:spMkLst>
            <pc:docMk/>
            <pc:sldMk cId="1686814665" sldId="9034"/>
            <ac:spMk id="10" creationId="{63C4D4D1-A06E-4F86-8E1F-FBE3DBFA51E8}"/>
          </ac:spMkLst>
        </pc:spChg>
      </pc:sldChg>
    </pc:docChg>
  </pc:docChgLst>
  <pc:docChgLst>
    <pc:chgData name="Thilakan, Andrew" userId="1f143052-8546-4a36-b467-ac96e3b8e64e" providerId="ADAL" clId="{39B350C5-B7D8-4E46-B2FB-B336CAA195AC}"/>
    <pc:docChg chg="modSld">
      <pc:chgData name="Thilakan, Andrew" userId="1f143052-8546-4a36-b467-ac96e3b8e64e" providerId="ADAL" clId="{39B350C5-B7D8-4E46-B2FB-B336CAA195AC}" dt="2021-07-13T11:45:11.317" v="19" actId="1076"/>
      <pc:docMkLst>
        <pc:docMk/>
      </pc:docMkLst>
      <pc:sldChg chg="addSp modSp mod">
        <pc:chgData name="Thilakan, Andrew" userId="1f143052-8546-4a36-b467-ac96e3b8e64e" providerId="ADAL" clId="{39B350C5-B7D8-4E46-B2FB-B336CAA195AC}" dt="2021-07-13T11:45:11.317" v="19" actId="1076"/>
        <pc:sldMkLst>
          <pc:docMk/>
          <pc:sldMk cId="1800666166" sldId="8797"/>
        </pc:sldMkLst>
        <pc:spChg chg="mod">
          <ac:chgData name="Thilakan, Andrew" userId="1f143052-8546-4a36-b467-ac96e3b8e64e" providerId="ADAL" clId="{39B350C5-B7D8-4E46-B2FB-B336CAA195AC}" dt="2021-07-13T11:44:30.123" v="9" actId="20577"/>
          <ac:spMkLst>
            <pc:docMk/>
            <pc:sldMk cId="1800666166" sldId="8797"/>
            <ac:spMk id="83" creationId="{D6C67F1B-8F53-410A-8018-CC21CD4E1135}"/>
          </ac:spMkLst>
        </pc:spChg>
        <pc:spChg chg="add mod">
          <ac:chgData name="Thilakan, Andrew" userId="1f143052-8546-4a36-b467-ac96e3b8e64e" providerId="ADAL" clId="{39B350C5-B7D8-4E46-B2FB-B336CAA195AC}" dt="2021-07-13T11:45:11.317" v="19" actId="1076"/>
          <ac:spMkLst>
            <pc:docMk/>
            <pc:sldMk cId="1800666166" sldId="8797"/>
            <ac:spMk id="107" creationId="{AB1CF91C-49FA-4869-8511-1137FF920C7D}"/>
          </ac:spMkLst>
        </pc:spChg>
        <pc:spChg chg="mod">
          <ac:chgData name="Thilakan, Andrew" userId="1f143052-8546-4a36-b467-ac96e3b8e64e" providerId="ADAL" clId="{39B350C5-B7D8-4E46-B2FB-B336CAA195AC}" dt="2021-07-13T11:44:01.634" v="4" actId="20577"/>
          <ac:spMkLst>
            <pc:docMk/>
            <pc:sldMk cId="1800666166" sldId="8797"/>
            <ac:spMk id="109" creationId="{5ED8C1A9-FD9D-4622-B35E-652BC9D39835}"/>
          </ac:spMkLst>
        </pc:spChg>
      </pc:sldChg>
    </pc:docChg>
  </pc:docChgLst>
  <pc:docChgLst>
    <pc:chgData name="Jivrajani, Dharini" userId="S::djivrajani@deloitte.com::9f28c9a6-e07b-4de5-8682-ac3f5c875595" providerId="AD" clId="Web-{BBB282DA-A010-4044-98DB-D8F882E86501}"/>
    <pc:docChg chg="modSld">
      <pc:chgData name="Jivrajani, Dharini" userId="S::djivrajani@deloitte.com::9f28c9a6-e07b-4de5-8682-ac3f5c875595" providerId="AD" clId="Web-{BBB282DA-A010-4044-98DB-D8F882E86501}" dt="2021-07-09T13:14:16.301" v="11" actId="20577"/>
      <pc:docMkLst>
        <pc:docMk/>
      </pc:docMkLst>
      <pc:sldChg chg="modSp">
        <pc:chgData name="Jivrajani, Dharini" userId="S::djivrajani@deloitte.com::9f28c9a6-e07b-4de5-8682-ac3f5c875595" providerId="AD" clId="Web-{BBB282DA-A010-4044-98DB-D8F882E86501}" dt="2021-07-09T13:07:17.071" v="8" actId="20577"/>
        <pc:sldMkLst>
          <pc:docMk/>
          <pc:sldMk cId="633251387" sldId="9036"/>
        </pc:sldMkLst>
        <pc:spChg chg="mod">
          <ac:chgData name="Jivrajani, Dharini" userId="S::djivrajani@deloitte.com::9f28c9a6-e07b-4de5-8682-ac3f5c875595" providerId="AD" clId="Web-{BBB282DA-A010-4044-98DB-D8F882E86501}" dt="2021-07-09T13:07:17.071" v="8" actId="20577"/>
          <ac:spMkLst>
            <pc:docMk/>
            <pc:sldMk cId="633251387" sldId="9036"/>
            <ac:spMk id="12" creationId="{BD52B5DB-DDAB-4EC0-94A0-8CED04FAB517}"/>
          </ac:spMkLst>
        </pc:spChg>
        <pc:spChg chg="mod">
          <ac:chgData name="Jivrajani, Dharini" userId="S::djivrajani@deloitte.com::9f28c9a6-e07b-4de5-8682-ac3f5c875595" providerId="AD" clId="Web-{BBB282DA-A010-4044-98DB-D8F882E86501}" dt="2021-07-09T13:06:31.148" v="5" actId="20577"/>
          <ac:spMkLst>
            <pc:docMk/>
            <pc:sldMk cId="633251387" sldId="9036"/>
            <ac:spMk id="19" creationId="{7111F526-39E7-4973-AD26-42B4A4C98B3D}"/>
          </ac:spMkLst>
        </pc:spChg>
      </pc:sldChg>
      <pc:sldChg chg="modSp">
        <pc:chgData name="Jivrajani, Dharini" userId="S::djivrajani@deloitte.com::9f28c9a6-e07b-4de5-8682-ac3f5c875595" providerId="AD" clId="Web-{BBB282DA-A010-4044-98DB-D8F882E86501}" dt="2021-07-09T13:14:16.301" v="11" actId="20577"/>
        <pc:sldMkLst>
          <pc:docMk/>
          <pc:sldMk cId="302263831" sldId="9048"/>
        </pc:sldMkLst>
        <pc:spChg chg="mod">
          <ac:chgData name="Jivrajani, Dharini" userId="S::djivrajani@deloitte.com::9f28c9a6-e07b-4de5-8682-ac3f5c875595" providerId="AD" clId="Web-{BBB282DA-A010-4044-98DB-D8F882E86501}" dt="2021-07-09T13:14:16.301" v="11" actId="20577"/>
          <ac:spMkLst>
            <pc:docMk/>
            <pc:sldMk cId="302263831" sldId="9048"/>
            <ac:spMk id="17" creationId="{3FAEEAA9-008B-43F6-BAE2-39F36A6706FE}"/>
          </ac:spMkLst>
        </pc:spChg>
      </pc:sldChg>
      <pc:sldChg chg="modSp">
        <pc:chgData name="Jivrajani, Dharini" userId="S::djivrajani@deloitte.com::9f28c9a6-e07b-4de5-8682-ac3f5c875595" providerId="AD" clId="Web-{BBB282DA-A010-4044-98DB-D8F882E86501}" dt="2021-07-09T12:56:11.428" v="1"/>
        <pc:sldMkLst>
          <pc:docMk/>
          <pc:sldMk cId="53167518" sldId="9060"/>
        </pc:sldMkLst>
        <pc:graphicFrameChg chg="modGraphic">
          <ac:chgData name="Jivrajani, Dharini" userId="S::djivrajani@deloitte.com::9f28c9a6-e07b-4de5-8682-ac3f5c875595" providerId="AD" clId="Web-{BBB282DA-A010-4044-98DB-D8F882E86501}" dt="2021-07-09T12:56:11.428" v="1"/>
          <ac:graphicFrameMkLst>
            <pc:docMk/>
            <pc:sldMk cId="53167518" sldId="9060"/>
            <ac:graphicFrameMk id="58" creationId="{A6EBFF0D-1699-4F57-AC1F-62AAC56A13FE}"/>
          </ac:graphicFrameMkLst>
        </pc:graphicFrameChg>
      </pc:sldChg>
    </pc:docChg>
  </pc:docChgLst>
  <pc:docChgLst>
    <pc:chgData name="Jivrajani, Dharini" userId="S::djivrajani@deloitte.com::9f28c9a6-e07b-4de5-8682-ac3f5c875595" providerId="AD" clId="Web-{9E0F8D36-BDA3-4C76-95D9-42DEFFFF91F4}"/>
    <pc:docChg chg="modSld">
      <pc:chgData name="Jivrajani, Dharini" userId="S::djivrajani@deloitte.com::9f28c9a6-e07b-4de5-8682-ac3f5c875595" providerId="AD" clId="Web-{9E0F8D36-BDA3-4C76-95D9-42DEFFFF91F4}" dt="2020-07-13T11:11:41.574" v="6" actId="14100"/>
      <pc:docMkLst>
        <pc:docMk/>
      </pc:docMkLst>
      <pc:sldChg chg="addSp modSp">
        <pc:chgData name="Jivrajani, Dharini" userId="S::djivrajani@deloitte.com::9f28c9a6-e07b-4de5-8682-ac3f5c875595" providerId="AD" clId="Web-{9E0F8D36-BDA3-4C76-95D9-42DEFFFF91F4}" dt="2020-07-13T11:11:41.574" v="6" actId="14100"/>
        <pc:sldMkLst>
          <pc:docMk/>
          <pc:sldMk cId="3299632474" sldId="8976"/>
        </pc:sldMkLst>
        <pc:picChg chg="add mod">
          <ac:chgData name="Jivrajani, Dharini" userId="S::djivrajani@deloitte.com::9f28c9a6-e07b-4de5-8682-ac3f5c875595" providerId="AD" clId="Web-{9E0F8D36-BDA3-4C76-95D9-42DEFFFF91F4}" dt="2020-07-13T11:11:41.574" v="6" actId="14100"/>
          <ac:picMkLst>
            <pc:docMk/>
            <pc:sldMk cId="3299632474" sldId="8976"/>
            <ac:picMk id="2" creationId="{B2E6DC23-0542-4B6D-97AC-6AC88E7E8848}"/>
          </ac:picMkLst>
        </pc:picChg>
      </pc:sldChg>
    </pc:docChg>
  </pc:docChgLst>
  <pc:docChgLst>
    <pc:chgData name="Kutas-Hille, Janine" userId="S::jkutashille@deloitte.com::0788d68a-0adc-44ef-94ed-31189926cb8f" providerId="AD" clId="Web-{2B5CCD38-1C59-419B-9A39-494398352AA6}"/>
    <pc:docChg chg="modSld">
      <pc:chgData name="Kutas-Hille, Janine" userId="S::jkutashille@deloitte.com::0788d68a-0adc-44ef-94ed-31189926cb8f" providerId="AD" clId="Web-{2B5CCD38-1C59-419B-9A39-494398352AA6}" dt="2020-12-01T18:45:03.874" v="756" actId="20577"/>
      <pc:docMkLst>
        <pc:docMk/>
      </pc:docMkLst>
      <pc:sldChg chg="modSp">
        <pc:chgData name="Kutas-Hille, Janine" userId="S::jkutashille@deloitte.com::0788d68a-0adc-44ef-94ed-31189926cb8f" providerId="AD" clId="Web-{2B5CCD38-1C59-419B-9A39-494398352AA6}" dt="2020-12-01T14:29:05.351" v="666" actId="20577"/>
        <pc:sldMkLst>
          <pc:docMk/>
          <pc:sldMk cId="166141878" sldId="8834"/>
        </pc:sldMkLst>
        <pc:spChg chg="mod">
          <ac:chgData name="Kutas-Hille, Janine" userId="S::jkutashille@deloitte.com::0788d68a-0adc-44ef-94ed-31189926cb8f" providerId="AD" clId="Web-{2B5CCD38-1C59-419B-9A39-494398352AA6}" dt="2020-12-01T14:29:05.351" v="666" actId="20577"/>
          <ac:spMkLst>
            <pc:docMk/>
            <pc:sldMk cId="166141878" sldId="8834"/>
            <ac:spMk id="4" creationId="{7A9DFF01-0B03-48E4-B42D-F011C5ECF119}"/>
          </ac:spMkLst>
        </pc:spChg>
      </pc:sldChg>
      <pc:sldChg chg="delSp modSp">
        <pc:chgData name="Kutas-Hille, Janine" userId="S::jkutashille@deloitte.com::0788d68a-0adc-44ef-94ed-31189926cb8f" providerId="AD" clId="Web-{2B5CCD38-1C59-419B-9A39-494398352AA6}" dt="2020-12-01T18:44:39.748" v="754" actId="20577"/>
        <pc:sldMkLst>
          <pc:docMk/>
          <pc:sldMk cId="1180582917" sldId="8835"/>
        </pc:sldMkLst>
        <pc:spChg chg="mod">
          <ac:chgData name="Kutas-Hille, Janine" userId="S::jkutashille@deloitte.com::0788d68a-0adc-44ef-94ed-31189926cb8f" providerId="AD" clId="Web-{2B5CCD38-1C59-419B-9A39-494398352AA6}" dt="2020-12-01T18:44:39.748" v="754" actId="20577"/>
          <ac:spMkLst>
            <pc:docMk/>
            <pc:sldMk cId="1180582917" sldId="8835"/>
            <ac:spMk id="3" creationId="{21BBA9DD-83F9-4617-84E4-6CAA74E3B9FB}"/>
          </ac:spMkLst>
        </pc:spChg>
        <pc:spChg chg="del">
          <ac:chgData name="Kutas-Hille, Janine" userId="S::jkutashille@deloitte.com::0788d68a-0adc-44ef-94ed-31189926cb8f" providerId="AD" clId="Web-{2B5CCD38-1C59-419B-9A39-494398352AA6}" dt="2020-12-01T14:25:49.072" v="578"/>
          <ac:spMkLst>
            <pc:docMk/>
            <pc:sldMk cId="1180582917" sldId="8835"/>
            <ac:spMk id="4" creationId="{6795D04D-BAAA-4E66-A4C4-8F9601634EB6}"/>
          </ac:spMkLst>
        </pc:spChg>
      </pc:sldChg>
      <pc:sldChg chg="modSp addCm delCm">
        <pc:chgData name="Kutas-Hille, Janine" userId="S::jkutashille@deloitte.com::0788d68a-0adc-44ef-94ed-31189926cb8f" providerId="AD" clId="Web-{2B5CCD38-1C59-419B-9A39-494398352AA6}" dt="2020-12-01T18:41:30.867" v="672" actId="20577"/>
        <pc:sldMkLst>
          <pc:docMk/>
          <pc:sldMk cId="3148283714" sldId="8987"/>
        </pc:sldMkLst>
        <pc:spChg chg="mod">
          <ac:chgData name="Kutas-Hille, Janine" userId="S::jkutashille@deloitte.com::0788d68a-0adc-44ef-94ed-31189926cb8f" providerId="AD" clId="Web-{2B5CCD38-1C59-419B-9A39-494398352AA6}" dt="2020-12-01T18:41:30.867" v="672" actId="20577"/>
          <ac:spMkLst>
            <pc:docMk/>
            <pc:sldMk cId="3148283714" sldId="8987"/>
            <ac:spMk id="13" creationId="{00000000-0000-0000-0000-000000000000}"/>
          </ac:spMkLst>
        </pc:spChg>
      </pc:sldChg>
    </pc:docChg>
  </pc:docChgLst>
  <pc:docChgLst>
    <pc:chgData name="Chinda, Sowjanya" userId="S::schinda@deloitte.com::fc5c6afc-3b7c-40b3-bf0d-c9a2eae19122" providerId="AD" clId="Web-{6319532D-0AB1-4CCA-98AA-DED7295FDFF2}"/>
    <pc:docChg chg="modSld">
      <pc:chgData name="Chinda, Sowjanya" userId="S::schinda@deloitte.com::fc5c6afc-3b7c-40b3-bf0d-c9a2eae19122" providerId="AD" clId="Web-{6319532D-0AB1-4CCA-98AA-DED7295FDFF2}" dt="2021-07-13T06:23:53.707" v="245" actId="20577"/>
      <pc:docMkLst>
        <pc:docMk/>
      </pc:docMkLst>
      <pc:sldChg chg="modSp">
        <pc:chgData name="Chinda, Sowjanya" userId="S::schinda@deloitte.com::fc5c6afc-3b7c-40b3-bf0d-c9a2eae19122" providerId="AD" clId="Web-{6319532D-0AB1-4CCA-98AA-DED7295FDFF2}" dt="2021-07-13T06:05:39.396" v="119"/>
        <pc:sldMkLst>
          <pc:docMk/>
          <pc:sldMk cId="847777020" sldId="8791"/>
        </pc:sldMkLst>
        <pc:graphicFrameChg chg="mod modGraphic">
          <ac:chgData name="Chinda, Sowjanya" userId="S::schinda@deloitte.com::fc5c6afc-3b7c-40b3-bf0d-c9a2eae19122" providerId="AD" clId="Web-{6319532D-0AB1-4CCA-98AA-DED7295FDFF2}" dt="2021-07-13T06:05:39.396" v="119"/>
          <ac:graphicFrameMkLst>
            <pc:docMk/>
            <pc:sldMk cId="847777020" sldId="8791"/>
            <ac:graphicFrameMk id="2" creationId="{047A132D-3FAE-48C5-BD5F-C01213AAD2F4}"/>
          </ac:graphicFrameMkLst>
        </pc:graphicFrameChg>
      </pc:sldChg>
      <pc:sldChg chg="modSp">
        <pc:chgData name="Chinda, Sowjanya" userId="S::schinda@deloitte.com::fc5c6afc-3b7c-40b3-bf0d-c9a2eae19122" providerId="AD" clId="Web-{6319532D-0AB1-4CCA-98AA-DED7295FDFF2}" dt="2021-07-13T06:23:53.707" v="245" actId="20577"/>
        <pc:sldMkLst>
          <pc:docMk/>
          <pc:sldMk cId="4099786269" sldId="8812"/>
        </pc:sldMkLst>
        <pc:spChg chg="mod">
          <ac:chgData name="Chinda, Sowjanya" userId="S::schinda@deloitte.com::fc5c6afc-3b7c-40b3-bf0d-c9a2eae19122" providerId="AD" clId="Web-{6319532D-0AB1-4CCA-98AA-DED7295FDFF2}" dt="2021-07-13T06:23:53.707" v="245" actId="20577"/>
          <ac:spMkLst>
            <pc:docMk/>
            <pc:sldMk cId="4099786269" sldId="8812"/>
            <ac:spMk id="4" creationId="{00000000-0000-0000-0000-000000000000}"/>
          </ac:spMkLst>
        </pc:spChg>
        <pc:spChg chg="mod">
          <ac:chgData name="Chinda, Sowjanya" userId="S::schinda@deloitte.com::fc5c6afc-3b7c-40b3-bf0d-c9a2eae19122" providerId="AD" clId="Web-{6319532D-0AB1-4CCA-98AA-DED7295FDFF2}" dt="2021-07-13T06:11:10.373" v="120" actId="20577"/>
          <ac:spMkLst>
            <pc:docMk/>
            <pc:sldMk cId="4099786269" sldId="8812"/>
            <ac:spMk id="6" creationId="{7387E7E7-F260-4B44-B38C-69D8397159B1}"/>
          </ac:spMkLst>
        </pc:spChg>
      </pc:sldChg>
      <pc:sldChg chg="modSp">
        <pc:chgData name="Chinda, Sowjanya" userId="S::schinda@deloitte.com::fc5c6afc-3b7c-40b3-bf0d-c9a2eae19122" providerId="AD" clId="Web-{6319532D-0AB1-4CCA-98AA-DED7295FDFF2}" dt="2021-07-13T05:58:57.478" v="59"/>
        <pc:sldMkLst>
          <pc:docMk/>
          <pc:sldMk cId="53167518" sldId="9060"/>
        </pc:sldMkLst>
        <pc:graphicFrameChg chg="mod modGraphic">
          <ac:chgData name="Chinda, Sowjanya" userId="S::schinda@deloitte.com::fc5c6afc-3b7c-40b3-bf0d-c9a2eae19122" providerId="AD" clId="Web-{6319532D-0AB1-4CCA-98AA-DED7295FDFF2}" dt="2021-07-13T05:58:57.478" v="59"/>
          <ac:graphicFrameMkLst>
            <pc:docMk/>
            <pc:sldMk cId="53167518" sldId="9060"/>
            <ac:graphicFrameMk id="4" creationId="{FE664A44-2B52-48E1-842B-86373307A2AD}"/>
          </ac:graphicFrameMkLst>
        </pc:graphicFrameChg>
      </pc:sldChg>
    </pc:docChg>
  </pc:docChgLst>
  <pc:docChgLst>
    <pc:chgData name="S, Koyal Mithra" userId="S::koyas@deloitte.com::bcc1e5b6-47e2-483e-84cc-ab76fb017dbe" providerId="AD" clId="Web-{41F11A85-EE27-4CC9-89E4-07F0FD96FAE6}"/>
    <pc:docChg chg="modSld">
      <pc:chgData name="S, Koyal Mithra" userId="S::koyas@deloitte.com::bcc1e5b6-47e2-483e-84cc-ab76fb017dbe" providerId="AD" clId="Web-{41F11A85-EE27-4CC9-89E4-07F0FD96FAE6}" dt="2021-07-12T13:58:49.410" v="52"/>
      <pc:docMkLst>
        <pc:docMk/>
      </pc:docMkLst>
      <pc:sldChg chg="modSp">
        <pc:chgData name="S, Koyal Mithra" userId="S::koyas@deloitte.com::bcc1e5b6-47e2-483e-84cc-ab76fb017dbe" providerId="AD" clId="Web-{41F11A85-EE27-4CC9-89E4-07F0FD96FAE6}" dt="2021-07-12T13:58:49.410" v="52"/>
        <pc:sldMkLst>
          <pc:docMk/>
          <pc:sldMk cId="2246163936" sldId="8788"/>
        </pc:sldMkLst>
        <pc:graphicFrameChg chg="mod modGraphic">
          <ac:chgData name="S, Koyal Mithra" userId="S::koyas@deloitte.com::bcc1e5b6-47e2-483e-84cc-ab76fb017dbe" providerId="AD" clId="Web-{41F11A85-EE27-4CC9-89E4-07F0FD96FAE6}" dt="2021-07-12T13:58:49.410" v="52"/>
          <ac:graphicFrameMkLst>
            <pc:docMk/>
            <pc:sldMk cId="2246163936" sldId="8788"/>
            <ac:graphicFrameMk id="2" creationId="{DBFB0C01-4024-4DDF-BB08-6AA678F60360}"/>
          </ac:graphicFrameMkLst>
        </pc:graphicFrameChg>
      </pc:sldChg>
    </pc:docChg>
  </pc:docChgLst>
  <pc:docChgLst>
    <pc:chgData name="Adusumilli, Jyothi" userId="8c4b02f9-8cf8-44b0-8a08-470ec7725883" providerId="ADAL" clId="{1ECA0C73-D6C8-4A80-B70B-0B7CE054B825}"/>
    <pc:docChg chg="custSel modSld">
      <pc:chgData name="Adusumilli, Jyothi" userId="8c4b02f9-8cf8-44b0-8a08-470ec7725883" providerId="ADAL" clId="{1ECA0C73-D6C8-4A80-B70B-0B7CE054B825}" dt="2020-06-17T10:06:48.447" v="69" actId="20577"/>
      <pc:docMkLst>
        <pc:docMk/>
      </pc:docMkLst>
      <pc:sldChg chg="modSp">
        <pc:chgData name="Adusumilli, Jyothi" userId="8c4b02f9-8cf8-44b0-8a08-470ec7725883" providerId="ADAL" clId="{1ECA0C73-D6C8-4A80-B70B-0B7CE054B825}" dt="2020-06-17T10:06:48.447" v="69" actId="20577"/>
        <pc:sldMkLst>
          <pc:docMk/>
          <pc:sldMk cId="2940807522" sldId="8784"/>
        </pc:sldMkLst>
        <pc:spChg chg="mod">
          <ac:chgData name="Adusumilli, Jyothi" userId="8c4b02f9-8cf8-44b0-8a08-470ec7725883" providerId="ADAL" clId="{1ECA0C73-D6C8-4A80-B70B-0B7CE054B825}" dt="2020-06-17T10:06:48.447" v="69" actId="20577"/>
          <ac:spMkLst>
            <pc:docMk/>
            <pc:sldMk cId="2940807522" sldId="8784"/>
            <ac:spMk id="8" creationId="{3AD73DD1-CA9D-43A7-AE40-783F13202818}"/>
          </ac:spMkLst>
        </pc:spChg>
        <pc:spChg chg="mod">
          <ac:chgData name="Adusumilli, Jyothi" userId="8c4b02f9-8cf8-44b0-8a08-470ec7725883" providerId="ADAL" clId="{1ECA0C73-D6C8-4A80-B70B-0B7CE054B825}" dt="2020-06-17T09:58:58.367" v="63" actId="1076"/>
          <ac:spMkLst>
            <pc:docMk/>
            <pc:sldMk cId="2940807522" sldId="8784"/>
            <ac:spMk id="9" creationId="{07389087-CF20-4FC5-84F8-9D79CFDD7349}"/>
          </ac:spMkLst>
        </pc:spChg>
        <pc:spChg chg="mod">
          <ac:chgData name="Adusumilli, Jyothi" userId="8c4b02f9-8cf8-44b0-8a08-470ec7725883" providerId="ADAL" clId="{1ECA0C73-D6C8-4A80-B70B-0B7CE054B825}" dt="2020-06-17T10:04:15.198" v="68" actId="255"/>
          <ac:spMkLst>
            <pc:docMk/>
            <pc:sldMk cId="2940807522" sldId="8784"/>
            <ac:spMk id="10" creationId="{63C4D4D1-A06E-4F86-8E1F-FBE3DBFA51E8}"/>
          </ac:spMkLst>
        </pc:spChg>
        <pc:spChg chg="mod">
          <ac:chgData name="Adusumilli, Jyothi" userId="8c4b02f9-8cf8-44b0-8a08-470ec7725883" providerId="ADAL" clId="{1ECA0C73-D6C8-4A80-B70B-0B7CE054B825}" dt="2020-06-17T09:58:53.569" v="62" actId="1076"/>
          <ac:spMkLst>
            <pc:docMk/>
            <pc:sldMk cId="2940807522" sldId="8784"/>
            <ac:spMk id="11" creationId="{E073CBCA-BD37-4F56-AE47-957A7BF5A91A}"/>
          </ac:spMkLst>
        </pc:spChg>
        <pc:spChg chg="mod">
          <ac:chgData name="Adusumilli, Jyothi" userId="8c4b02f9-8cf8-44b0-8a08-470ec7725883" providerId="ADAL" clId="{1ECA0C73-D6C8-4A80-B70B-0B7CE054B825}" dt="2020-06-17T09:50:23.183" v="25" actId="20577"/>
          <ac:spMkLst>
            <pc:docMk/>
            <pc:sldMk cId="2940807522" sldId="8784"/>
            <ac:spMk id="17" creationId="{CAA4663B-072D-4594-83A1-1A582238E822}"/>
          </ac:spMkLst>
        </pc:spChg>
      </pc:sldChg>
    </pc:docChg>
  </pc:docChgLst>
  <pc:docChgLst>
    <pc:chgData name="Prakash, Ankur" userId="S::anprakash@deloitte.com::e5ec4ef6-a8ef-421f-ae1a-afd967453ffe" providerId="AD" clId="Web-{8B4FCD80-DF51-4660-9A76-10FBFB3B3C71}"/>
    <pc:docChg chg="modSld">
      <pc:chgData name="Prakash, Ankur" userId="S::anprakash@deloitte.com::e5ec4ef6-a8ef-421f-ae1a-afd967453ffe" providerId="AD" clId="Web-{8B4FCD80-DF51-4660-9A76-10FBFB3B3C71}" dt="2020-07-08T14:04:02.834" v="11" actId="20577"/>
      <pc:docMkLst>
        <pc:docMk/>
      </pc:docMkLst>
      <pc:sldChg chg="modSp">
        <pc:chgData name="Prakash, Ankur" userId="S::anprakash@deloitte.com::e5ec4ef6-a8ef-421f-ae1a-afd967453ffe" providerId="AD" clId="Web-{8B4FCD80-DF51-4660-9A76-10FBFB3B3C71}" dt="2020-07-08T14:04:02.834" v="11" actId="20577"/>
        <pc:sldMkLst>
          <pc:docMk/>
          <pc:sldMk cId="3924100793" sldId="8832"/>
        </pc:sldMkLst>
        <pc:spChg chg="mod">
          <ac:chgData name="Prakash, Ankur" userId="S::anprakash@deloitte.com::e5ec4ef6-a8ef-421f-ae1a-afd967453ffe" providerId="AD" clId="Web-{8B4FCD80-DF51-4660-9A76-10FBFB3B3C71}" dt="2020-07-08T14:04:02.834" v="11" actId="20577"/>
          <ac:spMkLst>
            <pc:docMk/>
            <pc:sldMk cId="3924100793" sldId="8832"/>
            <ac:spMk id="7" creationId="{BD52B5DB-DDAB-4EC0-94A0-8CED04FAB517}"/>
          </ac:spMkLst>
        </pc:spChg>
      </pc:sldChg>
    </pc:docChg>
  </pc:docChgLst>
  <pc:docChgLst>
    <pc:chgData name="Rudraraju, Vijaya" userId="S::vijrudraraju@deloitte.com::106f6c26-77b2-4e0c-8472-1c142b7002a0" providerId="AD" clId="Web-{2B6AA0A1-30B5-4D59-86C4-164AFCDE9FA1}"/>
    <pc:docChg chg="modSld">
      <pc:chgData name="Rudraraju, Vijaya" userId="S::vijrudraraju@deloitte.com::106f6c26-77b2-4e0c-8472-1c142b7002a0" providerId="AD" clId="Web-{2B6AA0A1-30B5-4D59-86C4-164AFCDE9FA1}" dt="2021-03-23T04:04:43.417" v="27" actId="20577"/>
      <pc:docMkLst>
        <pc:docMk/>
      </pc:docMkLst>
      <pc:sldChg chg="modSp">
        <pc:chgData name="Rudraraju, Vijaya" userId="S::vijrudraraju@deloitte.com::106f6c26-77b2-4e0c-8472-1c142b7002a0" providerId="AD" clId="Web-{2B6AA0A1-30B5-4D59-86C4-164AFCDE9FA1}" dt="2021-03-23T04:04:43.417" v="27" actId="20577"/>
        <pc:sldMkLst>
          <pc:docMk/>
          <pc:sldMk cId="1686814665" sldId="9034"/>
        </pc:sldMkLst>
        <pc:spChg chg="mod">
          <ac:chgData name="Rudraraju, Vijaya" userId="S::vijrudraraju@deloitte.com::106f6c26-77b2-4e0c-8472-1c142b7002a0" providerId="AD" clId="Web-{2B6AA0A1-30B5-4D59-86C4-164AFCDE9FA1}" dt="2021-03-23T04:04:27.979" v="20" actId="20577"/>
          <ac:spMkLst>
            <pc:docMk/>
            <pc:sldMk cId="1686814665" sldId="9034"/>
            <ac:spMk id="8" creationId="{3AD73DD1-CA9D-43A7-AE40-783F13202818}"/>
          </ac:spMkLst>
        </pc:spChg>
        <pc:spChg chg="mod">
          <ac:chgData name="Rudraraju, Vijaya" userId="S::vijrudraraju@deloitte.com::106f6c26-77b2-4e0c-8472-1c142b7002a0" providerId="AD" clId="Web-{2B6AA0A1-30B5-4D59-86C4-164AFCDE9FA1}" dt="2021-03-23T04:03:41.242" v="14" actId="20577"/>
          <ac:spMkLst>
            <pc:docMk/>
            <pc:sldMk cId="1686814665" sldId="9034"/>
            <ac:spMk id="10" creationId="{63C4D4D1-A06E-4F86-8E1F-FBE3DBFA51E8}"/>
          </ac:spMkLst>
        </pc:spChg>
        <pc:spChg chg="mod">
          <ac:chgData name="Rudraraju, Vijaya" userId="S::vijrudraraju@deloitte.com::106f6c26-77b2-4e0c-8472-1c142b7002a0" providerId="AD" clId="Web-{2B6AA0A1-30B5-4D59-86C4-164AFCDE9FA1}" dt="2021-03-23T04:04:43.417" v="27" actId="20577"/>
          <ac:spMkLst>
            <pc:docMk/>
            <pc:sldMk cId="1686814665" sldId="9034"/>
            <ac:spMk id="13" creationId="{900D62B6-90C9-4A98-BD85-D27F78539001}"/>
          </ac:spMkLst>
        </pc:spChg>
      </pc:sldChg>
    </pc:docChg>
  </pc:docChgLst>
  <pc:docChgLst>
    <pc:chgData name="Jackman, Lauren" userId="S::ljackman@deloitte.com::ef96ab20-fb12-476c-a3e0-14bd051fc290" providerId="AD" clId="Web-{025DEEE0-4DB5-4D19-B8CE-3B4BB2882C7E}"/>
    <pc:docChg chg="delSld modSld modSection">
      <pc:chgData name="Jackman, Lauren" userId="S::ljackman@deloitte.com::ef96ab20-fb12-476c-a3e0-14bd051fc290" providerId="AD" clId="Web-{025DEEE0-4DB5-4D19-B8CE-3B4BB2882C7E}" dt="2021-03-22T18:46:39.705" v="2"/>
      <pc:docMkLst>
        <pc:docMk/>
      </pc:docMkLst>
      <pc:sldChg chg="addSp delSp modSp del">
        <pc:chgData name="Jackman, Lauren" userId="S::ljackman@deloitte.com::ef96ab20-fb12-476c-a3e0-14bd051fc290" providerId="AD" clId="Web-{025DEEE0-4DB5-4D19-B8CE-3B4BB2882C7E}" dt="2021-03-22T18:46:39.705" v="2"/>
        <pc:sldMkLst>
          <pc:docMk/>
          <pc:sldMk cId="3377722835" sldId="8772"/>
        </pc:sldMkLst>
        <pc:picChg chg="add del mod">
          <ac:chgData name="Jackman, Lauren" userId="S::ljackman@deloitte.com::ef96ab20-fb12-476c-a3e0-14bd051fc290" providerId="AD" clId="Web-{025DEEE0-4DB5-4D19-B8CE-3B4BB2882C7E}" dt="2021-03-22T18:46:35.564" v="1"/>
          <ac:picMkLst>
            <pc:docMk/>
            <pc:sldMk cId="3377722835" sldId="8772"/>
            <ac:picMk id="3" creationId="{FA8134FC-13A6-45AB-9594-359679A4573B}"/>
          </ac:picMkLst>
        </pc:picChg>
      </pc:sldChg>
    </pc:docChg>
  </pc:docChgLst>
  <pc:docChgLst>
    <pc:chgData name="Dhruvarao, Lakshmi" userId="S::ldhruvarao@deloitte.com::b75a9b00-dffc-4afc-8108-6bf6b4cc69f5" providerId="AD" clId="Web-{B3A82C6F-BD81-4AB9-9275-0C92772E6DE0}"/>
    <pc:docChg chg="modSld">
      <pc:chgData name="Dhruvarao, Lakshmi" userId="S::ldhruvarao@deloitte.com::b75a9b00-dffc-4afc-8108-6bf6b4cc69f5" providerId="AD" clId="Web-{B3A82C6F-BD81-4AB9-9275-0C92772E6DE0}" dt="2021-07-13T10:10:05.183" v="2"/>
      <pc:docMkLst>
        <pc:docMk/>
      </pc:docMkLst>
      <pc:sldChg chg="addSp delSp modSp">
        <pc:chgData name="Dhruvarao, Lakshmi" userId="S::ldhruvarao@deloitte.com::b75a9b00-dffc-4afc-8108-6bf6b4cc69f5" providerId="AD" clId="Web-{B3A82C6F-BD81-4AB9-9275-0C92772E6DE0}" dt="2021-07-13T10:10:05.183" v="2"/>
        <pc:sldMkLst>
          <pc:docMk/>
          <pc:sldMk cId="3038467007" sldId="9071"/>
        </pc:sldMkLst>
        <pc:spChg chg="del">
          <ac:chgData name="Dhruvarao, Lakshmi" userId="S::ldhruvarao@deloitte.com::b75a9b00-dffc-4afc-8108-6bf6b4cc69f5" providerId="AD" clId="Web-{B3A82C6F-BD81-4AB9-9275-0C92772E6DE0}" dt="2021-07-13T10:10:02.824" v="1"/>
          <ac:spMkLst>
            <pc:docMk/>
            <pc:sldMk cId="3038467007" sldId="9071"/>
            <ac:spMk id="5" creationId="{CD7683B5-1621-4D89-8E6F-CE80E37E93A5}"/>
          </ac:spMkLst>
        </pc:spChg>
        <pc:graphicFrameChg chg="del">
          <ac:chgData name="Dhruvarao, Lakshmi" userId="S::ldhruvarao@deloitte.com::b75a9b00-dffc-4afc-8108-6bf6b4cc69f5" providerId="AD" clId="Web-{B3A82C6F-BD81-4AB9-9275-0C92772E6DE0}" dt="2021-07-13T10:09:58.949" v="0"/>
          <ac:graphicFrameMkLst>
            <pc:docMk/>
            <pc:sldMk cId="3038467007" sldId="9071"/>
            <ac:graphicFrameMk id="2" creationId="{DBFB0C01-4024-4DDF-BB08-6AA678F60360}"/>
          </ac:graphicFrameMkLst>
        </pc:graphicFrameChg>
        <pc:graphicFrameChg chg="add mod">
          <ac:chgData name="Dhruvarao, Lakshmi" userId="S::ldhruvarao@deloitte.com::b75a9b00-dffc-4afc-8108-6bf6b4cc69f5" providerId="AD" clId="Web-{B3A82C6F-BD81-4AB9-9275-0C92772E6DE0}" dt="2021-07-13T10:10:05.183" v="2"/>
          <ac:graphicFrameMkLst>
            <pc:docMk/>
            <pc:sldMk cId="3038467007" sldId="9071"/>
            <ac:graphicFrameMk id="6" creationId="{F4CF8105-A30D-4E17-82FB-87C429670364}"/>
          </ac:graphicFrameMkLst>
        </pc:graphicFrameChg>
      </pc:sldChg>
    </pc:docChg>
  </pc:docChgLst>
  <pc:docChgLst>
    <pc:chgData name="Jivrajani, Dharini" userId="S::djivrajani@deloitte.com::9f28c9a6-e07b-4de5-8682-ac3f5c875595" providerId="AD" clId="Web-{C040180D-8895-421D-9E11-DC85565D13B3}"/>
    <pc:docChg chg="modSld">
      <pc:chgData name="Jivrajani, Dharini" userId="S::djivrajani@deloitte.com::9f28c9a6-e07b-4de5-8682-ac3f5c875595" providerId="AD" clId="Web-{C040180D-8895-421D-9E11-DC85565D13B3}" dt="2020-06-16T18:21:24.610" v="55"/>
      <pc:docMkLst>
        <pc:docMk/>
      </pc:docMkLst>
      <pc:sldChg chg="modSp">
        <pc:chgData name="Jivrajani, Dharini" userId="S::djivrajani@deloitte.com::9f28c9a6-e07b-4de5-8682-ac3f5c875595" providerId="AD" clId="Web-{C040180D-8895-421D-9E11-DC85565D13B3}" dt="2020-06-16T18:21:24.610" v="55"/>
        <pc:sldMkLst>
          <pc:docMk/>
          <pc:sldMk cId="3491360341" sldId="8786"/>
        </pc:sldMkLst>
        <pc:graphicFrameChg chg="mod modGraphic">
          <ac:chgData name="Jivrajani, Dharini" userId="S::djivrajani@deloitte.com::9f28c9a6-e07b-4de5-8682-ac3f5c875595" providerId="AD" clId="Web-{C040180D-8895-421D-9E11-DC85565D13B3}" dt="2020-06-16T18:21:24.610" v="55"/>
          <ac:graphicFrameMkLst>
            <pc:docMk/>
            <pc:sldMk cId="3491360341" sldId="8786"/>
            <ac:graphicFrameMk id="4" creationId="{FE664A44-2B52-48E1-842B-86373307A2AD}"/>
          </ac:graphicFrameMkLst>
        </pc:graphicFrameChg>
      </pc:sldChg>
    </pc:docChg>
  </pc:docChgLst>
  <pc:docChgLst>
    <pc:chgData name="Jivrajani, Dharini" userId="S::djivrajani@deloitte.com::9f28c9a6-e07b-4de5-8682-ac3f5c875595" providerId="AD" clId="Web-{C67AF531-B085-40A8-917E-ED1AB70E18C0}"/>
    <pc:docChg chg="modSld">
      <pc:chgData name="Jivrajani, Dharini" userId="S::djivrajani@deloitte.com::9f28c9a6-e07b-4de5-8682-ac3f5c875595" providerId="AD" clId="Web-{C67AF531-B085-40A8-917E-ED1AB70E18C0}" dt="2020-07-13T11:16:51.514" v="122"/>
      <pc:docMkLst>
        <pc:docMk/>
      </pc:docMkLst>
      <pc:sldChg chg="modSp">
        <pc:chgData name="Jivrajani, Dharini" userId="S::djivrajani@deloitte.com::9f28c9a6-e07b-4de5-8682-ac3f5c875595" providerId="AD" clId="Web-{C67AF531-B085-40A8-917E-ED1AB70E18C0}" dt="2020-07-13T11:16:51.514" v="122"/>
        <pc:sldMkLst>
          <pc:docMk/>
          <pc:sldMk cId="3377722835" sldId="8772"/>
        </pc:sldMkLst>
        <pc:graphicFrameChg chg="mod modGraphic">
          <ac:chgData name="Jivrajani, Dharini" userId="S::djivrajani@deloitte.com::9f28c9a6-e07b-4de5-8682-ac3f5c875595" providerId="AD" clId="Web-{C67AF531-B085-40A8-917E-ED1AB70E18C0}" dt="2020-07-13T11:16:51.514" v="122"/>
          <ac:graphicFrameMkLst>
            <pc:docMk/>
            <pc:sldMk cId="3377722835" sldId="8772"/>
            <ac:graphicFrameMk id="2" creationId="{7D8F2493-A0C4-4740-A16F-E066BC79CDD8}"/>
          </ac:graphicFrameMkLst>
        </pc:graphicFrameChg>
      </pc:sldChg>
    </pc:docChg>
  </pc:docChgLst>
  <pc:docChgLst>
    <pc:chgData name="Hamilton, Benedict" userId="S::benhamilton@deloitte.com::2d0b5eb9-705c-4e00-86df-cc05939905b7" providerId="AD" clId="Web-{088A97A6-22EA-4632-A5EF-B31D096F74C9}"/>
    <pc:docChg chg="modSld">
      <pc:chgData name="Hamilton, Benedict" userId="S::benhamilton@deloitte.com::2d0b5eb9-705c-4e00-86df-cc05939905b7" providerId="AD" clId="Web-{088A97A6-22EA-4632-A5EF-B31D096F74C9}" dt="2020-12-01T13:36:14.660" v="2" actId="1076"/>
      <pc:docMkLst>
        <pc:docMk/>
      </pc:docMkLst>
      <pc:sldChg chg="modSp">
        <pc:chgData name="Hamilton, Benedict" userId="S::benhamilton@deloitte.com::2d0b5eb9-705c-4e00-86df-cc05939905b7" providerId="AD" clId="Web-{088A97A6-22EA-4632-A5EF-B31D096F74C9}" dt="2020-12-01T13:36:14.660" v="2" actId="1076"/>
        <pc:sldMkLst>
          <pc:docMk/>
          <pc:sldMk cId="1851280809" sldId="2427"/>
        </pc:sldMkLst>
        <pc:cxnChg chg="mod">
          <ac:chgData name="Hamilton, Benedict" userId="S::benhamilton@deloitte.com::2d0b5eb9-705c-4e00-86df-cc05939905b7" providerId="AD" clId="Web-{088A97A6-22EA-4632-A5EF-B31D096F74C9}" dt="2020-12-01T13:36:07.645" v="1" actId="1076"/>
          <ac:cxnSpMkLst>
            <pc:docMk/>
            <pc:sldMk cId="1851280809" sldId="2427"/>
            <ac:cxnSpMk id="27" creationId="{5C03335F-893E-48C1-AB44-7704AE87A5B1}"/>
          </ac:cxnSpMkLst>
        </pc:cxnChg>
        <pc:cxnChg chg="mod">
          <ac:chgData name="Hamilton, Benedict" userId="S::benhamilton@deloitte.com::2d0b5eb9-705c-4e00-86df-cc05939905b7" providerId="AD" clId="Web-{088A97A6-22EA-4632-A5EF-B31D096F74C9}" dt="2020-12-01T13:36:14.660" v="2" actId="1076"/>
          <ac:cxnSpMkLst>
            <pc:docMk/>
            <pc:sldMk cId="1851280809" sldId="2427"/>
            <ac:cxnSpMk id="35" creationId="{69191D01-FAEE-4D7C-95A5-4CD36FBEFAA7}"/>
          </ac:cxnSpMkLst>
        </pc:cxnChg>
      </pc:sldChg>
    </pc:docChg>
  </pc:docChgLst>
  <pc:docChgLst>
    <pc:chgData name="Eng, Debbie" userId="286d73c1-a15a-4753-a336-00ed9074670a" providerId="ADAL" clId="{CD9433B9-CA71-4F90-AAE5-4CAC013EC6C5}"/>
    <pc:docChg chg="custSel modSld">
      <pc:chgData name="Eng, Debbie" userId="286d73c1-a15a-4753-a336-00ed9074670a" providerId="ADAL" clId="{CD9433B9-CA71-4F90-AAE5-4CAC013EC6C5}" dt="2021-07-10T14:19:29.779" v="1288" actId="6549"/>
      <pc:docMkLst>
        <pc:docMk/>
      </pc:docMkLst>
      <pc:sldChg chg="modSp mod modAnim">
        <pc:chgData name="Eng, Debbie" userId="286d73c1-a15a-4753-a336-00ed9074670a" providerId="ADAL" clId="{CD9433B9-CA71-4F90-AAE5-4CAC013EC6C5}" dt="2021-07-10T14:19:29.779" v="1288" actId="6549"/>
        <pc:sldMkLst>
          <pc:docMk/>
          <pc:sldMk cId="1078693895" sldId="268"/>
        </pc:sldMkLst>
        <pc:spChg chg="mod">
          <ac:chgData name="Eng, Debbie" userId="286d73c1-a15a-4753-a336-00ed9074670a" providerId="ADAL" clId="{CD9433B9-CA71-4F90-AAE5-4CAC013EC6C5}" dt="2021-07-10T14:19:29.779" v="1288" actId="6549"/>
          <ac:spMkLst>
            <pc:docMk/>
            <pc:sldMk cId="1078693895" sldId="268"/>
            <ac:spMk id="20" creationId="{97F95232-FAF7-4FBD-A394-067DD3DBBE84}"/>
          </ac:spMkLst>
        </pc:spChg>
        <pc:spChg chg="mod">
          <ac:chgData name="Eng, Debbie" userId="286d73c1-a15a-4753-a336-00ed9074670a" providerId="ADAL" clId="{CD9433B9-CA71-4F90-AAE5-4CAC013EC6C5}" dt="2021-07-10T14:07:54.148" v="1262" actId="20577"/>
          <ac:spMkLst>
            <pc:docMk/>
            <pc:sldMk cId="1078693895" sldId="268"/>
            <ac:spMk id="22" creationId="{E4EEB0BB-CEA4-435D-930A-B95795FCC5A9}"/>
          </ac:spMkLst>
        </pc:spChg>
      </pc:sldChg>
      <pc:sldChg chg="modSp mod">
        <pc:chgData name="Eng, Debbie" userId="286d73c1-a15a-4753-a336-00ed9074670a" providerId="ADAL" clId="{CD9433B9-CA71-4F90-AAE5-4CAC013EC6C5}" dt="2021-07-10T14:03:39.385" v="1234" actId="20577"/>
        <pc:sldMkLst>
          <pc:docMk/>
          <pc:sldMk cId="847777020" sldId="8791"/>
        </pc:sldMkLst>
        <pc:spChg chg="mod">
          <ac:chgData name="Eng, Debbie" userId="286d73c1-a15a-4753-a336-00ed9074670a" providerId="ADAL" clId="{CD9433B9-CA71-4F90-AAE5-4CAC013EC6C5}" dt="2021-07-10T14:03:39.385" v="1234" actId="20577"/>
          <ac:spMkLst>
            <pc:docMk/>
            <pc:sldMk cId="847777020" sldId="8791"/>
            <ac:spMk id="4" creationId="{2956E5C3-5937-43E8-8A96-5606BB4B6A36}"/>
          </ac:spMkLst>
        </pc:spChg>
        <pc:graphicFrameChg chg="mod modGraphic">
          <ac:chgData name="Eng, Debbie" userId="286d73c1-a15a-4753-a336-00ed9074670a" providerId="ADAL" clId="{CD9433B9-CA71-4F90-AAE5-4CAC013EC6C5}" dt="2021-07-10T14:03:01.574" v="1221"/>
          <ac:graphicFrameMkLst>
            <pc:docMk/>
            <pc:sldMk cId="847777020" sldId="8791"/>
            <ac:graphicFrameMk id="2" creationId="{047A132D-3FAE-48C5-BD5F-C01213AAD2F4}"/>
          </ac:graphicFrameMkLst>
        </pc:graphicFrameChg>
      </pc:sldChg>
      <pc:sldChg chg="modSp mod">
        <pc:chgData name="Eng, Debbie" userId="286d73c1-a15a-4753-a336-00ed9074670a" providerId="ADAL" clId="{CD9433B9-CA71-4F90-AAE5-4CAC013EC6C5}" dt="2021-06-29T17:47:26.871" v="0" actId="1076"/>
        <pc:sldMkLst>
          <pc:docMk/>
          <pc:sldMk cId="1983421167" sldId="9059"/>
        </pc:sldMkLst>
        <pc:spChg chg="mod">
          <ac:chgData name="Eng, Debbie" userId="286d73c1-a15a-4753-a336-00ed9074670a" providerId="ADAL" clId="{CD9433B9-CA71-4F90-AAE5-4CAC013EC6C5}" dt="2021-06-29T17:47:26.871" v="0" actId="1076"/>
          <ac:spMkLst>
            <pc:docMk/>
            <pc:sldMk cId="1983421167" sldId="9059"/>
            <ac:spMk id="3" creationId="{A1AE85E8-A8FC-49F4-92AB-44FB9221F9F9}"/>
          </ac:spMkLst>
        </pc:spChg>
      </pc:sldChg>
    </pc:docChg>
  </pc:docChgLst>
  <pc:docChgLst>
    <pc:chgData name="Kommatreddy, Chaitanya" userId="44a1469f-b03c-453c-8c31-90f831355cdb" providerId="ADAL" clId="{55B5C777-FBCC-4A7F-9D1D-CD739C9F1450}"/>
    <pc:docChg chg="modSld">
      <pc:chgData name="Kommatreddy, Chaitanya" userId="44a1469f-b03c-453c-8c31-90f831355cdb" providerId="ADAL" clId="{55B5C777-FBCC-4A7F-9D1D-CD739C9F1450}" dt="2021-06-03T15:35:41.716" v="2" actId="1076"/>
      <pc:docMkLst>
        <pc:docMk/>
      </pc:docMkLst>
      <pc:sldChg chg="modSp">
        <pc:chgData name="Kommatreddy, Chaitanya" userId="44a1469f-b03c-453c-8c31-90f831355cdb" providerId="ADAL" clId="{55B5C777-FBCC-4A7F-9D1D-CD739C9F1450}" dt="2021-06-03T15:35:41.716" v="2" actId="1076"/>
        <pc:sldMkLst>
          <pc:docMk/>
          <pc:sldMk cId="2838729022" sldId="273"/>
        </pc:sldMkLst>
        <pc:spChg chg="mod">
          <ac:chgData name="Kommatreddy, Chaitanya" userId="44a1469f-b03c-453c-8c31-90f831355cdb" providerId="ADAL" clId="{55B5C777-FBCC-4A7F-9D1D-CD739C9F1450}" dt="2021-06-03T15:35:41.716" v="2" actId="1076"/>
          <ac:spMkLst>
            <pc:docMk/>
            <pc:sldMk cId="2838729022" sldId="273"/>
            <ac:spMk id="19" creationId="{64BD5ACF-7C7C-4E53-AB48-B6705CDBDF70}"/>
          </ac:spMkLst>
        </pc:spChg>
      </pc:sldChg>
      <pc:sldChg chg="modSp">
        <pc:chgData name="Kommatreddy, Chaitanya" userId="44a1469f-b03c-453c-8c31-90f831355cdb" providerId="ADAL" clId="{55B5C777-FBCC-4A7F-9D1D-CD739C9F1450}" dt="2021-06-03T15:33:38.924" v="1" actId="1076"/>
        <pc:sldMkLst>
          <pc:docMk/>
          <pc:sldMk cId="1298414651" sldId="274"/>
        </pc:sldMkLst>
        <pc:spChg chg="mod">
          <ac:chgData name="Kommatreddy, Chaitanya" userId="44a1469f-b03c-453c-8c31-90f831355cdb" providerId="ADAL" clId="{55B5C777-FBCC-4A7F-9D1D-CD739C9F1450}" dt="2021-06-03T15:33:38.924" v="1" actId="1076"/>
          <ac:spMkLst>
            <pc:docMk/>
            <pc:sldMk cId="1298414651" sldId="274"/>
            <ac:spMk id="6" creationId="{BAFDF251-1B3D-4FC1-A68C-2260D8AA4EF7}"/>
          </ac:spMkLst>
        </pc:spChg>
        <pc:picChg chg="mod">
          <ac:chgData name="Kommatreddy, Chaitanya" userId="44a1469f-b03c-453c-8c31-90f831355cdb" providerId="ADAL" clId="{55B5C777-FBCC-4A7F-9D1D-CD739C9F1450}" dt="2021-06-03T15:31:12.776" v="0" actId="1076"/>
          <ac:picMkLst>
            <pc:docMk/>
            <pc:sldMk cId="1298414651" sldId="274"/>
            <ac:picMk id="4" creationId="{DF6B8ACF-BD03-4479-A703-3358E93E937F}"/>
          </ac:picMkLst>
        </pc:picChg>
        <pc:picChg chg="mod">
          <ac:chgData name="Kommatreddy, Chaitanya" userId="44a1469f-b03c-453c-8c31-90f831355cdb" providerId="ADAL" clId="{55B5C777-FBCC-4A7F-9D1D-CD739C9F1450}" dt="2021-06-03T15:33:38.924" v="1" actId="1076"/>
          <ac:picMkLst>
            <pc:docMk/>
            <pc:sldMk cId="1298414651" sldId="274"/>
            <ac:picMk id="15" creationId="{0E5390D4-31E4-42E1-B939-296F8108BCAB}"/>
          </ac:picMkLst>
        </pc:picChg>
      </pc:sldChg>
    </pc:docChg>
  </pc:docChgLst>
  <pc:docChgLst>
    <pc:chgData name="Zhong, Rose" userId="S::rozhong@deloitte.com::91b20ec7-2220-4f96-9b07-259aafca34b3" providerId="AD" clId="Web-{88791F1D-9A45-4F1A-B821-C8193A565EC3}"/>
    <pc:docChg chg="modSld">
      <pc:chgData name="Zhong, Rose" userId="S::rozhong@deloitte.com::91b20ec7-2220-4f96-9b07-259aafca34b3" providerId="AD" clId="Web-{88791F1D-9A45-4F1A-B821-C8193A565EC3}" dt="2021-06-28T14:43:16.143" v="21" actId="20577"/>
      <pc:docMkLst>
        <pc:docMk/>
      </pc:docMkLst>
      <pc:sldChg chg="modSp">
        <pc:chgData name="Zhong, Rose" userId="S::rozhong@deloitte.com::91b20ec7-2220-4f96-9b07-259aafca34b3" providerId="AD" clId="Web-{88791F1D-9A45-4F1A-B821-C8193A565EC3}" dt="2021-06-28T14:43:16.143" v="21" actId="20577"/>
        <pc:sldMkLst>
          <pc:docMk/>
          <pc:sldMk cId="678701893" sldId="9006"/>
        </pc:sldMkLst>
        <pc:spChg chg="mod">
          <ac:chgData name="Zhong, Rose" userId="S::rozhong@deloitte.com::91b20ec7-2220-4f96-9b07-259aafca34b3" providerId="AD" clId="Web-{88791F1D-9A45-4F1A-B821-C8193A565EC3}" dt="2021-06-28T14:43:16.143" v="21" actId="20577"/>
          <ac:spMkLst>
            <pc:docMk/>
            <pc:sldMk cId="678701893" sldId="9006"/>
            <ac:spMk id="7" creationId="{23BFA5EA-56E0-451D-8744-A431A8B9C40E}"/>
          </ac:spMkLst>
        </pc:spChg>
      </pc:sldChg>
    </pc:docChg>
  </pc:docChgLst>
  <pc:docChgLst>
    <pc:chgData name="Khisty, Mukund" userId="97a787a6-0eca-4f26-b388-c38696e1afb6" providerId="ADAL" clId="{96EA5AEE-55F7-8E46-9DF9-928719B790BE}"/>
    <pc:docChg chg="addSld delSld modSld modSection">
      <pc:chgData name="Khisty, Mukund" userId="97a787a6-0eca-4f26-b388-c38696e1afb6" providerId="ADAL" clId="{96EA5AEE-55F7-8E46-9DF9-928719B790BE}" dt="2020-07-14T10:57:19.585" v="60" actId="1076"/>
      <pc:docMkLst>
        <pc:docMk/>
      </pc:docMkLst>
      <pc:sldChg chg="modSp mod">
        <pc:chgData name="Khisty, Mukund" userId="97a787a6-0eca-4f26-b388-c38696e1afb6" providerId="ADAL" clId="{96EA5AEE-55F7-8E46-9DF9-928719B790BE}" dt="2020-07-14T10:53:08.135" v="29" actId="255"/>
        <pc:sldMkLst>
          <pc:docMk/>
          <pc:sldMk cId="3661564267" sldId="257"/>
        </pc:sldMkLst>
        <pc:spChg chg="mod">
          <ac:chgData name="Khisty, Mukund" userId="97a787a6-0eca-4f26-b388-c38696e1afb6" providerId="ADAL" clId="{96EA5AEE-55F7-8E46-9DF9-928719B790BE}" dt="2020-07-14T10:53:08.135" v="29" actId="255"/>
          <ac:spMkLst>
            <pc:docMk/>
            <pc:sldMk cId="3661564267" sldId="257"/>
            <ac:spMk id="4" creationId="{00000000-0000-0000-0000-000000000000}"/>
          </ac:spMkLst>
        </pc:spChg>
      </pc:sldChg>
      <pc:sldChg chg="del">
        <pc:chgData name="Khisty, Mukund" userId="97a787a6-0eca-4f26-b388-c38696e1afb6" providerId="ADAL" clId="{96EA5AEE-55F7-8E46-9DF9-928719B790BE}" dt="2020-07-09T13:10:37.246" v="1" actId="2696"/>
        <pc:sldMkLst>
          <pc:docMk/>
          <pc:sldMk cId="568126937" sldId="8777"/>
        </pc:sldMkLst>
      </pc:sldChg>
      <pc:sldChg chg="modSp mod">
        <pc:chgData name="Khisty, Mukund" userId="97a787a6-0eca-4f26-b388-c38696e1afb6" providerId="ADAL" clId="{96EA5AEE-55F7-8E46-9DF9-928719B790BE}" dt="2020-07-14T10:57:19.585" v="60" actId="1076"/>
        <pc:sldMkLst>
          <pc:docMk/>
          <pc:sldMk cId="1954271784" sldId="8811"/>
        </pc:sldMkLst>
        <pc:spChg chg="mod">
          <ac:chgData name="Khisty, Mukund" userId="97a787a6-0eca-4f26-b388-c38696e1afb6" providerId="ADAL" clId="{96EA5AEE-55F7-8E46-9DF9-928719B790BE}" dt="2020-07-14T10:57:19.585" v="60" actId="1076"/>
          <ac:spMkLst>
            <pc:docMk/>
            <pc:sldMk cId="1954271784" sldId="8811"/>
            <ac:spMk id="4" creationId="{58C9766A-F6D4-426B-B772-1B9A9FCA872B}"/>
          </ac:spMkLst>
        </pc:spChg>
      </pc:sldChg>
      <pc:sldChg chg="add setBg">
        <pc:chgData name="Khisty, Mukund" userId="97a787a6-0eca-4f26-b388-c38696e1afb6" providerId="ADAL" clId="{96EA5AEE-55F7-8E46-9DF9-928719B790BE}" dt="2020-07-09T13:10:33.881" v="0"/>
        <pc:sldMkLst>
          <pc:docMk/>
          <pc:sldMk cId="3339402729" sldId="8973"/>
        </pc:sldMkLst>
      </pc:sldChg>
      <pc:sldChg chg="add">
        <pc:chgData name="Khisty, Mukund" userId="97a787a6-0eca-4f26-b388-c38696e1afb6" providerId="ADAL" clId="{96EA5AEE-55F7-8E46-9DF9-928719B790BE}" dt="2020-07-09T13:10:33.881" v="0"/>
        <pc:sldMkLst>
          <pc:docMk/>
          <pc:sldMk cId="2797225936" sldId="8974"/>
        </pc:sldMkLst>
      </pc:sldChg>
      <pc:sldChg chg="addSp delSp modSp mod">
        <pc:chgData name="Khisty, Mukund" userId="97a787a6-0eca-4f26-b388-c38696e1afb6" providerId="ADAL" clId="{96EA5AEE-55F7-8E46-9DF9-928719B790BE}" dt="2020-07-14T10:56:01.618" v="57" actId="1037"/>
        <pc:sldMkLst>
          <pc:docMk/>
          <pc:sldMk cId="2296560862" sldId="8975"/>
        </pc:sldMkLst>
        <pc:spChg chg="mod">
          <ac:chgData name="Khisty, Mukund" userId="97a787a6-0eca-4f26-b388-c38696e1afb6" providerId="ADAL" clId="{96EA5AEE-55F7-8E46-9DF9-928719B790BE}" dt="2020-07-14T10:56:01.618" v="57" actId="1037"/>
          <ac:spMkLst>
            <pc:docMk/>
            <pc:sldMk cId="2296560862" sldId="8975"/>
            <ac:spMk id="2" creationId="{3413F0A9-3085-4E59-B24B-B3E6DE51D14E}"/>
          </ac:spMkLst>
        </pc:spChg>
        <pc:spChg chg="mod">
          <ac:chgData name="Khisty, Mukund" userId="97a787a6-0eca-4f26-b388-c38696e1afb6" providerId="ADAL" clId="{96EA5AEE-55F7-8E46-9DF9-928719B790BE}" dt="2020-07-14T10:56:01.618" v="57" actId="1037"/>
          <ac:spMkLst>
            <pc:docMk/>
            <pc:sldMk cId="2296560862" sldId="8975"/>
            <ac:spMk id="4" creationId="{7EF24648-5440-4589-919F-861A0E74EBEE}"/>
          </ac:spMkLst>
        </pc:spChg>
        <pc:spChg chg="add del mod">
          <ac:chgData name="Khisty, Mukund" userId="97a787a6-0eca-4f26-b388-c38696e1afb6" providerId="ADAL" clId="{96EA5AEE-55F7-8E46-9DF9-928719B790BE}" dt="2020-07-14T10:55:50.454" v="48"/>
          <ac:spMkLst>
            <pc:docMk/>
            <pc:sldMk cId="2296560862" sldId="8975"/>
            <ac:spMk id="5" creationId="{E7373F00-7D99-CF44-9E4E-E8C8704365EF}"/>
          </ac:spMkLst>
        </pc:spChg>
      </pc:sldChg>
    </pc:docChg>
  </pc:docChgLst>
  <pc:docChgLst>
    <pc:chgData name="Jivrajani, Dharini" userId="S::djivrajani@deloitte.com::9f28c9a6-e07b-4de5-8682-ac3f5c875595" providerId="AD" clId="Web-{877B5A35-3EEF-4401-8F02-C08AB12F325F}"/>
    <pc:docChg chg="modSld">
      <pc:chgData name="Jivrajani, Dharini" userId="S::djivrajani@deloitte.com::9f28c9a6-e07b-4de5-8682-ac3f5c875595" providerId="AD" clId="Web-{877B5A35-3EEF-4401-8F02-C08AB12F325F}" dt="2020-07-13T15:52:13.828" v="1"/>
      <pc:docMkLst>
        <pc:docMk/>
      </pc:docMkLst>
      <pc:sldChg chg="modSp">
        <pc:chgData name="Jivrajani, Dharini" userId="S::djivrajani@deloitte.com::9f28c9a6-e07b-4de5-8682-ac3f5c875595" providerId="AD" clId="Web-{877B5A35-3EEF-4401-8F02-C08AB12F325F}" dt="2020-07-13T15:52:13.828" v="1"/>
        <pc:sldMkLst>
          <pc:docMk/>
          <pc:sldMk cId="1369081146" sldId="8773"/>
        </pc:sldMkLst>
        <pc:graphicFrameChg chg="mod modGraphic">
          <ac:chgData name="Jivrajani, Dharini" userId="S::djivrajani@deloitte.com::9f28c9a6-e07b-4de5-8682-ac3f5c875595" providerId="AD" clId="Web-{877B5A35-3EEF-4401-8F02-C08AB12F325F}" dt="2020-07-13T15:52:13.828" v="1"/>
          <ac:graphicFrameMkLst>
            <pc:docMk/>
            <pc:sldMk cId="1369081146" sldId="8773"/>
            <ac:graphicFrameMk id="4" creationId="{2AAAC88F-F4B4-4FE3-956E-C3F806D71324}"/>
          </ac:graphicFrameMkLst>
        </pc:graphicFrameChg>
      </pc:sldChg>
    </pc:docChg>
  </pc:docChgLst>
  <pc:docChgLst>
    <pc:chgData name="Hamilton, Benedict" userId="S::benhamilton@deloitte.com::2d0b5eb9-705c-4e00-86df-cc05939905b7" providerId="AD" clId="Web-{0B301B2C-47D1-4C63-944D-374DCF93240A}"/>
    <pc:docChg chg="modSld">
      <pc:chgData name="Hamilton, Benedict" userId="S::benhamilton@deloitte.com::2d0b5eb9-705c-4e00-86df-cc05939905b7" providerId="AD" clId="Web-{0B301B2C-47D1-4C63-944D-374DCF93240A}" dt="2020-12-01T13:31:34.043" v="1"/>
      <pc:docMkLst>
        <pc:docMk/>
      </pc:docMkLst>
      <pc:sldChg chg="addSp delSp modSp">
        <pc:chgData name="Hamilton, Benedict" userId="S::benhamilton@deloitte.com::2d0b5eb9-705c-4e00-86df-cc05939905b7" providerId="AD" clId="Web-{0B301B2C-47D1-4C63-944D-374DCF93240A}" dt="2020-12-01T13:31:34.043" v="1"/>
        <pc:sldMkLst>
          <pc:docMk/>
          <pc:sldMk cId="617162357" sldId="8972"/>
        </pc:sldMkLst>
        <pc:picChg chg="add del mod">
          <ac:chgData name="Hamilton, Benedict" userId="S::benhamilton@deloitte.com::2d0b5eb9-705c-4e00-86df-cc05939905b7" providerId="AD" clId="Web-{0B301B2C-47D1-4C63-944D-374DCF93240A}" dt="2020-12-01T13:31:34.043" v="1"/>
          <ac:picMkLst>
            <pc:docMk/>
            <pc:sldMk cId="617162357" sldId="8972"/>
            <ac:picMk id="3" creationId="{8D944DFE-DD8D-4196-8081-502D1A311365}"/>
          </ac:picMkLst>
        </pc:picChg>
      </pc:sldChg>
    </pc:docChg>
  </pc:docChgLst>
  <pc:docChgLst>
    <pc:chgData name="Rudraraju, Vijaya" userId="S::vijrudraraju@deloitte.com::106f6c26-77b2-4e0c-8472-1c142b7002a0" providerId="AD" clId="Web-{B6F713BF-B47C-412F-95D7-AD27B1893037}"/>
    <pc:docChg chg="modSld">
      <pc:chgData name="Rudraraju, Vijaya" userId="S::vijrudraraju@deloitte.com::106f6c26-77b2-4e0c-8472-1c142b7002a0" providerId="AD" clId="Web-{B6F713BF-B47C-412F-95D7-AD27B1893037}" dt="2021-06-24T14:56:27.409" v="15"/>
      <pc:docMkLst>
        <pc:docMk/>
      </pc:docMkLst>
      <pc:sldChg chg="modSp">
        <pc:chgData name="Rudraraju, Vijaya" userId="S::vijrudraraju@deloitte.com::106f6c26-77b2-4e0c-8472-1c142b7002a0" providerId="AD" clId="Web-{B6F713BF-B47C-412F-95D7-AD27B1893037}" dt="2021-06-24T14:56:27.409" v="15"/>
        <pc:sldMkLst>
          <pc:docMk/>
          <pc:sldMk cId="3491360341" sldId="8786"/>
        </pc:sldMkLst>
        <pc:graphicFrameChg chg="mod modGraphic">
          <ac:chgData name="Rudraraju, Vijaya" userId="S::vijrudraraju@deloitte.com::106f6c26-77b2-4e0c-8472-1c142b7002a0" providerId="AD" clId="Web-{B6F713BF-B47C-412F-95D7-AD27B1893037}" dt="2021-06-24T14:56:27.409" v="15"/>
          <ac:graphicFrameMkLst>
            <pc:docMk/>
            <pc:sldMk cId="3491360341" sldId="8786"/>
            <ac:graphicFrameMk id="4" creationId="{FE664A44-2B52-48E1-842B-86373307A2AD}"/>
          </ac:graphicFrameMkLst>
        </pc:graphicFrameChg>
      </pc:sldChg>
    </pc:docChg>
  </pc:docChgLst>
  <pc:docChgLst>
    <pc:chgData name="Chinda, Sowjanya" userId="S::schinda@deloitte.com::fc5c6afc-3b7c-40b3-bf0d-c9a2eae19122" providerId="AD" clId="Web-{E32715FD-A73E-41CE-9628-793379A1BEAD}"/>
    <pc:docChg chg="modSld">
      <pc:chgData name="Chinda, Sowjanya" userId="S::schinda@deloitte.com::fc5c6afc-3b7c-40b3-bf0d-c9a2eae19122" providerId="AD" clId="Web-{E32715FD-A73E-41CE-9628-793379A1BEAD}" dt="2021-07-13T12:55:39.083" v="85" actId="20577"/>
      <pc:docMkLst>
        <pc:docMk/>
      </pc:docMkLst>
      <pc:sldChg chg="modSp">
        <pc:chgData name="Chinda, Sowjanya" userId="S::schinda@deloitte.com::fc5c6afc-3b7c-40b3-bf0d-c9a2eae19122" providerId="AD" clId="Web-{E32715FD-A73E-41CE-9628-793379A1BEAD}" dt="2021-07-13T12:55:39.083" v="85" actId="20577"/>
        <pc:sldMkLst>
          <pc:docMk/>
          <pc:sldMk cId="4099786269" sldId="8812"/>
        </pc:sldMkLst>
        <pc:spChg chg="mod">
          <ac:chgData name="Chinda, Sowjanya" userId="S::schinda@deloitte.com::fc5c6afc-3b7c-40b3-bf0d-c9a2eae19122" providerId="AD" clId="Web-{E32715FD-A73E-41CE-9628-793379A1BEAD}" dt="2021-07-13T12:55:39.083" v="85" actId="20577"/>
          <ac:spMkLst>
            <pc:docMk/>
            <pc:sldMk cId="4099786269" sldId="8812"/>
            <ac:spMk id="4" creationId="{00000000-0000-0000-0000-000000000000}"/>
          </ac:spMkLst>
        </pc:spChg>
        <pc:spChg chg="mod">
          <ac:chgData name="Chinda, Sowjanya" userId="S::schinda@deloitte.com::fc5c6afc-3b7c-40b3-bf0d-c9a2eae19122" providerId="AD" clId="Web-{E32715FD-A73E-41CE-9628-793379A1BEAD}" dt="2021-07-13T12:54:52.005" v="75" actId="20577"/>
          <ac:spMkLst>
            <pc:docMk/>
            <pc:sldMk cId="4099786269" sldId="8812"/>
            <ac:spMk id="6" creationId="{7387E7E7-F260-4B44-B38C-69D8397159B1}"/>
          </ac:spMkLst>
        </pc:spChg>
      </pc:sldChg>
    </pc:docChg>
  </pc:docChgLst>
  <pc:docChgLst>
    <pc:chgData name="Lakshmi Kalyan Chakravart, Lakshmi" userId="S::llakshmikalyancha@deloitte.com::59aadd41-0ad0-497c-abc3-cdea2ef388fe" providerId="AD" clId="Web-{FE6C02DB-2E8F-47F2-9D49-06EA3C6DE243}"/>
    <pc:docChg chg="modSld">
      <pc:chgData name="Lakshmi Kalyan Chakravart, Lakshmi" userId="S::llakshmikalyancha@deloitte.com::59aadd41-0ad0-497c-abc3-cdea2ef388fe" providerId="AD" clId="Web-{FE6C02DB-2E8F-47F2-9D49-06EA3C6DE243}" dt="2021-07-13T09:38:56.147" v="29" actId="1076"/>
      <pc:docMkLst>
        <pc:docMk/>
      </pc:docMkLst>
      <pc:sldChg chg="addSp modSp">
        <pc:chgData name="Lakshmi Kalyan Chakravart, Lakshmi" userId="S::llakshmikalyancha@deloitte.com::59aadd41-0ad0-497c-abc3-cdea2ef388fe" providerId="AD" clId="Web-{FE6C02DB-2E8F-47F2-9D49-06EA3C6DE243}" dt="2021-07-13T09:38:56.147" v="29" actId="1076"/>
        <pc:sldMkLst>
          <pc:docMk/>
          <pc:sldMk cId="1800666166" sldId="8797"/>
        </pc:sldMkLst>
        <pc:spChg chg="add mod">
          <ac:chgData name="Lakshmi Kalyan Chakravart, Lakshmi" userId="S::llakshmikalyancha@deloitte.com::59aadd41-0ad0-497c-abc3-cdea2ef388fe" providerId="AD" clId="Web-{FE6C02DB-2E8F-47F2-9D49-06EA3C6DE243}" dt="2021-07-13T09:37:52.178" v="8" actId="1076"/>
          <ac:spMkLst>
            <pc:docMk/>
            <pc:sldMk cId="1800666166" sldId="8797"/>
            <ac:spMk id="104" creationId="{45489103-67DF-4A47-AE79-F6FB0D3CC8FA}"/>
          </ac:spMkLst>
        </pc:spChg>
        <pc:spChg chg="add mod">
          <ac:chgData name="Lakshmi Kalyan Chakravart, Lakshmi" userId="S::llakshmikalyancha@deloitte.com::59aadd41-0ad0-497c-abc3-cdea2ef388fe" providerId="AD" clId="Web-{FE6C02DB-2E8F-47F2-9D49-06EA3C6DE243}" dt="2021-07-13T09:38:06.959" v="10" actId="1076"/>
          <ac:spMkLst>
            <pc:docMk/>
            <pc:sldMk cId="1800666166" sldId="8797"/>
            <ac:spMk id="105" creationId="{DD2978F0-5BAF-4C1A-8C3D-79C81689E2DC}"/>
          </ac:spMkLst>
        </pc:spChg>
        <pc:spChg chg="add mod">
          <ac:chgData name="Lakshmi Kalyan Chakravart, Lakshmi" userId="S::llakshmikalyancha@deloitte.com::59aadd41-0ad0-497c-abc3-cdea2ef388fe" providerId="AD" clId="Web-{FE6C02DB-2E8F-47F2-9D49-06EA3C6DE243}" dt="2021-07-13T09:38:44.773" v="28" actId="20577"/>
          <ac:spMkLst>
            <pc:docMk/>
            <pc:sldMk cId="1800666166" sldId="8797"/>
            <ac:spMk id="106" creationId="{A00293F5-13C9-40D3-B289-96333E4ADEF7}"/>
          </ac:spMkLst>
        </pc:spChg>
        <pc:spChg chg="mod">
          <ac:chgData name="Lakshmi Kalyan Chakravart, Lakshmi" userId="S::llakshmikalyancha@deloitte.com::59aadd41-0ad0-497c-abc3-cdea2ef388fe" providerId="AD" clId="Web-{FE6C02DB-2E8F-47F2-9D49-06EA3C6DE243}" dt="2021-07-13T09:37:08.318" v="4" actId="20577"/>
          <ac:spMkLst>
            <pc:docMk/>
            <pc:sldMk cId="1800666166" sldId="8797"/>
            <ac:spMk id="111" creationId="{61D680CA-D974-46ED-939A-7FAD01CF9227}"/>
          </ac:spMkLst>
        </pc:spChg>
        <pc:picChg chg="add mod">
          <ac:chgData name="Lakshmi Kalyan Chakravart, Lakshmi" userId="S::llakshmikalyancha@deloitte.com::59aadd41-0ad0-497c-abc3-cdea2ef388fe" providerId="AD" clId="Web-{FE6C02DB-2E8F-47F2-9D49-06EA3C6DE243}" dt="2021-07-13T09:37:38.037" v="6" actId="1076"/>
          <ac:picMkLst>
            <pc:docMk/>
            <pc:sldMk cId="1800666166" sldId="8797"/>
            <ac:picMk id="103" creationId="{56D5D4F6-EA4A-48BA-9A02-BBFC8053EA0E}"/>
          </ac:picMkLst>
        </pc:picChg>
        <pc:picChg chg="mod">
          <ac:chgData name="Lakshmi Kalyan Chakravart, Lakshmi" userId="S::llakshmikalyancha@deloitte.com::59aadd41-0ad0-497c-abc3-cdea2ef388fe" providerId="AD" clId="Web-{FE6C02DB-2E8F-47F2-9D49-06EA3C6DE243}" dt="2021-07-13T09:38:56.147" v="29" actId="1076"/>
          <ac:picMkLst>
            <pc:docMk/>
            <pc:sldMk cId="1800666166" sldId="8797"/>
            <ac:picMk id="112" creationId="{2B52D67A-AEFF-48E6-BB3F-1FCBAE6914B4}"/>
          </ac:picMkLst>
        </pc:picChg>
      </pc:sldChg>
    </pc:docChg>
  </pc:docChgLst>
  <pc:docChgLst>
    <pc:chgData name="Khisty, Mukund" userId="97a787a6-0eca-4f26-b388-c38696e1afb6" providerId="ADAL" clId="{9F21E560-9C6F-574B-9D68-D0D0147C3E57}"/>
    <pc:docChg chg="modSld">
      <pc:chgData name="Khisty, Mukund" userId="97a787a6-0eca-4f26-b388-c38696e1afb6" providerId="ADAL" clId="{9F21E560-9C6F-574B-9D68-D0D0147C3E57}" dt="2021-04-14T17:53:29.900" v="0" actId="207"/>
      <pc:docMkLst>
        <pc:docMk/>
      </pc:docMkLst>
      <pc:sldChg chg="modSp mod">
        <pc:chgData name="Khisty, Mukund" userId="97a787a6-0eca-4f26-b388-c38696e1afb6" providerId="ADAL" clId="{9F21E560-9C6F-574B-9D68-D0D0147C3E57}" dt="2021-04-14T17:53:29.900" v="0" actId="207"/>
        <pc:sldMkLst>
          <pc:docMk/>
          <pc:sldMk cId="633251387" sldId="9036"/>
        </pc:sldMkLst>
        <pc:spChg chg="mod">
          <ac:chgData name="Khisty, Mukund" userId="97a787a6-0eca-4f26-b388-c38696e1afb6" providerId="ADAL" clId="{9F21E560-9C6F-574B-9D68-D0D0147C3E57}" dt="2021-04-14T17:53:29.900" v="0" actId="207"/>
          <ac:spMkLst>
            <pc:docMk/>
            <pc:sldMk cId="633251387" sldId="9036"/>
            <ac:spMk id="7" creationId="{BD52B5DB-DDAB-4EC0-94A0-8CED04FAB517}"/>
          </ac:spMkLst>
        </pc:spChg>
      </pc:sldChg>
    </pc:docChg>
  </pc:docChgLst>
  <pc:docChgLst>
    <pc:chgData name="Berkhout, Arnold" userId="0ca40ea5-eff1-45d8-a898-ae6e843d717d" providerId="ADAL" clId="{AE67CFD4-CA6C-428C-9971-802BC085E4EC}"/>
    <pc:docChg chg="undo custSel addSld delSld modSld sldOrd modSection">
      <pc:chgData name="Berkhout, Arnold" userId="0ca40ea5-eff1-45d8-a898-ae6e843d717d" providerId="ADAL" clId="{AE67CFD4-CA6C-428C-9971-802BC085E4EC}" dt="2020-07-13T13:02:35.763" v="477" actId="255"/>
      <pc:docMkLst>
        <pc:docMk/>
      </pc:docMkLst>
      <pc:sldChg chg="ord">
        <pc:chgData name="Berkhout, Arnold" userId="0ca40ea5-eff1-45d8-a898-ae6e843d717d" providerId="ADAL" clId="{AE67CFD4-CA6C-428C-9971-802BC085E4EC}" dt="2020-07-13T12:39:41.072" v="26"/>
        <pc:sldMkLst>
          <pc:docMk/>
          <pc:sldMk cId="378404546" sldId="451"/>
        </pc:sldMkLst>
      </pc:sldChg>
      <pc:sldChg chg="del">
        <pc:chgData name="Berkhout, Arnold" userId="0ca40ea5-eff1-45d8-a898-ae6e843d717d" providerId="ADAL" clId="{AE67CFD4-CA6C-428C-9971-802BC085E4EC}" dt="2020-07-13T12:40:09.807" v="40" actId="2696"/>
        <pc:sldMkLst>
          <pc:docMk/>
          <pc:sldMk cId="351411677" sldId="458"/>
        </pc:sldMkLst>
      </pc:sldChg>
      <pc:sldChg chg="add">
        <pc:chgData name="Berkhout, Arnold" userId="0ca40ea5-eff1-45d8-a898-ae6e843d717d" providerId="ADAL" clId="{AE67CFD4-CA6C-428C-9971-802BC085E4EC}" dt="2020-07-13T12:40:17.705" v="42"/>
        <pc:sldMkLst>
          <pc:docMk/>
          <pc:sldMk cId="2816086532" sldId="458"/>
        </pc:sldMkLst>
      </pc:sldChg>
      <pc:sldChg chg="add">
        <pc:chgData name="Berkhout, Arnold" userId="0ca40ea5-eff1-45d8-a898-ae6e843d717d" providerId="ADAL" clId="{AE67CFD4-CA6C-428C-9971-802BC085E4EC}" dt="2020-07-13T12:40:17.705" v="42"/>
        <pc:sldMkLst>
          <pc:docMk/>
          <pc:sldMk cId="1517944975" sldId="469"/>
        </pc:sldMkLst>
      </pc:sldChg>
      <pc:sldChg chg="del">
        <pc:chgData name="Berkhout, Arnold" userId="0ca40ea5-eff1-45d8-a898-ae6e843d717d" providerId="ADAL" clId="{AE67CFD4-CA6C-428C-9971-802BC085E4EC}" dt="2020-07-13T12:40:09.846" v="41" actId="2696"/>
        <pc:sldMkLst>
          <pc:docMk/>
          <pc:sldMk cId="1690272000" sldId="469"/>
        </pc:sldMkLst>
      </pc:sldChg>
      <pc:sldChg chg="addSp modSp">
        <pc:chgData name="Berkhout, Arnold" userId="0ca40ea5-eff1-45d8-a898-ae6e843d717d" providerId="ADAL" clId="{AE67CFD4-CA6C-428C-9971-802BC085E4EC}" dt="2020-07-13T12:43:51.123" v="152" actId="313"/>
        <pc:sldMkLst>
          <pc:docMk/>
          <pc:sldMk cId="1978270760" sldId="1111"/>
        </pc:sldMkLst>
        <pc:spChg chg="mod">
          <ac:chgData name="Berkhout, Arnold" userId="0ca40ea5-eff1-45d8-a898-ae6e843d717d" providerId="ADAL" clId="{AE67CFD4-CA6C-428C-9971-802BC085E4EC}" dt="2020-07-13T12:41:52.772" v="43" actId="1076"/>
          <ac:spMkLst>
            <pc:docMk/>
            <pc:sldMk cId="1978270760" sldId="1111"/>
            <ac:spMk id="32" creationId="{00000000-0000-0000-0000-000000000000}"/>
          </ac:spMkLst>
        </pc:spChg>
        <pc:spChg chg="mod">
          <ac:chgData name="Berkhout, Arnold" userId="0ca40ea5-eff1-45d8-a898-ae6e843d717d" providerId="ADAL" clId="{AE67CFD4-CA6C-428C-9971-802BC085E4EC}" dt="2020-07-13T12:42:55.079" v="91" actId="20577"/>
          <ac:spMkLst>
            <pc:docMk/>
            <pc:sldMk cId="1978270760" sldId="1111"/>
            <ac:spMk id="43" creationId="{0AC3BA20-D8E1-477E-B053-A14ECEBD7AD3}"/>
          </ac:spMkLst>
        </pc:spChg>
        <pc:spChg chg="add mod">
          <ac:chgData name="Berkhout, Arnold" userId="0ca40ea5-eff1-45d8-a898-ae6e843d717d" providerId="ADAL" clId="{AE67CFD4-CA6C-428C-9971-802BC085E4EC}" dt="2020-07-13T12:43:51.123" v="152" actId="313"/>
          <ac:spMkLst>
            <pc:docMk/>
            <pc:sldMk cId="1978270760" sldId="1111"/>
            <ac:spMk id="61" creationId="{88A0BF57-2E6E-4A28-B29C-492E98A85122}"/>
          </ac:spMkLst>
        </pc:spChg>
      </pc:sldChg>
      <pc:sldChg chg="delSp modSp addCm delCm modCm">
        <pc:chgData name="Berkhout, Arnold" userId="0ca40ea5-eff1-45d8-a898-ae6e843d717d" providerId="ADAL" clId="{AE67CFD4-CA6C-428C-9971-802BC085E4EC}" dt="2020-07-13T13:02:35.763" v="477" actId="255"/>
        <pc:sldMkLst>
          <pc:docMk/>
          <pc:sldMk cId="544597034" sldId="2076"/>
        </pc:sldMkLst>
        <pc:spChg chg="del">
          <ac:chgData name="Berkhout, Arnold" userId="0ca40ea5-eff1-45d8-a898-ae6e843d717d" providerId="ADAL" clId="{AE67CFD4-CA6C-428C-9971-802BC085E4EC}" dt="2020-07-13T12:49:18.389" v="153" actId="478"/>
          <ac:spMkLst>
            <pc:docMk/>
            <pc:sldMk cId="544597034" sldId="2076"/>
            <ac:spMk id="2" creationId="{DD687E80-FE69-4FB8-BA7F-14E909BA0DE9}"/>
          </ac:spMkLst>
        </pc:spChg>
        <pc:spChg chg="mod">
          <ac:chgData name="Berkhout, Arnold" userId="0ca40ea5-eff1-45d8-a898-ae6e843d717d" providerId="ADAL" clId="{AE67CFD4-CA6C-428C-9971-802BC085E4EC}" dt="2020-07-13T12:58:12.303" v="472" actId="14100"/>
          <ac:spMkLst>
            <pc:docMk/>
            <pc:sldMk cId="544597034" sldId="2076"/>
            <ac:spMk id="12" creationId="{DC7EC01E-5784-4F90-8E40-A3F631182295}"/>
          </ac:spMkLst>
        </pc:spChg>
        <pc:spChg chg="mod">
          <ac:chgData name="Berkhout, Arnold" userId="0ca40ea5-eff1-45d8-a898-ae6e843d717d" providerId="ADAL" clId="{AE67CFD4-CA6C-428C-9971-802BC085E4EC}" dt="2020-07-13T13:02:35.763" v="477" actId="255"/>
          <ac:spMkLst>
            <pc:docMk/>
            <pc:sldMk cId="544597034" sldId="2076"/>
            <ac:spMk id="18" creationId="{E4EEB0BB-CEA4-435D-930A-B95795FCC5A9}"/>
          </ac:spMkLst>
        </pc:spChg>
        <pc:spChg chg="mod">
          <ac:chgData name="Berkhout, Arnold" userId="0ca40ea5-eff1-45d8-a898-ae6e843d717d" providerId="ADAL" clId="{AE67CFD4-CA6C-428C-9971-802BC085E4EC}" dt="2020-07-13T12:57:29.493" v="463" actId="20577"/>
          <ac:spMkLst>
            <pc:docMk/>
            <pc:sldMk cId="544597034" sldId="2076"/>
            <ac:spMk id="26" creationId="{C375B3FF-6D51-4A31-9B8A-E23DA77E879B}"/>
          </ac:spMkLst>
        </pc:spChg>
        <pc:spChg chg="mod">
          <ac:chgData name="Berkhout, Arnold" userId="0ca40ea5-eff1-45d8-a898-ae6e843d717d" providerId="ADAL" clId="{AE67CFD4-CA6C-428C-9971-802BC085E4EC}" dt="2020-07-13T12:53:49.600" v="328" actId="6549"/>
          <ac:spMkLst>
            <pc:docMk/>
            <pc:sldMk cId="544597034" sldId="2076"/>
            <ac:spMk id="27" creationId="{97F95232-FAF7-4FBD-A394-067DD3DBBE84}"/>
          </ac:spMkLst>
        </pc:spChg>
        <pc:grpChg chg="mod ord">
          <ac:chgData name="Berkhout, Arnold" userId="0ca40ea5-eff1-45d8-a898-ae6e843d717d" providerId="ADAL" clId="{AE67CFD4-CA6C-428C-9971-802BC085E4EC}" dt="2020-07-13T12:58:00.546" v="470" actId="166"/>
          <ac:grpSpMkLst>
            <pc:docMk/>
            <pc:sldMk cId="544597034" sldId="2076"/>
            <ac:grpSpMk id="4" creationId="{BC2582C8-DAE1-489D-B93B-22A4350A3D43}"/>
          </ac:grpSpMkLst>
        </pc:grpChg>
        <pc:grpChg chg="mod">
          <ac:chgData name="Berkhout, Arnold" userId="0ca40ea5-eff1-45d8-a898-ae6e843d717d" providerId="ADAL" clId="{AE67CFD4-CA6C-428C-9971-802BC085E4EC}" dt="2020-07-13T12:53:54.360" v="329" actId="14100"/>
          <ac:grpSpMkLst>
            <pc:docMk/>
            <pc:sldMk cId="544597034" sldId="2076"/>
            <ac:grpSpMk id="5" creationId="{332845C8-C15D-41B2-A859-449E5D29F479}"/>
          </ac:grpSpMkLst>
        </pc:grpChg>
      </pc:sldChg>
      <pc:sldChg chg="modSp">
        <pc:chgData name="Berkhout, Arnold" userId="0ca40ea5-eff1-45d8-a898-ae6e843d717d" providerId="ADAL" clId="{AE67CFD4-CA6C-428C-9971-802BC085E4EC}" dt="2020-07-13T12:40:05.861" v="39" actId="20577"/>
        <pc:sldMkLst>
          <pc:docMk/>
          <pc:sldMk cId="2697511235" sldId="8817"/>
        </pc:sldMkLst>
        <pc:spChg chg="mod">
          <ac:chgData name="Berkhout, Arnold" userId="0ca40ea5-eff1-45d8-a898-ae6e843d717d" providerId="ADAL" clId="{AE67CFD4-CA6C-428C-9971-802BC085E4EC}" dt="2020-07-13T12:40:05.861" v="39" actId="20577"/>
          <ac:spMkLst>
            <pc:docMk/>
            <pc:sldMk cId="2697511235" sldId="8817"/>
            <ac:spMk id="4" creationId="{00000000-0000-0000-0000-000000000000}"/>
          </ac:spMkLst>
        </pc:spChg>
      </pc:sldChg>
      <pc:sldChg chg="modSp add">
        <pc:chgData name="Berkhout, Arnold" userId="0ca40ea5-eff1-45d8-a898-ae6e843d717d" providerId="ADAL" clId="{AE67CFD4-CA6C-428C-9971-802BC085E4EC}" dt="2020-07-13T12:39:01.911" v="25" actId="20577"/>
        <pc:sldMkLst>
          <pc:docMk/>
          <pc:sldMk cId="34444915" sldId="8985"/>
        </pc:sldMkLst>
        <pc:spChg chg="mod">
          <ac:chgData name="Berkhout, Arnold" userId="0ca40ea5-eff1-45d8-a898-ae6e843d717d" providerId="ADAL" clId="{AE67CFD4-CA6C-428C-9971-802BC085E4EC}" dt="2020-07-13T12:39:01.911" v="25" actId="20577"/>
          <ac:spMkLst>
            <pc:docMk/>
            <pc:sldMk cId="34444915" sldId="8985"/>
            <ac:spMk id="4" creationId="{00000000-0000-0000-0000-000000000000}"/>
          </ac:spMkLst>
        </pc:spChg>
      </pc:sldChg>
    </pc:docChg>
  </pc:docChgLst>
  <pc:docChgLst>
    <pc:chgData name="Ghosh, Anindya" userId="S::anighosh@deloitte.com::1c8636f3-f28e-411c-9bbf-d78a395a60f5" providerId="AD" clId="Web-{75355C18-F503-4D4D-9CD3-2946C351F71D}"/>
    <pc:docChg chg="modSld">
      <pc:chgData name="Ghosh, Anindya" userId="S::anighosh@deloitte.com::1c8636f3-f28e-411c-9bbf-d78a395a60f5" providerId="AD" clId="Web-{75355C18-F503-4D4D-9CD3-2946C351F71D}" dt="2021-03-23T08:37:50.821" v="136"/>
      <pc:docMkLst>
        <pc:docMk/>
      </pc:docMkLst>
      <pc:sldChg chg="modSp">
        <pc:chgData name="Ghosh, Anindya" userId="S::anighosh@deloitte.com::1c8636f3-f28e-411c-9bbf-d78a395a60f5" providerId="AD" clId="Web-{75355C18-F503-4D4D-9CD3-2946C351F71D}" dt="2021-03-23T08:37:50.821" v="136"/>
        <pc:sldMkLst>
          <pc:docMk/>
          <pc:sldMk cId="4169581344" sldId="8798"/>
        </pc:sldMkLst>
        <pc:spChg chg="mod">
          <ac:chgData name="Ghosh, Anindya" userId="S::anighosh@deloitte.com::1c8636f3-f28e-411c-9bbf-d78a395a60f5" providerId="AD" clId="Web-{75355C18-F503-4D4D-9CD3-2946C351F71D}" dt="2021-03-23T08:37:50.821" v="136"/>
          <ac:spMkLst>
            <pc:docMk/>
            <pc:sldMk cId="4169581344" sldId="8798"/>
            <ac:spMk id="3" creationId="{BCEB1B60-2A70-48F8-B225-997AF7F15017}"/>
          </ac:spMkLst>
        </pc:spChg>
      </pc:sldChg>
    </pc:docChg>
  </pc:docChgLst>
  <pc:docChgLst>
    <pc:chgData name="Muppana, Usha Rani" userId="S::umuppana@deloitte.com::c69fce2f-ae72-4460-84ad-e6bde69954de" providerId="AD" clId="Web-{F32247F7-BA13-43BE-955F-B6461E02ED80}"/>
    <pc:docChg chg="modSld">
      <pc:chgData name="Muppana, Usha Rani" userId="S::umuppana@deloitte.com::c69fce2f-ae72-4460-84ad-e6bde69954de" providerId="AD" clId="Web-{F32247F7-BA13-43BE-955F-B6461E02ED80}" dt="2021-02-22T14:49:41.234" v="3" actId="20577"/>
      <pc:docMkLst>
        <pc:docMk/>
      </pc:docMkLst>
      <pc:sldChg chg="modSp">
        <pc:chgData name="Muppana, Usha Rani" userId="S::umuppana@deloitte.com::c69fce2f-ae72-4460-84ad-e6bde69954de" providerId="AD" clId="Web-{F32247F7-BA13-43BE-955F-B6461E02ED80}" dt="2021-02-22T14:49:41.234" v="3" actId="20577"/>
        <pc:sldMkLst>
          <pc:docMk/>
          <pc:sldMk cId="2940807522" sldId="8784"/>
        </pc:sldMkLst>
        <pc:spChg chg="mod">
          <ac:chgData name="Muppana, Usha Rani" userId="S::umuppana@deloitte.com::c69fce2f-ae72-4460-84ad-e6bde69954de" providerId="AD" clId="Web-{F32247F7-BA13-43BE-955F-B6461E02ED80}" dt="2021-02-22T14:49:41.234" v="3" actId="20577"/>
          <ac:spMkLst>
            <pc:docMk/>
            <pc:sldMk cId="2940807522" sldId="8784"/>
            <ac:spMk id="10" creationId="{63C4D4D1-A06E-4F86-8E1F-FBE3DBFA51E8}"/>
          </ac:spMkLst>
        </pc:spChg>
      </pc:sldChg>
    </pc:docChg>
  </pc:docChgLst>
  <pc:docChgLst>
    <pc:chgData name="Ghosh, Anindya" userId="S::anighosh@deloitte.com::1c8636f3-f28e-411c-9bbf-d78a395a60f5" providerId="AD" clId="Web-{57126FDE-E8F5-4806-AE1C-526BB4E46871}"/>
    <pc:docChg chg="modSld">
      <pc:chgData name="Ghosh, Anindya" userId="S::anighosh@deloitte.com::1c8636f3-f28e-411c-9bbf-d78a395a60f5" providerId="AD" clId="Web-{57126FDE-E8F5-4806-AE1C-526BB4E46871}" dt="2020-07-10T03:34:39.755" v="175" actId="20577"/>
      <pc:docMkLst>
        <pc:docMk/>
      </pc:docMkLst>
      <pc:sldChg chg="modSp">
        <pc:chgData name="Ghosh, Anindya" userId="S::anighosh@deloitte.com::1c8636f3-f28e-411c-9bbf-d78a395a60f5" providerId="AD" clId="Web-{57126FDE-E8F5-4806-AE1C-526BB4E46871}" dt="2020-07-10T03:34:39.739" v="174" actId="20577"/>
        <pc:sldMkLst>
          <pc:docMk/>
          <pc:sldMk cId="4169581344" sldId="8798"/>
        </pc:sldMkLst>
        <pc:spChg chg="mod">
          <ac:chgData name="Ghosh, Anindya" userId="S::anighosh@deloitte.com::1c8636f3-f28e-411c-9bbf-d78a395a60f5" providerId="AD" clId="Web-{57126FDE-E8F5-4806-AE1C-526BB4E46871}" dt="2020-07-10T03:34:39.739" v="174" actId="20577"/>
          <ac:spMkLst>
            <pc:docMk/>
            <pc:sldMk cId="4169581344" sldId="8798"/>
            <ac:spMk id="3" creationId="{BCEB1B60-2A70-48F8-B225-997AF7F15017}"/>
          </ac:spMkLst>
        </pc:spChg>
      </pc:sldChg>
    </pc:docChg>
  </pc:docChgLst>
  <pc:docChgLst>
    <pc:chgData name="Venkatachalapathy, Vanishree" userId="S::vvenkatachalapath@deloitte.com::576e56df-e43c-486e-b899-beb9c57a3735" providerId="AD" clId="Web-{16DED0D8-F015-4D68-BFF7-48C8154F9AE2}"/>
    <pc:docChg chg="modSld">
      <pc:chgData name="Venkatachalapathy, Vanishree" userId="S::vvenkatachalapath@deloitte.com::576e56df-e43c-486e-b899-beb9c57a3735" providerId="AD" clId="Web-{16DED0D8-F015-4D68-BFF7-48C8154F9AE2}" dt="2021-03-15T09:06:53.885" v="6" actId="20577"/>
      <pc:docMkLst>
        <pc:docMk/>
      </pc:docMkLst>
      <pc:sldChg chg="modSp">
        <pc:chgData name="Venkatachalapathy, Vanishree" userId="S::vvenkatachalapath@deloitte.com::576e56df-e43c-486e-b899-beb9c57a3735" providerId="AD" clId="Web-{16DED0D8-F015-4D68-BFF7-48C8154F9AE2}" dt="2021-03-15T09:06:53.885" v="6" actId="20577"/>
        <pc:sldMkLst>
          <pc:docMk/>
          <pc:sldMk cId="2940807522" sldId="8784"/>
        </pc:sldMkLst>
        <pc:spChg chg="mod">
          <ac:chgData name="Venkatachalapathy, Vanishree" userId="S::vvenkatachalapath@deloitte.com::576e56df-e43c-486e-b899-beb9c57a3735" providerId="AD" clId="Web-{16DED0D8-F015-4D68-BFF7-48C8154F9AE2}" dt="2021-03-15T09:06:23.383" v="3" actId="20577"/>
          <ac:spMkLst>
            <pc:docMk/>
            <pc:sldMk cId="2940807522" sldId="8784"/>
            <ac:spMk id="8" creationId="{3AD73DD1-CA9D-43A7-AE40-783F13202818}"/>
          </ac:spMkLst>
        </pc:spChg>
        <pc:spChg chg="mod">
          <ac:chgData name="Venkatachalapathy, Vanishree" userId="S::vvenkatachalapath@deloitte.com::576e56df-e43c-486e-b899-beb9c57a3735" providerId="AD" clId="Web-{16DED0D8-F015-4D68-BFF7-48C8154F9AE2}" dt="2021-03-15T09:06:53.885" v="6" actId="20577"/>
          <ac:spMkLst>
            <pc:docMk/>
            <pc:sldMk cId="2940807522" sldId="8784"/>
            <ac:spMk id="10" creationId="{63C4D4D1-A06E-4F86-8E1F-FBE3DBFA51E8}"/>
          </ac:spMkLst>
        </pc:spChg>
      </pc:sldChg>
    </pc:docChg>
  </pc:docChgLst>
  <pc:docChgLst>
    <pc:chgData name="Sharma Palla, Rakesh" userId="S::rsharmapalla@deloitte.com::10f9904b-c976-486e-940c-ca5698800d24" providerId="AD" clId="Web-{FDA5CDD2-A72C-4DF7-A3C8-D51C913C21CC}"/>
    <pc:docChg chg="modSld">
      <pc:chgData name="Sharma Palla, Rakesh" userId="S::rsharmapalla@deloitte.com::10f9904b-c976-486e-940c-ca5698800d24" providerId="AD" clId="Web-{FDA5CDD2-A72C-4DF7-A3C8-D51C913C21CC}" dt="2020-12-02T06:48:55.390" v="51" actId="20577"/>
      <pc:docMkLst>
        <pc:docMk/>
      </pc:docMkLst>
      <pc:sldChg chg="modSp">
        <pc:chgData name="Sharma Palla, Rakesh" userId="S::rsharmapalla@deloitte.com::10f9904b-c976-486e-940c-ca5698800d24" providerId="AD" clId="Web-{FDA5CDD2-A72C-4DF7-A3C8-D51C913C21CC}" dt="2020-12-02T06:48:55.390" v="51" actId="20577"/>
        <pc:sldMkLst>
          <pc:docMk/>
          <pc:sldMk cId="795272350" sldId="9010"/>
        </pc:sldMkLst>
        <pc:spChg chg="mod">
          <ac:chgData name="Sharma Palla, Rakesh" userId="S::rsharmapalla@deloitte.com::10f9904b-c976-486e-940c-ca5698800d24" providerId="AD" clId="Web-{FDA5CDD2-A72C-4DF7-A3C8-D51C913C21CC}" dt="2020-12-02T06:48:55.390" v="51" actId="20577"/>
          <ac:spMkLst>
            <pc:docMk/>
            <pc:sldMk cId="795272350" sldId="9010"/>
            <ac:spMk id="20" creationId="{97F95232-FAF7-4FBD-A394-067DD3DBBE84}"/>
          </ac:spMkLst>
        </pc:spChg>
      </pc:sldChg>
    </pc:docChg>
  </pc:docChgLst>
  <pc:docChgLst>
    <pc:chgData name="Kandula, Sowmya" userId="S::skandula@deloitte.com::1b9a64a6-a227-4856-95ee-482c206ded6a" providerId="AD" clId="Web-{A721C0E5-1B9F-477D-8F64-4E8FF8238E3A}"/>
    <pc:docChg chg="modSld">
      <pc:chgData name="Kandula, Sowmya" userId="S::skandula@deloitte.com::1b9a64a6-a227-4856-95ee-482c206ded6a" providerId="AD" clId="Web-{A721C0E5-1B9F-477D-8F64-4E8FF8238E3A}" dt="2020-12-02T04:29:08.277" v="14" actId="20577"/>
      <pc:docMkLst>
        <pc:docMk/>
      </pc:docMkLst>
      <pc:sldChg chg="modSp">
        <pc:chgData name="Kandula, Sowmya" userId="S::skandula@deloitte.com::1b9a64a6-a227-4856-95ee-482c206ded6a" providerId="AD" clId="Web-{A721C0E5-1B9F-477D-8F64-4E8FF8238E3A}" dt="2020-12-02T04:29:08.277" v="14" actId="20577"/>
        <pc:sldMkLst>
          <pc:docMk/>
          <pc:sldMk cId="1709308679" sldId="8783"/>
        </pc:sldMkLst>
        <pc:spChg chg="mod">
          <ac:chgData name="Kandula, Sowmya" userId="S::skandula@deloitte.com::1b9a64a6-a227-4856-95ee-482c206ded6a" providerId="AD" clId="Web-{A721C0E5-1B9F-477D-8F64-4E8FF8238E3A}" dt="2020-12-02T04:28:46.574" v="11" actId="20577"/>
          <ac:spMkLst>
            <pc:docMk/>
            <pc:sldMk cId="1709308679" sldId="8783"/>
            <ac:spMk id="14" creationId="{E000F57D-05FA-4E5A-8E44-848A42C21BE2}"/>
          </ac:spMkLst>
        </pc:spChg>
        <pc:spChg chg="mod">
          <ac:chgData name="Kandula, Sowmya" userId="S::skandula@deloitte.com::1b9a64a6-a227-4856-95ee-482c206ded6a" providerId="AD" clId="Web-{A721C0E5-1B9F-477D-8F64-4E8FF8238E3A}" dt="2020-12-02T04:29:08.277" v="14" actId="20577"/>
          <ac:spMkLst>
            <pc:docMk/>
            <pc:sldMk cId="1709308679" sldId="8783"/>
            <ac:spMk id="15" creationId="{7904DCF5-C920-467A-A15D-3875ACAF4B62}"/>
          </ac:spMkLst>
        </pc:spChg>
      </pc:sldChg>
    </pc:docChg>
  </pc:docChgLst>
  <pc:docChgLst>
    <pc:chgData name="Ghosh, Anindya" userId="S::anighosh@deloitte.com::1c8636f3-f28e-411c-9bbf-d78a395a60f5" providerId="AD" clId="Web-{202FFEFB-5A7B-413D-926A-1692CC3CD764}"/>
    <pc:docChg chg="addSld modSld modSection">
      <pc:chgData name="Ghosh, Anindya" userId="S::anighosh@deloitte.com::1c8636f3-f28e-411c-9bbf-d78a395a60f5" providerId="AD" clId="Web-{202FFEFB-5A7B-413D-926A-1692CC3CD764}" dt="2020-12-02T05:33:05.017" v="4"/>
      <pc:docMkLst>
        <pc:docMk/>
      </pc:docMkLst>
      <pc:sldChg chg="addSp delSp modSp add replId">
        <pc:chgData name="Ghosh, Anindya" userId="S::anighosh@deloitte.com::1c8636f3-f28e-411c-9bbf-d78a395a60f5" providerId="AD" clId="Web-{202FFEFB-5A7B-413D-926A-1692CC3CD764}" dt="2020-12-02T05:33:05.017" v="4"/>
        <pc:sldMkLst>
          <pc:docMk/>
          <pc:sldMk cId="473660456" sldId="9024"/>
        </pc:sldMkLst>
        <pc:spChg chg="del mod">
          <ac:chgData name="Ghosh, Anindya" userId="S::anighosh@deloitte.com::1c8636f3-f28e-411c-9bbf-d78a395a60f5" providerId="AD" clId="Web-{202FFEFB-5A7B-413D-926A-1692CC3CD764}" dt="2020-12-02T05:33:05.017" v="4"/>
          <ac:spMkLst>
            <pc:docMk/>
            <pc:sldMk cId="473660456" sldId="9024"/>
            <ac:spMk id="3" creationId="{BCEB1B60-2A70-48F8-B225-997AF7F15017}"/>
          </ac:spMkLst>
        </pc:spChg>
        <pc:spChg chg="add mod">
          <ac:chgData name="Ghosh, Anindya" userId="S::anighosh@deloitte.com::1c8636f3-f28e-411c-9bbf-d78a395a60f5" providerId="AD" clId="Web-{202FFEFB-5A7B-413D-926A-1692CC3CD764}" dt="2020-12-02T05:33:05.017" v="4"/>
          <ac:spMkLst>
            <pc:docMk/>
            <pc:sldMk cId="473660456" sldId="9024"/>
            <ac:spMk id="5" creationId="{42D4EE63-E775-4123-8356-BA72BBF18057}"/>
          </ac:spMkLst>
        </pc:spChg>
      </pc:sldChg>
    </pc:docChg>
  </pc:docChgLst>
  <pc:docChgLst>
    <pc:chgData name="Majjiga, Swetha Reddy" userId="S::smajjiga@deloitte.com::5540cba4-1ece-4c56-97c2-75b6521b9cee" providerId="AD" clId="Web-{6D463659-29AD-4FDA-B312-0899E44B62C3}"/>
    <pc:docChg chg="modSld">
      <pc:chgData name="Majjiga, Swetha Reddy" userId="S::smajjiga@deloitte.com::5540cba4-1ece-4c56-97c2-75b6521b9cee" providerId="AD" clId="Web-{6D463659-29AD-4FDA-B312-0899E44B62C3}" dt="2020-12-02T06:53:03.617" v="118" actId="20577"/>
      <pc:docMkLst>
        <pc:docMk/>
      </pc:docMkLst>
      <pc:sldChg chg="modSp">
        <pc:chgData name="Majjiga, Swetha Reddy" userId="S::smajjiga@deloitte.com::5540cba4-1ece-4c56-97c2-75b6521b9cee" providerId="AD" clId="Web-{6D463659-29AD-4FDA-B312-0899E44B62C3}" dt="2020-12-02T06:53:03.617" v="118" actId="20577"/>
        <pc:sldMkLst>
          <pc:docMk/>
          <pc:sldMk cId="795272350" sldId="9010"/>
        </pc:sldMkLst>
        <pc:spChg chg="mod">
          <ac:chgData name="Majjiga, Swetha Reddy" userId="S::smajjiga@deloitte.com::5540cba4-1ece-4c56-97c2-75b6521b9cee" providerId="AD" clId="Web-{6D463659-29AD-4FDA-B312-0899E44B62C3}" dt="2020-12-02T06:53:03.617" v="118" actId="20577"/>
          <ac:spMkLst>
            <pc:docMk/>
            <pc:sldMk cId="795272350" sldId="9010"/>
            <ac:spMk id="18" creationId="{E4EEB0BB-CEA4-435D-930A-B95795FCC5A9}"/>
          </ac:spMkLst>
        </pc:spChg>
        <pc:spChg chg="mod">
          <ac:chgData name="Majjiga, Swetha Reddy" userId="S::smajjiga@deloitte.com::5540cba4-1ece-4c56-97c2-75b6521b9cee" providerId="AD" clId="Web-{6D463659-29AD-4FDA-B312-0899E44B62C3}" dt="2020-12-02T06:47:21.625" v="87" actId="20577"/>
          <ac:spMkLst>
            <pc:docMk/>
            <pc:sldMk cId="795272350" sldId="9010"/>
            <ac:spMk id="20" creationId="{97F95232-FAF7-4FBD-A394-067DD3DBBE84}"/>
          </ac:spMkLst>
        </pc:spChg>
        <pc:spChg chg="mod">
          <ac:chgData name="Majjiga, Swetha Reddy" userId="S::smajjiga@deloitte.com::5540cba4-1ece-4c56-97c2-75b6521b9cee" providerId="AD" clId="Web-{6D463659-29AD-4FDA-B312-0899E44B62C3}" dt="2020-12-02T06:52:47.491" v="112" actId="20577"/>
          <ac:spMkLst>
            <pc:docMk/>
            <pc:sldMk cId="795272350" sldId="9010"/>
            <ac:spMk id="22" creationId="{E4EEB0BB-CEA4-435D-930A-B95795FCC5A9}"/>
          </ac:spMkLst>
        </pc:spChg>
      </pc:sldChg>
    </pc:docChg>
  </pc:docChgLst>
  <pc:docChgLst>
    <pc:chgData name="Sharma Palla, Rakesh" userId="S::rsharmapalla@deloitte.com::10f9904b-c976-486e-940c-ca5698800d24" providerId="AD" clId="Web-{C1D77173-5518-4A9B-8F5C-D33E56E723C2}"/>
    <pc:docChg chg="modSld">
      <pc:chgData name="Sharma Palla, Rakesh" userId="S::rsharmapalla@deloitte.com::10f9904b-c976-486e-940c-ca5698800d24" providerId="AD" clId="Web-{C1D77173-5518-4A9B-8F5C-D33E56E723C2}" dt="2021-07-13T10:12:41.345" v="49"/>
      <pc:docMkLst>
        <pc:docMk/>
      </pc:docMkLst>
      <pc:sldChg chg="modSp">
        <pc:chgData name="Sharma Palla, Rakesh" userId="S::rsharmapalla@deloitte.com::10f9904b-c976-486e-940c-ca5698800d24" providerId="AD" clId="Web-{C1D77173-5518-4A9B-8F5C-D33E56E723C2}" dt="2021-07-13T10:12:41.345" v="49"/>
        <pc:sldMkLst>
          <pc:docMk/>
          <pc:sldMk cId="847777020" sldId="8791"/>
        </pc:sldMkLst>
        <pc:graphicFrameChg chg="mod modGraphic">
          <ac:chgData name="Sharma Palla, Rakesh" userId="S::rsharmapalla@deloitte.com::10f9904b-c976-486e-940c-ca5698800d24" providerId="AD" clId="Web-{C1D77173-5518-4A9B-8F5C-D33E56E723C2}" dt="2021-07-13T10:12:41.345" v="49"/>
          <ac:graphicFrameMkLst>
            <pc:docMk/>
            <pc:sldMk cId="847777020" sldId="8791"/>
            <ac:graphicFrameMk id="2" creationId="{047A132D-3FAE-48C5-BD5F-C01213AAD2F4}"/>
          </ac:graphicFrameMkLst>
        </pc:graphicFrameChg>
      </pc:sldChg>
    </pc:docChg>
  </pc:docChgLst>
  <pc:docChgLst>
    <pc:chgData name="Zhong, Rose" userId="S::rozhong@deloitte.com::91b20ec7-2220-4f96-9b07-259aafca34b3" providerId="AD" clId="Web-{9759CABF-5532-4998-B43A-11918F355B1B}"/>
    <pc:docChg chg="">
      <pc:chgData name="Zhong, Rose" userId="S::rozhong@deloitte.com::91b20ec7-2220-4f96-9b07-259aafca34b3" providerId="AD" clId="Web-{9759CABF-5532-4998-B43A-11918F355B1B}" dt="2021-07-12T21:07:19.545" v="0"/>
      <pc:docMkLst>
        <pc:docMk/>
      </pc:docMkLst>
      <pc:sldChg chg="addCm">
        <pc:chgData name="Zhong, Rose" userId="S::rozhong@deloitte.com::91b20ec7-2220-4f96-9b07-259aafca34b3" providerId="AD" clId="Web-{9759CABF-5532-4998-B43A-11918F355B1B}" dt="2021-07-12T21:07:19.545" v="0"/>
        <pc:sldMkLst>
          <pc:docMk/>
          <pc:sldMk cId="678701893" sldId="9006"/>
        </pc:sldMkLst>
      </pc:sldChg>
    </pc:docChg>
  </pc:docChgLst>
  <pc:docChgLst>
    <pc:chgData name="Kommatreddy, Chaitanya" userId="S::ckommatreddy@deloitte.com::44a1469f-b03c-453c-8c31-90f831355cdb" providerId="AD" clId="Web-{4883A5BD-ABA2-4129-B88B-20D635DC67EB}"/>
    <pc:docChg chg="modSld">
      <pc:chgData name="Kommatreddy, Chaitanya" userId="S::ckommatreddy@deloitte.com::44a1469f-b03c-453c-8c31-90f831355cdb" providerId="AD" clId="Web-{4883A5BD-ABA2-4129-B88B-20D635DC67EB}" dt="2020-07-03T09:35:27.291" v="0"/>
      <pc:docMkLst>
        <pc:docMk/>
      </pc:docMkLst>
      <pc:sldChg chg="delSp">
        <pc:chgData name="Kommatreddy, Chaitanya" userId="S::ckommatreddy@deloitte.com::44a1469f-b03c-453c-8c31-90f831355cdb" providerId="AD" clId="Web-{4883A5BD-ABA2-4129-B88B-20D635DC67EB}" dt="2020-07-03T09:35:27.291" v="0"/>
        <pc:sldMkLst>
          <pc:docMk/>
          <pc:sldMk cId="208755446" sldId="8837"/>
        </pc:sldMkLst>
        <pc:picChg chg="del">
          <ac:chgData name="Kommatreddy, Chaitanya" userId="S::ckommatreddy@deloitte.com::44a1469f-b03c-453c-8c31-90f831355cdb" providerId="AD" clId="Web-{4883A5BD-ABA2-4129-B88B-20D635DC67EB}" dt="2020-07-03T09:35:27.291" v="0"/>
          <ac:picMkLst>
            <pc:docMk/>
            <pc:sldMk cId="208755446" sldId="8837"/>
            <ac:picMk id="5" creationId="{A4D4D882-B0D9-4BD5-97A3-331F114A15C9}"/>
          </ac:picMkLst>
        </pc:picChg>
      </pc:sldChg>
    </pc:docChg>
  </pc:docChgLst>
  <pc:docChgLst>
    <pc:chgData name="M, Shilpa Goud" userId="a9d4caf0-26bb-4255-ac96-11e70e69739c" providerId="ADAL" clId="{CD82DD27-F640-42E4-85A0-8C9BBA491AA9}"/>
    <pc:docChg chg="undo custSel modSld">
      <pc:chgData name="M, Shilpa Goud" userId="a9d4caf0-26bb-4255-ac96-11e70e69739c" providerId="ADAL" clId="{CD82DD27-F640-42E4-85A0-8C9BBA491AA9}" dt="2020-10-19T14:23:10.503" v="570" actId="20577"/>
      <pc:docMkLst>
        <pc:docMk/>
      </pc:docMkLst>
      <pc:sldChg chg="addSp">
        <pc:chgData name="M, Shilpa Goud" userId="a9d4caf0-26bb-4255-ac96-11e70e69739c" providerId="ADAL" clId="{CD82DD27-F640-42E4-85A0-8C9BBA491AA9}" dt="2020-10-19T13:53:06.904" v="270"/>
        <pc:sldMkLst>
          <pc:docMk/>
          <pc:sldMk cId="636999727" sldId="256"/>
        </pc:sldMkLst>
        <pc:spChg chg="add">
          <ac:chgData name="M, Shilpa Goud" userId="a9d4caf0-26bb-4255-ac96-11e70e69739c" providerId="ADAL" clId="{CD82DD27-F640-42E4-85A0-8C9BBA491AA9}" dt="2020-10-19T13:53:06.904" v="270"/>
          <ac:spMkLst>
            <pc:docMk/>
            <pc:sldMk cId="636999727" sldId="256"/>
            <ac:spMk id="6" creationId="{A2007924-E21D-494C-A0F0-BAA80744A144}"/>
          </ac:spMkLst>
        </pc:spChg>
      </pc:sldChg>
      <pc:sldChg chg="modSp">
        <pc:chgData name="M, Shilpa Goud" userId="a9d4caf0-26bb-4255-ac96-11e70e69739c" providerId="ADAL" clId="{CD82DD27-F640-42E4-85A0-8C9BBA491AA9}" dt="2020-10-19T14:12:11.616" v="444" actId="207"/>
        <pc:sldMkLst>
          <pc:docMk/>
          <pc:sldMk cId="3661564267" sldId="257"/>
        </pc:sldMkLst>
        <pc:spChg chg="mod">
          <ac:chgData name="M, Shilpa Goud" userId="a9d4caf0-26bb-4255-ac96-11e70e69739c" providerId="ADAL" clId="{CD82DD27-F640-42E4-85A0-8C9BBA491AA9}" dt="2020-10-19T14:12:11.616" v="444" actId="207"/>
          <ac:spMkLst>
            <pc:docMk/>
            <pc:sldMk cId="3661564267" sldId="257"/>
            <ac:spMk id="4" creationId="{00000000-0000-0000-0000-000000000000}"/>
          </ac:spMkLst>
        </pc:spChg>
      </pc:sldChg>
      <pc:sldChg chg="addSp">
        <pc:chgData name="M, Shilpa Goud" userId="a9d4caf0-26bb-4255-ac96-11e70e69739c" providerId="ADAL" clId="{CD82DD27-F640-42E4-85A0-8C9BBA491AA9}" dt="2020-10-19T13:46:38.610" v="24"/>
        <pc:sldMkLst>
          <pc:docMk/>
          <pc:sldMk cId="378404546" sldId="451"/>
        </pc:sldMkLst>
        <pc:spChg chg="add">
          <ac:chgData name="M, Shilpa Goud" userId="a9d4caf0-26bb-4255-ac96-11e70e69739c" providerId="ADAL" clId="{CD82DD27-F640-42E4-85A0-8C9BBA491AA9}" dt="2020-10-19T13:46:38.610" v="24"/>
          <ac:spMkLst>
            <pc:docMk/>
            <pc:sldMk cId="378404546" sldId="451"/>
            <ac:spMk id="20" creationId="{666C078A-A36E-442C-AB80-200A7BB0088B}"/>
          </ac:spMkLst>
        </pc:spChg>
      </pc:sldChg>
      <pc:sldChg chg="addSp">
        <pc:chgData name="M, Shilpa Goud" userId="a9d4caf0-26bb-4255-ac96-11e70e69739c" providerId="ADAL" clId="{CD82DD27-F640-42E4-85A0-8C9BBA491AA9}" dt="2020-10-19T13:47:10.012" v="26"/>
        <pc:sldMkLst>
          <pc:docMk/>
          <pc:sldMk cId="1978270760" sldId="1111"/>
        </pc:sldMkLst>
        <pc:spChg chg="add">
          <ac:chgData name="M, Shilpa Goud" userId="a9d4caf0-26bb-4255-ac96-11e70e69739c" providerId="ADAL" clId="{CD82DD27-F640-42E4-85A0-8C9BBA491AA9}" dt="2020-10-19T13:47:10.012" v="26"/>
          <ac:spMkLst>
            <pc:docMk/>
            <pc:sldMk cId="1978270760" sldId="1111"/>
            <ac:spMk id="48" creationId="{D3A55BFC-3989-41BD-9564-4ED1388067A3}"/>
          </ac:spMkLst>
        </pc:spChg>
      </pc:sldChg>
      <pc:sldChg chg="addSp">
        <pc:chgData name="M, Shilpa Goud" userId="a9d4caf0-26bb-4255-ac96-11e70e69739c" providerId="ADAL" clId="{CD82DD27-F640-42E4-85A0-8C9BBA491AA9}" dt="2020-10-19T13:47:16.935" v="27"/>
        <pc:sldMkLst>
          <pc:docMk/>
          <pc:sldMk cId="544597034" sldId="2076"/>
        </pc:sldMkLst>
        <pc:spChg chg="add">
          <ac:chgData name="M, Shilpa Goud" userId="a9d4caf0-26bb-4255-ac96-11e70e69739c" providerId="ADAL" clId="{CD82DD27-F640-42E4-85A0-8C9BBA491AA9}" dt="2020-10-19T13:47:16.935" v="27"/>
          <ac:spMkLst>
            <pc:docMk/>
            <pc:sldMk cId="544597034" sldId="2076"/>
            <ac:spMk id="20" creationId="{D5C78A37-3EC4-41F6-947F-E65EE7F30928}"/>
          </ac:spMkLst>
        </pc:spChg>
      </pc:sldChg>
      <pc:sldChg chg="addSp">
        <pc:chgData name="M, Shilpa Goud" userId="a9d4caf0-26bb-4255-ac96-11e70e69739c" providerId="ADAL" clId="{CD82DD27-F640-42E4-85A0-8C9BBA491AA9}" dt="2020-10-19T13:47:07.242" v="25"/>
        <pc:sldMkLst>
          <pc:docMk/>
          <pc:sldMk cId="2545999528" sldId="2078"/>
        </pc:sldMkLst>
        <pc:spChg chg="add">
          <ac:chgData name="M, Shilpa Goud" userId="a9d4caf0-26bb-4255-ac96-11e70e69739c" providerId="ADAL" clId="{CD82DD27-F640-42E4-85A0-8C9BBA491AA9}" dt="2020-10-19T13:47:07.242" v="25"/>
          <ac:spMkLst>
            <pc:docMk/>
            <pc:sldMk cId="2545999528" sldId="2078"/>
            <ac:spMk id="19" creationId="{A0DB5BBA-D158-4B58-9002-8BEC66C283DA}"/>
          </ac:spMkLst>
        </pc:spChg>
      </pc:sldChg>
      <pc:sldChg chg="addSp modSp">
        <pc:chgData name="M, Shilpa Goud" userId="a9d4caf0-26bb-4255-ac96-11e70e69739c" providerId="ADAL" clId="{CD82DD27-F640-42E4-85A0-8C9BBA491AA9}" dt="2020-10-19T13:54:05.297" v="305" actId="20577"/>
        <pc:sldMkLst>
          <pc:docMk/>
          <pc:sldMk cId="24609206" sldId="2104"/>
        </pc:sldMkLst>
        <pc:spChg chg="add mod">
          <ac:chgData name="M, Shilpa Goud" userId="a9d4caf0-26bb-4255-ac96-11e70e69739c" providerId="ADAL" clId="{CD82DD27-F640-42E4-85A0-8C9BBA491AA9}" dt="2020-10-19T13:54:05.297" v="305" actId="20577"/>
          <ac:spMkLst>
            <pc:docMk/>
            <pc:sldMk cId="24609206" sldId="2104"/>
            <ac:spMk id="4" creationId="{5FCA9A8E-7E36-4C99-81C0-6509DED202D6}"/>
          </ac:spMkLst>
        </pc:spChg>
      </pc:sldChg>
      <pc:sldChg chg="addSp modSp">
        <pc:chgData name="M, Shilpa Goud" userId="a9d4caf0-26bb-4255-ac96-11e70e69739c" providerId="ADAL" clId="{CD82DD27-F640-42E4-85A0-8C9BBA491AA9}" dt="2020-10-19T13:54:22.654" v="321" actId="20577"/>
        <pc:sldMkLst>
          <pc:docMk/>
          <pc:sldMk cId="3377722835" sldId="8772"/>
        </pc:sldMkLst>
        <pc:spChg chg="add mod">
          <ac:chgData name="M, Shilpa Goud" userId="a9d4caf0-26bb-4255-ac96-11e70e69739c" providerId="ADAL" clId="{CD82DD27-F640-42E4-85A0-8C9BBA491AA9}" dt="2020-10-19T13:54:22.654" v="321" actId="20577"/>
          <ac:spMkLst>
            <pc:docMk/>
            <pc:sldMk cId="3377722835" sldId="8772"/>
            <ac:spMk id="4" creationId="{CC701EE3-C440-40FA-A8CC-FADE289A963A}"/>
          </ac:spMkLst>
        </pc:spChg>
      </pc:sldChg>
      <pc:sldChg chg="modSp">
        <pc:chgData name="M, Shilpa Goud" userId="a9d4caf0-26bb-4255-ac96-11e70e69739c" providerId="ADAL" clId="{CD82DD27-F640-42E4-85A0-8C9BBA491AA9}" dt="2020-10-19T14:13:59.048" v="450" actId="13926"/>
        <pc:sldMkLst>
          <pc:docMk/>
          <pc:sldMk cId="1369081146" sldId="8773"/>
        </pc:sldMkLst>
        <pc:graphicFrameChg chg="modGraphic">
          <ac:chgData name="M, Shilpa Goud" userId="a9d4caf0-26bb-4255-ac96-11e70e69739c" providerId="ADAL" clId="{CD82DD27-F640-42E4-85A0-8C9BBA491AA9}" dt="2020-10-19T14:13:59.048" v="450" actId="13926"/>
          <ac:graphicFrameMkLst>
            <pc:docMk/>
            <pc:sldMk cId="1369081146" sldId="8773"/>
            <ac:graphicFrameMk id="4" creationId="{2AAAC88F-F4B4-4FE3-956E-C3F806D71324}"/>
          </ac:graphicFrameMkLst>
        </pc:graphicFrameChg>
      </pc:sldChg>
      <pc:sldChg chg="modSp">
        <pc:chgData name="M, Shilpa Goud" userId="a9d4caf0-26bb-4255-ac96-11e70e69739c" providerId="ADAL" clId="{CD82DD27-F640-42E4-85A0-8C9BBA491AA9}" dt="2020-10-19T14:19:21.295" v="507" actId="20577"/>
        <pc:sldMkLst>
          <pc:docMk/>
          <pc:sldMk cId="1039189330" sldId="8774"/>
        </pc:sldMkLst>
        <pc:graphicFrameChg chg="modGraphic">
          <ac:chgData name="M, Shilpa Goud" userId="a9d4caf0-26bb-4255-ac96-11e70e69739c" providerId="ADAL" clId="{CD82DD27-F640-42E4-85A0-8C9BBA491AA9}" dt="2020-10-19T14:19:21.295" v="507" actId="20577"/>
          <ac:graphicFrameMkLst>
            <pc:docMk/>
            <pc:sldMk cId="1039189330" sldId="8774"/>
            <ac:graphicFrameMk id="4" creationId="{2AAAC88F-F4B4-4FE3-956E-C3F806D71324}"/>
          </ac:graphicFrameMkLst>
        </pc:graphicFrameChg>
      </pc:sldChg>
      <pc:sldChg chg="modSp">
        <pc:chgData name="M, Shilpa Goud" userId="a9d4caf0-26bb-4255-ac96-11e70e69739c" providerId="ADAL" clId="{CD82DD27-F640-42E4-85A0-8C9BBA491AA9}" dt="2020-10-19T14:23:10.503" v="570" actId="20577"/>
        <pc:sldMkLst>
          <pc:docMk/>
          <pc:sldMk cId="2407685793" sldId="8775"/>
        </pc:sldMkLst>
        <pc:graphicFrameChg chg="modGraphic">
          <ac:chgData name="M, Shilpa Goud" userId="a9d4caf0-26bb-4255-ac96-11e70e69739c" providerId="ADAL" clId="{CD82DD27-F640-42E4-85A0-8C9BBA491AA9}" dt="2020-10-19T14:23:10.503" v="570" actId="20577"/>
          <ac:graphicFrameMkLst>
            <pc:docMk/>
            <pc:sldMk cId="2407685793" sldId="8775"/>
            <ac:graphicFrameMk id="4" creationId="{2AAAC88F-F4B4-4FE3-956E-C3F806D71324}"/>
          </ac:graphicFrameMkLst>
        </pc:graphicFrameChg>
      </pc:sldChg>
      <pc:sldChg chg="addSp modSp">
        <pc:chgData name="M, Shilpa Goud" userId="a9d4caf0-26bb-4255-ac96-11e70e69739c" providerId="ADAL" clId="{CD82DD27-F640-42E4-85A0-8C9BBA491AA9}" dt="2020-10-19T13:54:46.775" v="340" actId="20577"/>
        <pc:sldMkLst>
          <pc:docMk/>
          <pc:sldMk cId="2506138062" sldId="8782"/>
        </pc:sldMkLst>
        <pc:spChg chg="add mod">
          <ac:chgData name="M, Shilpa Goud" userId="a9d4caf0-26bb-4255-ac96-11e70e69739c" providerId="ADAL" clId="{CD82DD27-F640-42E4-85A0-8C9BBA491AA9}" dt="2020-10-19T13:54:46.775" v="340" actId="20577"/>
          <ac:spMkLst>
            <pc:docMk/>
            <pc:sldMk cId="2506138062" sldId="8782"/>
            <ac:spMk id="14" creationId="{F8EF05EF-4947-4CFE-AF67-ACB8A0F6AF5B}"/>
          </ac:spMkLst>
        </pc:spChg>
      </pc:sldChg>
      <pc:sldChg chg="addSp modSp">
        <pc:chgData name="M, Shilpa Goud" userId="a9d4caf0-26bb-4255-ac96-11e70e69739c" providerId="ADAL" clId="{CD82DD27-F640-42E4-85A0-8C9BBA491AA9}" dt="2020-10-19T13:55:04.028" v="355" actId="20577"/>
        <pc:sldMkLst>
          <pc:docMk/>
          <pc:sldMk cId="1709308679" sldId="8783"/>
        </pc:sldMkLst>
        <pc:spChg chg="add mod">
          <ac:chgData name="M, Shilpa Goud" userId="a9d4caf0-26bb-4255-ac96-11e70e69739c" providerId="ADAL" clId="{CD82DD27-F640-42E4-85A0-8C9BBA491AA9}" dt="2020-10-19T13:55:04.028" v="355" actId="20577"/>
          <ac:spMkLst>
            <pc:docMk/>
            <pc:sldMk cId="1709308679" sldId="8783"/>
            <ac:spMk id="15" creationId="{B8E7F52B-7316-4E61-BBDF-8D2C41B3A029}"/>
          </ac:spMkLst>
        </pc:spChg>
      </pc:sldChg>
      <pc:sldChg chg="addSp modSp">
        <pc:chgData name="M, Shilpa Goud" userId="a9d4caf0-26bb-4255-ac96-11e70e69739c" providerId="ADAL" clId="{CD82DD27-F640-42E4-85A0-8C9BBA491AA9}" dt="2020-10-19T13:55:17.385" v="364" actId="20577"/>
        <pc:sldMkLst>
          <pc:docMk/>
          <pc:sldMk cId="2940807522" sldId="8784"/>
        </pc:sldMkLst>
        <pc:spChg chg="add mod">
          <ac:chgData name="M, Shilpa Goud" userId="a9d4caf0-26bb-4255-ac96-11e70e69739c" providerId="ADAL" clId="{CD82DD27-F640-42E4-85A0-8C9BBA491AA9}" dt="2020-10-19T13:55:17.385" v="364" actId="20577"/>
          <ac:spMkLst>
            <pc:docMk/>
            <pc:sldMk cId="2940807522" sldId="8784"/>
            <ac:spMk id="13" creationId="{98095F2D-310C-4868-8D55-17B05642F3D2}"/>
          </ac:spMkLst>
        </pc:spChg>
      </pc:sldChg>
      <pc:sldChg chg="addSp modSp">
        <pc:chgData name="M, Shilpa Goud" userId="a9d4caf0-26bb-4255-ac96-11e70e69739c" providerId="ADAL" clId="{CD82DD27-F640-42E4-85A0-8C9BBA491AA9}" dt="2020-10-19T13:55:31.373" v="375" actId="20577"/>
        <pc:sldMkLst>
          <pc:docMk/>
          <pc:sldMk cId="4107362912" sldId="8785"/>
        </pc:sldMkLst>
        <pc:spChg chg="add mod">
          <ac:chgData name="M, Shilpa Goud" userId="a9d4caf0-26bb-4255-ac96-11e70e69739c" providerId="ADAL" clId="{CD82DD27-F640-42E4-85A0-8C9BBA491AA9}" dt="2020-10-19T13:55:31.373" v="375" actId="20577"/>
          <ac:spMkLst>
            <pc:docMk/>
            <pc:sldMk cId="4107362912" sldId="8785"/>
            <ac:spMk id="10" creationId="{FF147EBF-7E45-45D1-A246-B5D5A242293A}"/>
          </ac:spMkLst>
        </pc:spChg>
      </pc:sldChg>
      <pc:sldChg chg="addSp modSp">
        <pc:chgData name="M, Shilpa Goud" userId="a9d4caf0-26bb-4255-ac96-11e70e69739c" providerId="ADAL" clId="{CD82DD27-F640-42E4-85A0-8C9BBA491AA9}" dt="2020-10-19T13:47:32.834" v="34" actId="20577"/>
        <pc:sldMkLst>
          <pc:docMk/>
          <pc:sldMk cId="800771401" sldId="8787"/>
        </pc:sldMkLst>
        <pc:spChg chg="add mod">
          <ac:chgData name="M, Shilpa Goud" userId="a9d4caf0-26bb-4255-ac96-11e70e69739c" providerId="ADAL" clId="{CD82DD27-F640-42E4-85A0-8C9BBA491AA9}" dt="2020-10-19T13:47:32.834" v="34" actId="20577"/>
          <ac:spMkLst>
            <pc:docMk/>
            <pc:sldMk cId="800771401" sldId="8787"/>
            <ac:spMk id="7" creationId="{0BF6F997-4D8A-4F11-822E-4A65D6AD7B48}"/>
          </ac:spMkLst>
        </pc:spChg>
      </pc:sldChg>
      <pc:sldChg chg="addSp modSp">
        <pc:chgData name="M, Shilpa Goud" userId="a9d4caf0-26bb-4255-ac96-11e70e69739c" providerId="ADAL" clId="{CD82DD27-F640-42E4-85A0-8C9BBA491AA9}" dt="2020-10-19T13:48:53.513" v="67" actId="1076"/>
        <pc:sldMkLst>
          <pc:docMk/>
          <pc:sldMk cId="2246163936" sldId="8788"/>
        </pc:sldMkLst>
        <pc:spChg chg="add mod">
          <ac:chgData name="M, Shilpa Goud" userId="a9d4caf0-26bb-4255-ac96-11e70e69739c" providerId="ADAL" clId="{CD82DD27-F640-42E4-85A0-8C9BBA491AA9}" dt="2020-10-19T13:48:45.177" v="66" actId="20577"/>
          <ac:spMkLst>
            <pc:docMk/>
            <pc:sldMk cId="2246163936" sldId="8788"/>
            <ac:spMk id="5" creationId="{BE0A39A7-2E3D-401A-99A1-E8CC511E793E}"/>
          </ac:spMkLst>
        </pc:spChg>
        <pc:graphicFrameChg chg="mod">
          <ac:chgData name="M, Shilpa Goud" userId="a9d4caf0-26bb-4255-ac96-11e70e69739c" providerId="ADAL" clId="{CD82DD27-F640-42E4-85A0-8C9BBA491AA9}" dt="2020-10-19T13:48:53.513" v="67" actId="1076"/>
          <ac:graphicFrameMkLst>
            <pc:docMk/>
            <pc:sldMk cId="2246163936" sldId="8788"/>
            <ac:graphicFrameMk id="2" creationId="{DBFB0C01-4024-4DDF-BB08-6AA678F60360}"/>
          </ac:graphicFrameMkLst>
        </pc:graphicFrameChg>
      </pc:sldChg>
      <pc:sldChg chg="addSp modSp">
        <pc:chgData name="M, Shilpa Goud" userId="a9d4caf0-26bb-4255-ac96-11e70e69739c" providerId="ADAL" clId="{CD82DD27-F640-42E4-85A0-8C9BBA491AA9}" dt="2020-10-19T13:49:23.496" v="85" actId="20577"/>
        <pc:sldMkLst>
          <pc:docMk/>
          <pc:sldMk cId="847777020" sldId="8791"/>
        </pc:sldMkLst>
        <pc:spChg chg="add mod">
          <ac:chgData name="M, Shilpa Goud" userId="a9d4caf0-26bb-4255-ac96-11e70e69739c" providerId="ADAL" clId="{CD82DD27-F640-42E4-85A0-8C9BBA491AA9}" dt="2020-10-19T13:49:23.496" v="85" actId="20577"/>
          <ac:spMkLst>
            <pc:docMk/>
            <pc:sldMk cId="847777020" sldId="8791"/>
            <ac:spMk id="4" creationId="{6769BA6E-3315-4710-AB32-5C404A5A982C}"/>
          </ac:spMkLst>
        </pc:spChg>
      </pc:sldChg>
      <pc:sldChg chg="addSp">
        <pc:chgData name="M, Shilpa Goud" userId="a9d4caf0-26bb-4255-ac96-11e70e69739c" providerId="ADAL" clId="{CD82DD27-F640-42E4-85A0-8C9BBA491AA9}" dt="2020-10-19T13:49:05.623" v="70"/>
        <pc:sldMkLst>
          <pc:docMk/>
          <pc:sldMk cId="1867916483" sldId="8795"/>
        </pc:sldMkLst>
        <pc:spChg chg="add">
          <ac:chgData name="M, Shilpa Goud" userId="a9d4caf0-26bb-4255-ac96-11e70e69739c" providerId="ADAL" clId="{CD82DD27-F640-42E4-85A0-8C9BBA491AA9}" dt="2020-10-19T13:49:05.623" v="70"/>
          <ac:spMkLst>
            <pc:docMk/>
            <pc:sldMk cId="1867916483" sldId="8795"/>
            <ac:spMk id="5" creationId="{90A3A2B5-0462-47C9-AE5D-CC31D8415F44}"/>
          </ac:spMkLst>
        </pc:spChg>
      </pc:sldChg>
      <pc:sldChg chg="addSp modSp">
        <pc:chgData name="M, Shilpa Goud" userId="a9d4caf0-26bb-4255-ac96-11e70e69739c" providerId="ADAL" clId="{CD82DD27-F640-42E4-85A0-8C9BBA491AA9}" dt="2020-10-19T13:53:31.713" v="289" actId="20577"/>
        <pc:sldMkLst>
          <pc:docMk/>
          <pc:sldMk cId="4169581344" sldId="8798"/>
        </pc:sldMkLst>
        <pc:spChg chg="add mod">
          <ac:chgData name="M, Shilpa Goud" userId="a9d4caf0-26bb-4255-ac96-11e70e69739c" providerId="ADAL" clId="{CD82DD27-F640-42E4-85A0-8C9BBA491AA9}" dt="2020-10-19T13:53:31.713" v="289" actId="20577"/>
          <ac:spMkLst>
            <pc:docMk/>
            <pc:sldMk cId="4169581344" sldId="8798"/>
            <ac:spMk id="6" creationId="{CF03D461-03F3-4208-8816-01F8B124B339}"/>
          </ac:spMkLst>
        </pc:spChg>
      </pc:sldChg>
      <pc:sldChg chg="addSp delSp modSp">
        <pc:chgData name="M, Shilpa Goud" userId="a9d4caf0-26bb-4255-ac96-11e70e69739c" providerId="ADAL" clId="{CD82DD27-F640-42E4-85A0-8C9BBA491AA9}" dt="2020-10-19T13:47:47.118" v="43" actId="20577"/>
        <pc:sldMkLst>
          <pc:docMk/>
          <pc:sldMk cId="2745656098" sldId="8807"/>
        </pc:sldMkLst>
        <pc:spChg chg="add del">
          <ac:chgData name="M, Shilpa Goud" userId="a9d4caf0-26bb-4255-ac96-11e70e69739c" providerId="ADAL" clId="{CD82DD27-F640-42E4-85A0-8C9BBA491AA9}" dt="2020-10-19T13:47:37.570" v="36" actId="478"/>
          <ac:spMkLst>
            <pc:docMk/>
            <pc:sldMk cId="2745656098" sldId="8807"/>
            <ac:spMk id="7" creationId="{91190E72-57EA-41B4-97A9-381CAB24D28C}"/>
          </ac:spMkLst>
        </pc:spChg>
        <pc:spChg chg="add mod">
          <ac:chgData name="M, Shilpa Goud" userId="a9d4caf0-26bb-4255-ac96-11e70e69739c" providerId="ADAL" clId="{CD82DD27-F640-42E4-85A0-8C9BBA491AA9}" dt="2020-10-19T13:47:47.118" v="43" actId="20577"/>
          <ac:spMkLst>
            <pc:docMk/>
            <pc:sldMk cId="2745656098" sldId="8807"/>
            <ac:spMk id="8" creationId="{AFAF7427-7141-4551-A317-2E6499E218D5}"/>
          </ac:spMkLst>
        </pc:spChg>
      </pc:sldChg>
      <pc:sldChg chg="addSp modSp">
        <pc:chgData name="M, Shilpa Goud" userId="a9d4caf0-26bb-4255-ac96-11e70e69739c" providerId="ADAL" clId="{CD82DD27-F640-42E4-85A0-8C9BBA491AA9}" dt="2020-10-19T13:55:45.597" v="397" actId="20577"/>
        <pc:sldMkLst>
          <pc:docMk/>
          <pc:sldMk cId="2399400722" sldId="8809"/>
        </pc:sldMkLst>
        <pc:spChg chg="add mod">
          <ac:chgData name="M, Shilpa Goud" userId="a9d4caf0-26bb-4255-ac96-11e70e69739c" providerId="ADAL" clId="{CD82DD27-F640-42E4-85A0-8C9BBA491AA9}" dt="2020-10-19T13:55:45.597" v="397" actId="20577"/>
          <ac:spMkLst>
            <pc:docMk/>
            <pc:sldMk cId="2399400722" sldId="8809"/>
            <ac:spMk id="10" creationId="{4415DFDF-0282-4269-81B4-460F3D04CC73}"/>
          </ac:spMkLst>
        </pc:spChg>
      </pc:sldChg>
      <pc:sldChg chg="addSp modSp">
        <pc:chgData name="M, Shilpa Goud" userId="a9d4caf0-26bb-4255-ac96-11e70e69739c" providerId="ADAL" clId="{CD82DD27-F640-42E4-85A0-8C9BBA491AA9}" dt="2020-10-19T13:53:16.489" v="277" actId="20577"/>
        <pc:sldMkLst>
          <pc:docMk/>
          <pc:sldMk cId="4099786269" sldId="8812"/>
        </pc:sldMkLst>
        <pc:spChg chg="add mod">
          <ac:chgData name="M, Shilpa Goud" userId="a9d4caf0-26bb-4255-ac96-11e70e69739c" providerId="ADAL" clId="{CD82DD27-F640-42E4-85A0-8C9BBA491AA9}" dt="2020-10-19T13:53:16.489" v="277" actId="20577"/>
          <ac:spMkLst>
            <pc:docMk/>
            <pc:sldMk cId="4099786269" sldId="8812"/>
            <ac:spMk id="6" creationId="{A42BB4E6-03A6-4905-B7B0-17CDDB106D93}"/>
          </ac:spMkLst>
        </pc:spChg>
      </pc:sldChg>
      <pc:sldChg chg="addSp">
        <pc:chgData name="M, Shilpa Goud" userId="a9d4caf0-26bb-4255-ac96-11e70e69739c" providerId="ADAL" clId="{CD82DD27-F640-42E4-85A0-8C9BBA491AA9}" dt="2020-10-19T13:52:31.804" v="234"/>
        <pc:sldMkLst>
          <pc:docMk/>
          <pc:sldMk cId="3493385288" sldId="8816"/>
        </pc:sldMkLst>
        <pc:spChg chg="add">
          <ac:chgData name="M, Shilpa Goud" userId="a9d4caf0-26bb-4255-ac96-11e70e69739c" providerId="ADAL" clId="{CD82DD27-F640-42E4-85A0-8C9BBA491AA9}" dt="2020-10-19T13:52:31.804" v="234"/>
          <ac:spMkLst>
            <pc:docMk/>
            <pc:sldMk cId="3493385288" sldId="8816"/>
            <ac:spMk id="7" creationId="{00E77793-BBB1-4502-97FB-B01B165C13B0}"/>
          </ac:spMkLst>
        </pc:spChg>
      </pc:sldChg>
      <pc:sldChg chg="addSp modSp">
        <pc:chgData name="M, Shilpa Goud" userId="a9d4caf0-26bb-4255-ac96-11e70e69739c" providerId="ADAL" clId="{CD82DD27-F640-42E4-85A0-8C9BBA491AA9}" dt="2020-10-19T13:56:02.452" v="404" actId="20577"/>
        <pc:sldMkLst>
          <pc:docMk/>
          <pc:sldMk cId="3924100793" sldId="8832"/>
        </pc:sldMkLst>
        <pc:spChg chg="add mod">
          <ac:chgData name="M, Shilpa Goud" userId="a9d4caf0-26bb-4255-ac96-11e70e69739c" providerId="ADAL" clId="{CD82DD27-F640-42E4-85A0-8C9BBA491AA9}" dt="2020-10-19T13:56:02.452" v="404" actId="20577"/>
          <ac:spMkLst>
            <pc:docMk/>
            <pc:sldMk cId="3924100793" sldId="8832"/>
            <ac:spMk id="10" creationId="{B163C940-F4B7-440F-A0D3-D78068A5C493}"/>
          </ac:spMkLst>
        </pc:spChg>
      </pc:sldChg>
      <pc:sldChg chg="addSp modSp">
        <pc:chgData name="M, Shilpa Goud" userId="a9d4caf0-26bb-4255-ac96-11e70e69739c" providerId="ADAL" clId="{CD82DD27-F640-42E4-85A0-8C9BBA491AA9}" dt="2020-10-19T13:50:06.385" v="119" actId="20577"/>
        <pc:sldMkLst>
          <pc:docMk/>
          <pc:sldMk cId="2138715199" sldId="8833"/>
        </pc:sldMkLst>
        <pc:spChg chg="add mod">
          <ac:chgData name="M, Shilpa Goud" userId="a9d4caf0-26bb-4255-ac96-11e70e69739c" providerId="ADAL" clId="{CD82DD27-F640-42E4-85A0-8C9BBA491AA9}" dt="2020-10-19T13:50:06.385" v="119" actId="20577"/>
          <ac:spMkLst>
            <pc:docMk/>
            <pc:sldMk cId="2138715199" sldId="8833"/>
            <ac:spMk id="5" creationId="{04E3B074-3CBA-41FE-9B88-0578E5E688CC}"/>
          </ac:spMkLst>
        </pc:spChg>
      </pc:sldChg>
      <pc:sldChg chg="addSp modSp">
        <pc:chgData name="M, Shilpa Goud" userId="a9d4caf0-26bb-4255-ac96-11e70e69739c" providerId="ADAL" clId="{CD82DD27-F640-42E4-85A0-8C9BBA491AA9}" dt="2020-10-19T13:53:46.005" v="296" actId="20577"/>
        <pc:sldMkLst>
          <pc:docMk/>
          <pc:sldMk cId="1180582917" sldId="8835"/>
        </pc:sldMkLst>
        <pc:spChg chg="add mod">
          <ac:chgData name="M, Shilpa Goud" userId="a9d4caf0-26bb-4255-ac96-11e70e69739c" providerId="ADAL" clId="{CD82DD27-F640-42E4-85A0-8C9BBA491AA9}" dt="2020-10-19T13:53:46.005" v="296" actId="20577"/>
          <ac:spMkLst>
            <pc:docMk/>
            <pc:sldMk cId="1180582917" sldId="8835"/>
            <ac:spMk id="4" creationId="{6795D04D-BAAA-4E66-A4C4-8F9601634EB6}"/>
          </ac:spMkLst>
        </pc:spChg>
      </pc:sldChg>
      <pc:sldChg chg="addSp modSp">
        <pc:chgData name="M, Shilpa Goud" userId="a9d4caf0-26bb-4255-ac96-11e70e69739c" providerId="ADAL" clId="{CD82DD27-F640-42E4-85A0-8C9BBA491AA9}" dt="2020-10-19T13:52:51.383" v="269" actId="20577"/>
        <pc:sldMkLst>
          <pc:docMk/>
          <pc:sldMk cId="2725184318" sldId="8836"/>
        </pc:sldMkLst>
        <pc:spChg chg="add mod">
          <ac:chgData name="M, Shilpa Goud" userId="a9d4caf0-26bb-4255-ac96-11e70e69739c" providerId="ADAL" clId="{CD82DD27-F640-42E4-85A0-8C9BBA491AA9}" dt="2020-10-19T13:52:51.383" v="269" actId="20577"/>
          <ac:spMkLst>
            <pc:docMk/>
            <pc:sldMk cId="2725184318" sldId="8836"/>
            <ac:spMk id="4" creationId="{C676C181-32FC-49A3-B41E-9812E455596B}"/>
          </ac:spMkLst>
        </pc:spChg>
      </pc:sldChg>
      <pc:sldChg chg="addSp modSp">
        <pc:chgData name="M, Shilpa Goud" userId="a9d4caf0-26bb-4255-ac96-11e70e69739c" providerId="ADAL" clId="{CD82DD27-F640-42E4-85A0-8C9BBA491AA9}" dt="2020-10-19T13:50:56.753" v="180" actId="20577"/>
        <pc:sldMkLst>
          <pc:docMk/>
          <pc:sldMk cId="208755446" sldId="8837"/>
        </pc:sldMkLst>
        <pc:spChg chg="add mod">
          <ac:chgData name="M, Shilpa Goud" userId="a9d4caf0-26bb-4255-ac96-11e70e69739c" providerId="ADAL" clId="{CD82DD27-F640-42E4-85A0-8C9BBA491AA9}" dt="2020-10-19T13:50:56.753" v="180" actId="20577"/>
          <ac:spMkLst>
            <pc:docMk/>
            <pc:sldMk cId="208755446" sldId="8837"/>
            <ac:spMk id="7" creationId="{6B5B980A-D249-4682-BD97-0E22696D8193}"/>
          </ac:spMkLst>
        </pc:spChg>
      </pc:sldChg>
      <pc:sldChg chg="addSp">
        <pc:chgData name="M, Shilpa Goud" userId="a9d4caf0-26bb-4255-ac96-11e70e69739c" providerId="ADAL" clId="{CD82DD27-F640-42E4-85A0-8C9BBA491AA9}" dt="2020-10-19T13:51:26.873" v="187"/>
        <pc:sldMkLst>
          <pc:docMk/>
          <pc:sldMk cId="3472853465" sldId="8838"/>
        </pc:sldMkLst>
        <pc:spChg chg="add">
          <ac:chgData name="M, Shilpa Goud" userId="a9d4caf0-26bb-4255-ac96-11e70e69739c" providerId="ADAL" clId="{CD82DD27-F640-42E4-85A0-8C9BBA491AA9}" dt="2020-10-19T13:51:26.873" v="187"/>
          <ac:spMkLst>
            <pc:docMk/>
            <pc:sldMk cId="3472853465" sldId="8838"/>
            <ac:spMk id="5" creationId="{8C46444C-8AAE-48D9-9FD7-E834F9D9A92D}"/>
          </ac:spMkLst>
        </pc:spChg>
      </pc:sldChg>
      <pc:sldChg chg="addSp modSp">
        <pc:chgData name="M, Shilpa Goud" userId="a9d4caf0-26bb-4255-ac96-11e70e69739c" providerId="ADAL" clId="{CD82DD27-F640-42E4-85A0-8C9BBA491AA9}" dt="2020-10-19T13:51:56.202" v="212" actId="20577"/>
        <pc:sldMkLst>
          <pc:docMk/>
          <pc:sldMk cId="860965959" sldId="8839"/>
        </pc:sldMkLst>
        <pc:spChg chg="add mod">
          <ac:chgData name="M, Shilpa Goud" userId="a9d4caf0-26bb-4255-ac96-11e70e69739c" providerId="ADAL" clId="{CD82DD27-F640-42E4-85A0-8C9BBA491AA9}" dt="2020-10-19T13:51:56.202" v="212" actId="20577"/>
          <ac:spMkLst>
            <pc:docMk/>
            <pc:sldMk cId="860965959" sldId="8839"/>
            <ac:spMk id="5" creationId="{EC32FE00-BE74-44DF-A048-939A0227B2B8}"/>
          </ac:spMkLst>
        </pc:spChg>
      </pc:sldChg>
      <pc:sldChg chg="addSp">
        <pc:chgData name="M, Shilpa Goud" userId="a9d4caf0-26bb-4255-ac96-11e70e69739c" providerId="ADAL" clId="{CD82DD27-F640-42E4-85A0-8C9BBA491AA9}" dt="2020-10-19T13:52:25.042" v="233"/>
        <pc:sldMkLst>
          <pc:docMk/>
          <pc:sldMk cId="1539445935" sldId="8840"/>
        </pc:sldMkLst>
        <pc:spChg chg="add">
          <ac:chgData name="M, Shilpa Goud" userId="a9d4caf0-26bb-4255-ac96-11e70e69739c" providerId="ADAL" clId="{CD82DD27-F640-42E4-85A0-8C9BBA491AA9}" dt="2020-10-19T13:52:25.042" v="233"/>
          <ac:spMkLst>
            <pc:docMk/>
            <pc:sldMk cId="1539445935" sldId="8840"/>
            <ac:spMk id="5" creationId="{F6DEBC9E-DD46-4FEB-961A-9207BAFDAA5F}"/>
          </ac:spMkLst>
        </pc:spChg>
      </pc:sldChg>
      <pc:sldChg chg="addSp">
        <pc:chgData name="M, Shilpa Goud" userId="a9d4caf0-26bb-4255-ac96-11e70e69739c" providerId="ADAL" clId="{CD82DD27-F640-42E4-85A0-8C9BBA491AA9}" dt="2020-10-19T13:46:35.706" v="23"/>
        <pc:sldMkLst>
          <pc:docMk/>
          <pc:sldMk cId="1085851461" sldId="8963"/>
        </pc:sldMkLst>
        <pc:spChg chg="add">
          <ac:chgData name="M, Shilpa Goud" userId="a9d4caf0-26bb-4255-ac96-11e70e69739c" providerId="ADAL" clId="{CD82DD27-F640-42E4-85A0-8C9BBA491AA9}" dt="2020-10-19T13:46:35.706" v="23"/>
          <ac:spMkLst>
            <pc:docMk/>
            <pc:sldMk cId="1085851461" sldId="8963"/>
            <ac:spMk id="29" creationId="{B6134609-6F15-4CC8-9B0F-603EB956044A}"/>
          </ac:spMkLst>
        </pc:spChg>
      </pc:sldChg>
      <pc:sldChg chg="addSp modSp">
        <pc:chgData name="M, Shilpa Goud" userId="a9d4caf0-26bb-4255-ac96-11e70e69739c" providerId="ADAL" clId="{CD82DD27-F640-42E4-85A0-8C9BBA491AA9}" dt="2020-10-19T13:46:28.017" v="22" actId="20577"/>
        <pc:sldMkLst>
          <pc:docMk/>
          <pc:sldMk cId="617162357" sldId="8972"/>
        </pc:sldMkLst>
        <pc:spChg chg="add mod">
          <ac:chgData name="M, Shilpa Goud" userId="a9d4caf0-26bb-4255-ac96-11e70e69739c" providerId="ADAL" clId="{CD82DD27-F640-42E4-85A0-8C9BBA491AA9}" dt="2020-10-19T13:46:28.017" v="22" actId="20577"/>
          <ac:spMkLst>
            <pc:docMk/>
            <pc:sldMk cId="617162357" sldId="8972"/>
            <ac:spMk id="2" creationId="{0E8C3F6B-6DD8-4901-9180-BA189F1C1CE3}"/>
          </ac:spMkLst>
        </pc:spChg>
      </pc:sldChg>
      <pc:sldChg chg="addSp">
        <pc:chgData name="M, Shilpa Goud" userId="a9d4caf0-26bb-4255-ac96-11e70e69739c" providerId="ADAL" clId="{CD82DD27-F640-42E4-85A0-8C9BBA491AA9}" dt="2020-10-19T13:51:16.080" v="184"/>
        <pc:sldMkLst>
          <pc:docMk/>
          <pc:sldMk cId="3148283714" sldId="8987"/>
        </pc:sldMkLst>
        <pc:spChg chg="add">
          <ac:chgData name="M, Shilpa Goud" userId="a9d4caf0-26bb-4255-ac96-11e70e69739c" providerId="ADAL" clId="{CD82DD27-F640-42E4-85A0-8C9BBA491AA9}" dt="2020-10-19T13:51:16.080" v="184"/>
          <ac:spMkLst>
            <pc:docMk/>
            <pc:sldMk cId="3148283714" sldId="8987"/>
            <ac:spMk id="5" creationId="{3888AD6F-A728-43A6-B967-26FFC8A344D4}"/>
          </ac:spMkLst>
        </pc:spChg>
      </pc:sldChg>
      <pc:sldChg chg="addSp">
        <pc:chgData name="M, Shilpa Goud" userId="a9d4caf0-26bb-4255-ac96-11e70e69739c" providerId="ADAL" clId="{CD82DD27-F640-42E4-85A0-8C9BBA491AA9}" dt="2020-10-19T13:52:34.715" v="235"/>
        <pc:sldMkLst>
          <pc:docMk/>
          <pc:sldMk cId="3411295302" sldId="8988"/>
        </pc:sldMkLst>
        <pc:spChg chg="add">
          <ac:chgData name="M, Shilpa Goud" userId="a9d4caf0-26bb-4255-ac96-11e70e69739c" providerId="ADAL" clId="{CD82DD27-F640-42E4-85A0-8C9BBA491AA9}" dt="2020-10-19T13:52:34.715" v="235"/>
          <ac:spMkLst>
            <pc:docMk/>
            <pc:sldMk cId="3411295302" sldId="8988"/>
            <ac:spMk id="5" creationId="{F5A84FE5-9E9E-4E42-9D8A-61A3EB27217B}"/>
          </ac:spMkLst>
        </pc:spChg>
      </pc:sldChg>
      <pc:sldChg chg="addSp modSp">
        <pc:chgData name="M, Shilpa Goud" userId="a9d4caf0-26bb-4255-ac96-11e70e69739c" providerId="ADAL" clId="{CD82DD27-F640-42E4-85A0-8C9BBA491AA9}" dt="2020-10-19T13:47:57.594" v="50" actId="20577"/>
        <pc:sldMkLst>
          <pc:docMk/>
          <pc:sldMk cId="969028718" sldId="8990"/>
        </pc:sldMkLst>
        <pc:spChg chg="add mod">
          <ac:chgData name="M, Shilpa Goud" userId="a9d4caf0-26bb-4255-ac96-11e70e69739c" providerId="ADAL" clId="{CD82DD27-F640-42E4-85A0-8C9BBA491AA9}" dt="2020-10-19T13:47:57.594" v="50" actId="20577"/>
          <ac:spMkLst>
            <pc:docMk/>
            <pc:sldMk cId="969028718" sldId="8990"/>
            <ac:spMk id="7" creationId="{EA050D05-CFF1-4F92-99D8-7B3512919529}"/>
          </ac:spMkLst>
        </pc:spChg>
      </pc:sldChg>
      <pc:sldChg chg="addSp">
        <pc:chgData name="M, Shilpa Goud" userId="a9d4caf0-26bb-4255-ac96-11e70e69739c" providerId="ADAL" clId="{CD82DD27-F640-42E4-85A0-8C9BBA491AA9}" dt="2020-10-19T13:51:20.113" v="185"/>
        <pc:sldMkLst>
          <pc:docMk/>
          <pc:sldMk cId="883180132" sldId="8992"/>
        </pc:sldMkLst>
        <pc:spChg chg="add">
          <ac:chgData name="M, Shilpa Goud" userId="a9d4caf0-26bb-4255-ac96-11e70e69739c" providerId="ADAL" clId="{CD82DD27-F640-42E4-85A0-8C9BBA491AA9}" dt="2020-10-19T13:51:20.113" v="185"/>
          <ac:spMkLst>
            <pc:docMk/>
            <pc:sldMk cId="883180132" sldId="8992"/>
            <ac:spMk id="7" creationId="{5D8F908C-DB66-4850-9BC9-BA5CDA34BE7C}"/>
          </ac:spMkLst>
        </pc:spChg>
      </pc:sldChg>
      <pc:sldChg chg="addSp">
        <pc:chgData name="M, Shilpa Goud" userId="a9d4caf0-26bb-4255-ac96-11e70e69739c" providerId="ADAL" clId="{CD82DD27-F640-42E4-85A0-8C9BBA491AA9}" dt="2020-10-19T13:48:59.497" v="68"/>
        <pc:sldMkLst>
          <pc:docMk/>
          <pc:sldMk cId="3593577048" sldId="8993"/>
        </pc:sldMkLst>
        <pc:spChg chg="add">
          <ac:chgData name="M, Shilpa Goud" userId="a9d4caf0-26bb-4255-ac96-11e70e69739c" providerId="ADAL" clId="{CD82DD27-F640-42E4-85A0-8C9BBA491AA9}" dt="2020-10-19T13:48:59.497" v="68"/>
          <ac:spMkLst>
            <pc:docMk/>
            <pc:sldMk cId="3593577048" sldId="8993"/>
            <ac:spMk id="9" creationId="{A6D362C4-837D-46FC-9A23-005884974941}"/>
          </ac:spMkLst>
        </pc:spChg>
      </pc:sldChg>
      <pc:sldChg chg="addSp">
        <pc:chgData name="M, Shilpa Goud" userId="a9d4caf0-26bb-4255-ac96-11e70e69739c" providerId="ADAL" clId="{CD82DD27-F640-42E4-85A0-8C9BBA491AA9}" dt="2020-10-19T13:49:02.058" v="69"/>
        <pc:sldMkLst>
          <pc:docMk/>
          <pc:sldMk cId="212171083" sldId="8995"/>
        </pc:sldMkLst>
        <pc:spChg chg="add">
          <ac:chgData name="M, Shilpa Goud" userId="a9d4caf0-26bb-4255-ac96-11e70e69739c" providerId="ADAL" clId="{CD82DD27-F640-42E4-85A0-8C9BBA491AA9}" dt="2020-10-19T13:49:02.058" v="69"/>
          <ac:spMkLst>
            <pc:docMk/>
            <pc:sldMk cId="212171083" sldId="8995"/>
            <ac:spMk id="10" creationId="{DFDAE4EA-987B-4B31-9DDB-41D3A68DE561}"/>
          </ac:spMkLst>
        </pc:spChg>
      </pc:sldChg>
      <pc:sldChg chg="addSp">
        <pc:chgData name="M, Shilpa Goud" userId="a9d4caf0-26bb-4255-ac96-11e70e69739c" providerId="ADAL" clId="{CD82DD27-F640-42E4-85A0-8C9BBA491AA9}" dt="2020-10-19T13:49:09.123" v="71"/>
        <pc:sldMkLst>
          <pc:docMk/>
          <pc:sldMk cId="1957478734" sldId="8996"/>
        </pc:sldMkLst>
        <pc:spChg chg="add">
          <ac:chgData name="M, Shilpa Goud" userId="a9d4caf0-26bb-4255-ac96-11e70e69739c" providerId="ADAL" clId="{CD82DD27-F640-42E4-85A0-8C9BBA491AA9}" dt="2020-10-19T13:49:09.123" v="71"/>
          <ac:spMkLst>
            <pc:docMk/>
            <pc:sldMk cId="1957478734" sldId="8996"/>
            <ac:spMk id="8" creationId="{489EB390-C267-49AA-B72C-5E20EAD48375}"/>
          </ac:spMkLst>
        </pc:spChg>
      </pc:sldChg>
      <pc:sldChg chg="addSp modSp">
        <pc:chgData name="M, Shilpa Goud" userId="a9d4caf0-26bb-4255-ac96-11e70e69739c" providerId="ADAL" clId="{CD82DD27-F640-42E4-85A0-8C9BBA491AA9}" dt="2020-10-19T13:50:17.694" v="139" actId="20577"/>
        <pc:sldMkLst>
          <pc:docMk/>
          <pc:sldMk cId="3911023700" sldId="8997"/>
        </pc:sldMkLst>
        <pc:spChg chg="add mod">
          <ac:chgData name="M, Shilpa Goud" userId="a9d4caf0-26bb-4255-ac96-11e70e69739c" providerId="ADAL" clId="{CD82DD27-F640-42E4-85A0-8C9BBA491AA9}" dt="2020-10-19T13:50:17.694" v="139" actId="20577"/>
          <ac:spMkLst>
            <pc:docMk/>
            <pc:sldMk cId="3911023700" sldId="8997"/>
            <ac:spMk id="10" creationId="{9E75445F-C792-417F-A090-F6BCAA106DE8}"/>
          </ac:spMkLst>
        </pc:spChg>
      </pc:sldChg>
      <pc:sldChg chg="addSp">
        <pc:chgData name="M, Shilpa Goud" userId="a9d4caf0-26bb-4255-ac96-11e70e69739c" providerId="ADAL" clId="{CD82DD27-F640-42E4-85A0-8C9BBA491AA9}" dt="2020-10-19T13:51:07.657" v="181"/>
        <pc:sldMkLst>
          <pc:docMk/>
          <pc:sldMk cId="2311481195" sldId="8999"/>
        </pc:sldMkLst>
        <pc:spChg chg="add">
          <ac:chgData name="M, Shilpa Goud" userId="a9d4caf0-26bb-4255-ac96-11e70e69739c" providerId="ADAL" clId="{CD82DD27-F640-42E4-85A0-8C9BBA491AA9}" dt="2020-10-19T13:51:07.657" v="181"/>
          <ac:spMkLst>
            <pc:docMk/>
            <pc:sldMk cId="2311481195" sldId="8999"/>
            <ac:spMk id="11" creationId="{9FE71933-EA15-4713-A8B4-B3A0489E5A2C}"/>
          </ac:spMkLst>
        </pc:spChg>
      </pc:sldChg>
      <pc:sldChg chg="addSp">
        <pc:chgData name="M, Shilpa Goud" userId="a9d4caf0-26bb-4255-ac96-11e70e69739c" providerId="ADAL" clId="{CD82DD27-F640-42E4-85A0-8C9BBA491AA9}" dt="2020-10-19T13:51:11.087" v="182"/>
        <pc:sldMkLst>
          <pc:docMk/>
          <pc:sldMk cId="477347674" sldId="9000"/>
        </pc:sldMkLst>
        <pc:spChg chg="add">
          <ac:chgData name="M, Shilpa Goud" userId="a9d4caf0-26bb-4255-ac96-11e70e69739c" providerId="ADAL" clId="{CD82DD27-F640-42E4-85A0-8C9BBA491AA9}" dt="2020-10-19T13:51:11.087" v="182"/>
          <ac:spMkLst>
            <pc:docMk/>
            <pc:sldMk cId="477347674" sldId="9000"/>
            <ac:spMk id="5" creationId="{D893A6DA-F645-46BF-8ABB-2AA4C8D780D2}"/>
          </ac:spMkLst>
        </pc:spChg>
      </pc:sldChg>
      <pc:sldChg chg="addSp">
        <pc:chgData name="M, Shilpa Goud" userId="a9d4caf0-26bb-4255-ac96-11e70e69739c" providerId="ADAL" clId="{CD82DD27-F640-42E4-85A0-8C9BBA491AA9}" dt="2020-10-19T13:51:23.885" v="186"/>
        <pc:sldMkLst>
          <pc:docMk/>
          <pc:sldMk cId="3424447147" sldId="9001"/>
        </pc:sldMkLst>
        <pc:spChg chg="add">
          <ac:chgData name="M, Shilpa Goud" userId="a9d4caf0-26bb-4255-ac96-11e70e69739c" providerId="ADAL" clId="{CD82DD27-F640-42E4-85A0-8C9BBA491AA9}" dt="2020-10-19T13:51:23.885" v="186"/>
          <ac:spMkLst>
            <pc:docMk/>
            <pc:sldMk cId="3424447147" sldId="9001"/>
            <ac:spMk id="13" creationId="{FA5A1441-11F3-4FED-8569-4A7884C007C7}"/>
          </ac:spMkLst>
        </pc:spChg>
      </pc:sldChg>
      <pc:sldChg chg="addSp modSp">
        <pc:chgData name="M, Shilpa Goud" userId="a9d4caf0-26bb-4255-ac96-11e70e69739c" providerId="ADAL" clId="{CD82DD27-F640-42E4-85A0-8C9BBA491AA9}" dt="2020-10-19T13:52:15.718" v="232" actId="20577"/>
        <pc:sldMkLst>
          <pc:docMk/>
          <pc:sldMk cId="854018208" sldId="9002"/>
        </pc:sldMkLst>
        <pc:spChg chg="add mod">
          <ac:chgData name="M, Shilpa Goud" userId="a9d4caf0-26bb-4255-ac96-11e70e69739c" providerId="ADAL" clId="{CD82DD27-F640-42E4-85A0-8C9BBA491AA9}" dt="2020-10-19T13:52:15.718" v="232" actId="20577"/>
          <ac:spMkLst>
            <pc:docMk/>
            <pc:sldMk cId="854018208" sldId="9002"/>
            <ac:spMk id="5" creationId="{C5F86A4C-30AE-4E05-9A1D-999CDD543C52}"/>
          </ac:spMkLst>
        </pc:spChg>
      </pc:sldChg>
      <pc:sldChg chg="addSp modSp">
        <pc:chgData name="M, Shilpa Goud" userId="a9d4caf0-26bb-4255-ac96-11e70e69739c" providerId="ADAL" clId="{CD82DD27-F640-42E4-85A0-8C9BBA491AA9}" dt="2020-10-19T13:52:04.685" v="221" actId="20577"/>
        <pc:sldMkLst>
          <pc:docMk/>
          <pc:sldMk cId="3569670892" sldId="9003"/>
        </pc:sldMkLst>
        <pc:spChg chg="add mod">
          <ac:chgData name="M, Shilpa Goud" userId="a9d4caf0-26bb-4255-ac96-11e70e69739c" providerId="ADAL" clId="{CD82DD27-F640-42E4-85A0-8C9BBA491AA9}" dt="2020-10-19T13:52:04.685" v="221" actId="20577"/>
          <ac:spMkLst>
            <pc:docMk/>
            <pc:sldMk cId="3569670892" sldId="9003"/>
            <ac:spMk id="6" creationId="{C43285EF-1FC6-48F5-9DA7-E8D0928044EA}"/>
          </ac:spMkLst>
        </pc:spChg>
      </pc:sldChg>
      <pc:sldChg chg="addSp">
        <pc:chgData name="M, Shilpa Goud" userId="a9d4caf0-26bb-4255-ac96-11e70e69739c" providerId="ADAL" clId="{CD82DD27-F640-42E4-85A0-8C9BBA491AA9}" dt="2020-10-19T13:51:13.302" v="183"/>
        <pc:sldMkLst>
          <pc:docMk/>
          <pc:sldMk cId="2494993325" sldId="9004"/>
        </pc:sldMkLst>
        <pc:spChg chg="add">
          <ac:chgData name="M, Shilpa Goud" userId="a9d4caf0-26bb-4255-ac96-11e70e69739c" providerId="ADAL" clId="{CD82DD27-F640-42E4-85A0-8C9BBA491AA9}" dt="2020-10-19T13:51:13.302" v="183"/>
          <ac:spMkLst>
            <pc:docMk/>
            <pc:sldMk cId="2494993325" sldId="9004"/>
            <ac:spMk id="20" creationId="{2E07311D-AAB4-4383-B12B-B54E37BC719B}"/>
          </ac:spMkLst>
        </pc:spChg>
      </pc:sldChg>
    </pc:docChg>
  </pc:docChgLst>
  <pc:docChgLst>
    <pc:chgData name="Jivrajani, Dharini" userId="S::djivrajani@deloitte.com::9f28c9a6-e07b-4de5-8682-ac3f5c875595" providerId="AD" clId="Web-{391F1668-9E94-4916-8D01-8C8223C9ABC0}"/>
    <pc:docChg chg="delSld modSld modSection">
      <pc:chgData name="Jivrajani, Dharini" userId="S::djivrajani@deloitte.com::9f28c9a6-e07b-4de5-8682-ac3f5c875595" providerId="AD" clId="Web-{391F1668-9E94-4916-8D01-8C8223C9ABC0}" dt="2021-02-25T14:27:33.865" v="59"/>
      <pc:docMkLst>
        <pc:docMk/>
      </pc:docMkLst>
      <pc:sldChg chg="modSp">
        <pc:chgData name="Jivrajani, Dharini" userId="S::djivrajani@deloitte.com::9f28c9a6-e07b-4de5-8682-ac3f5c875595" providerId="AD" clId="Web-{391F1668-9E94-4916-8D01-8C8223C9ABC0}" dt="2021-02-25T14:27:33.865" v="59"/>
        <pc:sldMkLst>
          <pc:docMk/>
          <pc:sldMk cId="3377722835" sldId="8772"/>
        </pc:sldMkLst>
        <pc:graphicFrameChg chg="mod modGraphic">
          <ac:chgData name="Jivrajani, Dharini" userId="S::djivrajani@deloitte.com::9f28c9a6-e07b-4de5-8682-ac3f5c875595" providerId="AD" clId="Web-{391F1668-9E94-4916-8D01-8C8223C9ABC0}" dt="2021-02-25T14:27:33.865" v="59"/>
          <ac:graphicFrameMkLst>
            <pc:docMk/>
            <pc:sldMk cId="3377722835" sldId="8772"/>
            <ac:graphicFrameMk id="2" creationId="{7D8F2493-A0C4-4740-A16F-E066BC79CDD8}"/>
          </ac:graphicFrameMkLst>
        </pc:graphicFrameChg>
      </pc:sldChg>
      <pc:sldChg chg="del">
        <pc:chgData name="Jivrajani, Dharini" userId="S::djivrajani@deloitte.com::9f28c9a6-e07b-4de5-8682-ac3f5c875595" providerId="AD" clId="Web-{391F1668-9E94-4916-8D01-8C8223C9ABC0}" dt="2021-02-25T14:24:12.471" v="0"/>
        <pc:sldMkLst>
          <pc:docMk/>
          <pc:sldMk cId="837447137" sldId="9011"/>
        </pc:sldMkLst>
      </pc:sldChg>
      <pc:sldChg chg="del">
        <pc:chgData name="Jivrajani, Dharini" userId="S::djivrajani@deloitte.com::9f28c9a6-e07b-4de5-8682-ac3f5c875595" providerId="AD" clId="Web-{391F1668-9E94-4916-8D01-8C8223C9ABC0}" dt="2021-02-25T14:24:14.002" v="1"/>
        <pc:sldMkLst>
          <pc:docMk/>
          <pc:sldMk cId="278594214" sldId="9012"/>
        </pc:sldMkLst>
      </pc:sldChg>
      <pc:sldChg chg="del">
        <pc:chgData name="Jivrajani, Dharini" userId="S::djivrajani@deloitte.com::9f28c9a6-e07b-4de5-8682-ac3f5c875595" providerId="AD" clId="Web-{391F1668-9E94-4916-8D01-8C8223C9ABC0}" dt="2021-02-25T14:24:15.017" v="2"/>
        <pc:sldMkLst>
          <pc:docMk/>
          <pc:sldMk cId="4004995028" sldId="9013"/>
        </pc:sldMkLst>
      </pc:sldChg>
      <pc:sldChg chg="del">
        <pc:chgData name="Jivrajani, Dharini" userId="S::djivrajani@deloitte.com::9f28c9a6-e07b-4de5-8682-ac3f5c875595" providerId="AD" clId="Web-{391F1668-9E94-4916-8D01-8C8223C9ABC0}" dt="2021-02-25T14:24:17.111" v="3"/>
        <pc:sldMkLst>
          <pc:docMk/>
          <pc:sldMk cId="1807062554" sldId="9014"/>
        </pc:sldMkLst>
      </pc:sldChg>
    </pc:docChg>
  </pc:docChgLst>
  <pc:docChgLst>
    <pc:chgData name="Sidipohu, Abhilash" userId="1ff5d5b4-687c-427e-b924-f7401cd2c844" providerId="ADAL" clId="{4796DE11-432A-489B-84BA-F14253323C5D}"/>
    <pc:docChg chg="addSld delSld modSld modSection">
      <pc:chgData name="Sidipohu, Abhilash" userId="1ff5d5b4-687c-427e-b924-f7401cd2c844" providerId="ADAL" clId="{4796DE11-432A-489B-84BA-F14253323C5D}" dt="2020-11-30T07:22:50.496" v="9" actId="2696"/>
      <pc:docMkLst>
        <pc:docMk/>
      </pc:docMkLst>
      <pc:sldChg chg="add">
        <pc:chgData name="Sidipohu, Abhilash" userId="1ff5d5b4-687c-427e-b924-f7401cd2c844" providerId="ADAL" clId="{4796DE11-432A-489B-84BA-F14253323C5D}" dt="2020-11-30T07:21:52.938" v="2"/>
        <pc:sldMkLst>
          <pc:docMk/>
          <pc:sldMk cId="2093104445" sldId="269"/>
        </pc:sldMkLst>
      </pc:sldChg>
      <pc:sldChg chg="del">
        <pc:chgData name="Sidipohu, Abhilash" userId="1ff5d5b4-687c-427e-b924-f7401cd2c844" providerId="ADAL" clId="{4796DE11-432A-489B-84BA-F14253323C5D}" dt="2020-11-30T07:22:48.277" v="8" actId="2696"/>
        <pc:sldMkLst>
          <pc:docMk/>
          <pc:sldMk cId="3493385288" sldId="8816"/>
        </pc:sldMkLst>
      </pc:sldChg>
      <pc:sldChg chg="del">
        <pc:chgData name="Sidipohu, Abhilash" userId="1ff5d5b4-687c-427e-b924-f7401cd2c844" providerId="ADAL" clId="{4796DE11-432A-489B-84BA-F14253323C5D}" dt="2020-11-30T07:21:32.783" v="1" actId="2696"/>
        <pc:sldMkLst>
          <pc:docMk/>
          <pc:sldMk cId="860965959" sldId="8839"/>
        </pc:sldMkLst>
      </pc:sldChg>
      <pc:sldChg chg="del">
        <pc:chgData name="Sidipohu, Abhilash" userId="1ff5d5b4-687c-427e-b924-f7401cd2c844" providerId="ADAL" clId="{4796DE11-432A-489B-84BA-F14253323C5D}" dt="2020-11-30T07:22:22.118" v="6" actId="2696"/>
        <pc:sldMkLst>
          <pc:docMk/>
          <pc:sldMk cId="1539445935" sldId="8840"/>
        </pc:sldMkLst>
      </pc:sldChg>
      <pc:sldChg chg="del">
        <pc:chgData name="Sidipohu, Abhilash" userId="1ff5d5b4-687c-427e-b924-f7401cd2c844" providerId="ADAL" clId="{4796DE11-432A-489B-84BA-F14253323C5D}" dt="2020-11-30T07:22:50.496" v="9" actId="2696"/>
        <pc:sldMkLst>
          <pc:docMk/>
          <pc:sldMk cId="3411295302" sldId="8988"/>
        </pc:sldMkLst>
      </pc:sldChg>
      <pc:sldChg chg="del">
        <pc:chgData name="Sidipohu, Abhilash" userId="1ff5d5b4-687c-427e-b924-f7401cd2c844" providerId="ADAL" clId="{4796DE11-432A-489B-84BA-F14253323C5D}" dt="2020-11-30T07:22:17.345" v="5" actId="2696"/>
        <pc:sldMkLst>
          <pc:docMk/>
          <pc:sldMk cId="854018208" sldId="9002"/>
        </pc:sldMkLst>
      </pc:sldChg>
      <pc:sldChg chg="add del">
        <pc:chgData name="Sidipohu, Abhilash" userId="1ff5d5b4-687c-427e-b924-f7401cd2c844" providerId="ADAL" clId="{4796DE11-432A-489B-84BA-F14253323C5D}" dt="2020-11-30T07:22:13.998" v="4"/>
        <pc:sldMkLst>
          <pc:docMk/>
          <pc:sldMk cId="3569670892" sldId="9003"/>
        </pc:sldMkLst>
      </pc:sldChg>
      <pc:sldChg chg="add">
        <pc:chgData name="Sidipohu, Abhilash" userId="1ff5d5b4-687c-427e-b924-f7401cd2c844" providerId="ADAL" clId="{4796DE11-432A-489B-84BA-F14253323C5D}" dt="2020-11-30T07:21:29.455" v="0"/>
        <pc:sldMkLst>
          <pc:docMk/>
          <pc:sldMk cId="219835004" sldId="9019"/>
        </pc:sldMkLst>
      </pc:sldChg>
      <pc:sldChg chg="add">
        <pc:chgData name="Sidipohu, Abhilash" userId="1ff5d5b4-687c-427e-b924-f7401cd2c844" providerId="ADAL" clId="{4796DE11-432A-489B-84BA-F14253323C5D}" dt="2020-11-30T07:22:45.774" v="7"/>
        <pc:sldMkLst>
          <pc:docMk/>
          <pc:sldMk cId="571478568" sldId="9020"/>
        </pc:sldMkLst>
      </pc:sldChg>
    </pc:docChg>
  </pc:docChgLst>
  <pc:docChgLst>
    <pc:chgData name="Lakshmi Kalyan Chakravart, Lakshmi" userId="S::llakshmikalyancha@deloitte.com::59aadd41-0ad0-497c-abc3-cdea2ef388fe" providerId="AD" clId="Web-{005F050B-BD30-4621-BD89-5F8375D23869}"/>
    <pc:docChg chg="modSld">
      <pc:chgData name="Lakshmi Kalyan Chakravart, Lakshmi" userId="S::llakshmikalyancha@deloitte.com::59aadd41-0ad0-497c-abc3-cdea2ef388fe" providerId="AD" clId="Web-{005F050B-BD30-4621-BD89-5F8375D23869}" dt="2021-07-12T12:41:26.371" v="91" actId="1076"/>
      <pc:docMkLst>
        <pc:docMk/>
      </pc:docMkLst>
      <pc:sldChg chg="addSp modSp">
        <pc:chgData name="Lakshmi Kalyan Chakravart, Lakshmi" userId="S::llakshmikalyancha@deloitte.com::59aadd41-0ad0-497c-abc3-cdea2ef388fe" providerId="AD" clId="Web-{005F050B-BD30-4621-BD89-5F8375D23869}" dt="2021-07-12T12:41:26.371" v="91" actId="1076"/>
        <pc:sldMkLst>
          <pc:docMk/>
          <pc:sldMk cId="1983421167" sldId="9059"/>
        </pc:sldMkLst>
        <pc:spChg chg="add mod">
          <ac:chgData name="Lakshmi Kalyan Chakravart, Lakshmi" userId="S::llakshmikalyancha@deloitte.com::59aadd41-0ad0-497c-abc3-cdea2ef388fe" providerId="AD" clId="Web-{005F050B-BD30-4621-BD89-5F8375D23869}" dt="2021-07-12T12:37:32.278" v="49" actId="20577"/>
          <ac:spMkLst>
            <pc:docMk/>
            <pc:sldMk cId="1983421167" sldId="9059"/>
            <ac:spMk id="5" creationId="{B6F7D438-10C9-4B5B-B1A1-868C5F942DED}"/>
          </ac:spMkLst>
        </pc:spChg>
        <pc:spChg chg="add mod">
          <ac:chgData name="Lakshmi Kalyan Chakravart, Lakshmi" userId="S::llakshmikalyancha@deloitte.com::59aadd41-0ad0-497c-abc3-cdea2ef388fe" providerId="AD" clId="Web-{005F050B-BD30-4621-BD89-5F8375D23869}" dt="2021-07-12T12:38:34.716" v="64" actId="1076"/>
          <ac:spMkLst>
            <pc:docMk/>
            <pc:sldMk cId="1983421167" sldId="9059"/>
            <ac:spMk id="6" creationId="{ADAA0500-4F49-49F0-AA18-0878F4AAA938}"/>
          </ac:spMkLst>
        </pc:spChg>
        <pc:spChg chg="add mod">
          <ac:chgData name="Lakshmi Kalyan Chakravart, Lakshmi" userId="S::llakshmikalyancha@deloitte.com::59aadd41-0ad0-497c-abc3-cdea2ef388fe" providerId="AD" clId="Web-{005F050B-BD30-4621-BD89-5F8375D23869}" dt="2021-07-12T12:41:13.512" v="90"/>
          <ac:spMkLst>
            <pc:docMk/>
            <pc:sldMk cId="1983421167" sldId="9059"/>
            <ac:spMk id="7" creationId="{43FF103B-5A66-46BA-9CA6-B47D7800C813}"/>
          </ac:spMkLst>
        </pc:spChg>
        <pc:spChg chg="add mod">
          <ac:chgData name="Lakshmi Kalyan Chakravart, Lakshmi" userId="S::llakshmikalyancha@deloitte.com::59aadd41-0ad0-497c-abc3-cdea2ef388fe" providerId="AD" clId="Web-{005F050B-BD30-4621-BD89-5F8375D23869}" dt="2021-07-12T12:41:26.371" v="91" actId="1076"/>
          <ac:spMkLst>
            <pc:docMk/>
            <pc:sldMk cId="1983421167" sldId="9059"/>
            <ac:spMk id="8" creationId="{D7DE653E-C70F-4978-9A82-773ED34B7D06}"/>
          </ac:spMkLst>
        </pc:spChg>
        <pc:picChg chg="add mod">
          <ac:chgData name="Lakshmi Kalyan Chakravart, Lakshmi" userId="S::llakshmikalyancha@deloitte.com::59aadd41-0ad0-497c-abc3-cdea2ef388fe" providerId="AD" clId="Web-{005F050B-BD30-4621-BD89-5F8375D23869}" dt="2021-07-12T12:34:05.779" v="8"/>
          <ac:picMkLst>
            <pc:docMk/>
            <pc:sldMk cId="1983421167" sldId="9059"/>
            <ac:picMk id="4" creationId="{5D8A584D-9E37-4AC9-AFF6-F234D3EA664E}"/>
          </ac:picMkLst>
        </pc:picChg>
      </pc:sldChg>
    </pc:docChg>
  </pc:docChgLst>
  <pc:docChgLst>
    <pc:chgData name="Kutas-Hille, Janine" userId="S::jkutashille@deloitte.com::0788d68a-0adc-44ef-94ed-31189926cb8f" providerId="AD" clId="Web-{7F374203-7237-43BA-92CE-D301F2CF1CB0}"/>
    <pc:docChg chg="addSld modSld sldOrd modSection">
      <pc:chgData name="Kutas-Hille, Janine" userId="S::jkutashille@deloitte.com::0788d68a-0adc-44ef-94ed-31189926cb8f" providerId="AD" clId="Web-{7F374203-7237-43BA-92CE-D301F2CF1CB0}" dt="2020-12-01T23:17:11.423" v="1476"/>
      <pc:docMkLst>
        <pc:docMk/>
      </pc:docMkLst>
      <pc:sldChg chg="modSp">
        <pc:chgData name="Kutas-Hille, Janine" userId="S::jkutashille@deloitte.com::0788d68a-0adc-44ef-94ed-31189926cb8f" providerId="AD" clId="Web-{7F374203-7237-43BA-92CE-D301F2CF1CB0}" dt="2020-12-01T23:17:11.423" v="1476"/>
        <pc:sldMkLst>
          <pc:docMk/>
          <pc:sldMk cId="1369081146" sldId="8773"/>
        </pc:sldMkLst>
        <pc:graphicFrameChg chg="mod modGraphic">
          <ac:chgData name="Kutas-Hille, Janine" userId="S::jkutashille@deloitte.com::0788d68a-0adc-44ef-94ed-31189926cb8f" providerId="AD" clId="Web-{7F374203-7237-43BA-92CE-D301F2CF1CB0}" dt="2020-12-01T23:17:11.423" v="1476"/>
          <ac:graphicFrameMkLst>
            <pc:docMk/>
            <pc:sldMk cId="1369081146" sldId="8773"/>
            <ac:graphicFrameMk id="4" creationId="{2AAAC88F-F4B4-4FE3-956E-C3F806D71324}"/>
          </ac:graphicFrameMkLst>
        </pc:graphicFrameChg>
      </pc:sldChg>
      <pc:sldChg chg="modSp">
        <pc:chgData name="Kutas-Hille, Janine" userId="S::jkutashille@deloitte.com::0788d68a-0adc-44ef-94ed-31189926cb8f" providerId="AD" clId="Web-{7F374203-7237-43BA-92CE-D301F2CF1CB0}" dt="2020-12-01T19:29:00.358" v="1198" actId="20577"/>
        <pc:sldMkLst>
          <pc:docMk/>
          <pc:sldMk cId="166141878" sldId="8834"/>
        </pc:sldMkLst>
        <pc:spChg chg="mod">
          <ac:chgData name="Kutas-Hille, Janine" userId="S::jkutashille@deloitte.com::0788d68a-0adc-44ef-94ed-31189926cb8f" providerId="AD" clId="Web-{7F374203-7237-43BA-92CE-D301F2CF1CB0}" dt="2020-12-01T19:29:00.358" v="1198" actId="20577"/>
          <ac:spMkLst>
            <pc:docMk/>
            <pc:sldMk cId="166141878" sldId="8834"/>
            <ac:spMk id="4" creationId="{7A9DFF01-0B03-48E4-B42D-F011C5ECF119}"/>
          </ac:spMkLst>
        </pc:spChg>
      </pc:sldChg>
      <pc:sldChg chg="modSp">
        <pc:chgData name="Kutas-Hille, Janine" userId="S::jkutashille@deloitte.com::0788d68a-0adc-44ef-94ed-31189926cb8f" providerId="AD" clId="Web-{7F374203-7237-43BA-92CE-D301F2CF1CB0}" dt="2020-12-01T21:17:23.535" v="1238" actId="20577"/>
        <pc:sldMkLst>
          <pc:docMk/>
          <pc:sldMk cId="1180582917" sldId="8835"/>
        </pc:sldMkLst>
        <pc:spChg chg="mod">
          <ac:chgData name="Kutas-Hille, Janine" userId="S::jkutashille@deloitte.com::0788d68a-0adc-44ef-94ed-31189926cb8f" providerId="AD" clId="Web-{7F374203-7237-43BA-92CE-D301F2CF1CB0}" dt="2020-12-01T21:17:23.535" v="1238" actId="20577"/>
          <ac:spMkLst>
            <pc:docMk/>
            <pc:sldMk cId="1180582917" sldId="8835"/>
            <ac:spMk id="3" creationId="{21BBA9DD-83F9-4617-84E4-6CAA74E3B9FB}"/>
          </ac:spMkLst>
        </pc:spChg>
      </pc:sldChg>
      <pc:sldChg chg="modSp add ord replId">
        <pc:chgData name="Kutas-Hille, Janine" userId="S::jkutashille@deloitte.com::0788d68a-0adc-44ef-94ed-31189926cb8f" providerId="AD" clId="Web-{7F374203-7237-43BA-92CE-D301F2CF1CB0}" dt="2020-12-01T21:22:11.683" v="1448" actId="20577"/>
        <pc:sldMkLst>
          <pc:docMk/>
          <pc:sldMk cId="1947168146" sldId="9022"/>
        </pc:sldMkLst>
        <pc:spChg chg="mod">
          <ac:chgData name="Kutas-Hille, Janine" userId="S::jkutashille@deloitte.com::0788d68a-0adc-44ef-94ed-31189926cb8f" providerId="AD" clId="Web-{7F374203-7237-43BA-92CE-D301F2CF1CB0}" dt="2020-12-01T21:22:11.683" v="1448" actId="20577"/>
          <ac:spMkLst>
            <pc:docMk/>
            <pc:sldMk cId="1947168146" sldId="9022"/>
            <ac:spMk id="3" creationId="{21BBA9DD-83F9-4617-84E4-6CAA74E3B9FB}"/>
          </ac:spMkLst>
        </pc:spChg>
      </pc:sldChg>
    </pc:docChg>
  </pc:docChgLst>
  <pc:docChgLst>
    <pc:chgData name="Jivrajani, Dharini" userId="9f28c9a6-e07b-4de5-8682-ac3f5c875595" providerId="ADAL" clId="{122FA928-8F65-4B63-B0A8-2492AB328204}"/>
    <pc:docChg chg="undo custSel addSld delSld modSld modSection">
      <pc:chgData name="Jivrajani, Dharini" userId="9f28c9a6-e07b-4de5-8682-ac3f5c875595" providerId="ADAL" clId="{122FA928-8F65-4B63-B0A8-2492AB328204}" dt="2021-07-15T12:06:47.376" v="929" actId="20577"/>
      <pc:docMkLst>
        <pc:docMk/>
      </pc:docMkLst>
      <pc:sldChg chg="add del">
        <pc:chgData name="Jivrajani, Dharini" userId="9f28c9a6-e07b-4de5-8682-ac3f5c875595" providerId="ADAL" clId="{122FA928-8F65-4B63-B0A8-2492AB328204}" dt="2021-07-08T22:17:26.868" v="334"/>
        <pc:sldMkLst>
          <pc:docMk/>
          <pc:sldMk cId="2803360750" sldId="271"/>
        </pc:sldMkLst>
      </pc:sldChg>
      <pc:sldChg chg="add del">
        <pc:chgData name="Jivrajani, Dharini" userId="9f28c9a6-e07b-4de5-8682-ac3f5c875595" providerId="ADAL" clId="{122FA928-8F65-4B63-B0A8-2492AB328204}" dt="2021-07-08T22:17:26.868" v="334"/>
        <pc:sldMkLst>
          <pc:docMk/>
          <pc:sldMk cId="3779940784" sldId="272"/>
        </pc:sldMkLst>
      </pc:sldChg>
      <pc:sldChg chg="add del">
        <pc:chgData name="Jivrajani, Dharini" userId="9f28c9a6-e07b-4de5-8682-ac3f5c875595" providerId="ADAL" clId="{122FA928-8F65-4B63-B0A8-2492AB328204}" dt="2021-07-08T22:17:26.868" v="334"/>
        <pc:sldMkLst>
          <pc:docMk/>
          <pc:sldMk cId="2838729022" sldId="273"/>
        </pc:sldMkLst>
      </pc:sldChg>
      <pc:sldChg chg="add del">
        <pc:chgData name="Jivrajani, Dharini" userId="9f28c9a6-e07b-4de5-8682-ac3f5c875595" providerId="ADAL" clId="{122FA928-8F65-4B63-B0A8-2492AB328204}" dt="2021-07-08T22:17:26.868" v="334"/>
        <pc:sldMkLst>
          <pc:docMk/>
          <pc:sldMk cId="1298414651" sldId="274"/>
        </pc:sldMkLst>
      </pc:sldChg>
      <pc:sldChg chg="add del">
        <pc:chgData name="Jivrajani, Dharini" userId="9f28c9a6-e07b-4de5-8682-ac3f5c875595" providerId="ADAL" clId="{122FA928-8F65-4B63-B0A8-2492AB328204}" dt="2021-07-08T22:17:26.868" v="334"/>
        <pc:sldMkLst>
          <pc:docMk/>
          <pc:sldMk cId="879275369" sldId="275"/>
        </pc:sldMkLst>
      </pc:sldChg>
      <pc:sldChg chg="add del">
        <pc:chgData name="Jivrajani, Dharini" userId="9f28c9a6-e07b-4de5-8682-ac3f5c875595" providerId="ADAL" clId="{122FA928-8F65-4B63-B0A8-2492AB328204}" dt="2021-07-08T22:17:26.868" v="334"/>
        <pc:sldMkLst>
          <pc:docMk/>
          <pc:sldMk cId="2823402429" sldId="276"/>
        </pc:sldMkLst>
      </pc:sldChg>
      <pc:sldChg chg="add del">
        <pc:chgData name="Jivrajani, Dharini" userId="9f28c9a6-e07b-4de5-8682-ac3f5c875595" providerId="ADAL" clId="{122FA928-8F65-4B63-B0A8-2492AB328204}" dt="2021-07-08T22:17:26.868" v="334"/>
        <pc:sldMkLst>
          <pc:docMk/>
          <pc:sldMk cId="2455683379" sldId="277"/>
        </pc:sldMkLst>
      </pc:sldChg>
      <pc:sldChg chg="add del">
        <pc:chgData name="Jivrajani, Dharini" userId="9f28c9a6-e07b-4de5-8682-ac3f5c875595" providerId="ADAL" clId="{122FA928-8F65-4B63-B0A8-2492AB328204}" dt="2021-07-08T22:17:26.868" v="334"/>
        <pc:sldMkLst>
          <pc:docMk/>
          <pc:sldMk cId="2570198846" sldId="278"/>
        </pc:sldMkLst>
      </pc:sldChg>
      <pc:sldChg chg="add del">
        <pc:chgData name="Jivrajani, Dharini" userId="9f28c9a6-e07b-4de5-8682-ac3f5c875595" providerId="ADAL" clId="{122FA928-8F65-4B63-B0A8-2492AB328204}" dt="2021-07-08T22:17:26.868" v="334"/>
        <pc:sldMkLst>
          <pc:docMk/>
          <pc:sldMk cId="1595038700" sldId="279"/>
        </pc:sldMkLst>
      </pc:sldChg>
      <pc:sldChg chg="delSp modSp mod">
        <pc:chgData name="Jivrajani, Dharini" userId="9f28c9a6-e07b-4de5-8682-ac3f5c875595" providerId="ADAL" clId="{122FA928-8F65-4B63-B0A8-2492AB328204}" dt="2021-07-08T22:23:12.611" v="540" actId="20577"/>
        <pc:sldMkLst>
          <pc:docMk/>
          <pc:sldMk cId="24609206" sldId="2104"/>
        </pc:sldMkLst>
        <pc:spChg chg="mod">
          <ac:chgData name="Jivrajani, Dharini" userId="9f28c9a6-e07b-4de5-8682-ac3f5c875595" providerId="ADAL" clId="{122FA928-8F65-4B63-B0A8-2492AB328204}" dt="2021-07-08T22:23:02.882" v="528" actId="1076"/>
          <ac:spMkLst>
            <pc:docMk/>
            <pc:sldMk cId="24609206" sldId="2104"/>
            <ac:spMk id="5" creationId="{5B812393-1D4C-44E5-88C8-52EB15B2AC90}"/>
          </ac:spMkLst>
        </pc:spChg>
        <pc:spChg chg="mod">
          <ac:chgData name="Jivrajani, Dharini" userId="9f28c9a6-e07b-4de5-8682-ac3f5c875595" providerId="ADAL" clId="{122FA928-8F65-4B63-B0A8-2492AB328204}" dt="2021-07-08T22:23:12.611" v="540" actId="20577"/>
          <ac:spMkLst>
            <pc:docMk/>
            <pc:sldMk cId="24609206" sldId="2104"/>
            <ac:spMk id="6" creationId="{41712EE9-2920-4875-B348-8A4168F5AC30}"/>
          </ac:spMkLst>
        </pc:spChg>
        <pc:spChg chg="del mod">
          <ac:chgData name="Jivrajani, Dharini" userId="9f28c9a6-e07b-4de5-8682-ac3f5c875595" providerId="ADAL" clId="{122FA928-8F65-4B63-B0A8-2492AB328204}" dt="2021-07-07T14:50:53.788" v="6" actId="478"/>
          <ac:spMkLst>
            <pc:docMk/>
            <pc:sldMk cId="24609206" sldId="2104"/>
            <ac:spMk id="7" creationId="{476719EC-B1DB-4732-BE02-19423A42D17D}"/>
          </ac:spMkLst>
        </pc:spChg>
      </pc:sldChg>
      <pc:sldChg chg="modSp mod">
        <pc:chgData name="Jivrajani, Dharini" userId="9f28c9a6-e07b-4de5-8682-ac3f5c875595" providerId="ADAL" clId="{122FA928-8F65-4B63-B0A8-2492AB328204}" dt="2021-07-12T12:16:34.220" v="625" actId="20577"/>
        <pc:sldMkLst>
          <pc:docMk/>
          <pc:sldMk cId="1369081146" sldId="8773"/>
        </pc:sldMkLst>
        <pc:graphicFrameChg chg="mod modGraphic">
          <ac:chgData name="Jivrajani, Dharini" userId="9f28c9a6-e07b-4de5-8682-ac3f5c875595" providerId="ADAL" clId="{122FA928-8F65-4B63-B0A8-2492AB328204}" dt="2021-07-12T12:16:34.220" v="625" actId="20577"/>
          <ac:graphicFrameMkLst>
            <pc:docMk/>
            <pc:sldMk cId="1369081146" sldId="8773"/>
            <ac:graphicFrameMk id="4" creationId="{2AAAC88F-F4B4-4FE3-956E-C3F806D71324}"/>
          </ac:graphicFrameMkLst>
        </pc:graphicFrameChg>
      </pc:sldChg>
      <pc:sldChg chg="delSp mod">
        <pc:chgData name="Jivrajani, Dharini" userId="9f28c9a6-e07b-4de5-8682-ac3f5c875595" providerId="ADAL" clId="{122FA928-8F65-4B63-B0A8-2492AB328204}" dt="2021-07-12T12:31:00.493" v="670" actId="478"/>
        <pc:sldMkLst>
          <pc:docMk/>
          <pc:sldMk cId="800771401" sldId="8787"/>
        </pc:sldMkLst>
        <pc:spChg chg="del">
          <ac:chgData name="Jivrajani, Dharini" userId="9f28c9a6-e07b-4de5-8682-ac3f5c875595" providerId="ADAL" clId="{122FA928-8F65-4B63-B0A8-2492AB328204}" dt="2021-07-12T12:31:00.493" v="670" actId="478"/>
          <ac:spMkLst>
            <pc:docMk/>
            <pc:sldMk cId="800771401" sldId="8787"/>
            <ac:spMk id="3" creationId="{6D4E6C82-B16C-4A04-B32F-FBA8B7D14C3B}"/>
          </ac:spMkLst>
        </pc:spChg>
      </pc:sldChg>
      <pc:sldChg chg="delSp mod">
        <pc:chgData name="Jivrajani, Dharini" userId="9f28c9a6-e07b-4de5-8682-ac3f5c875595" providerId="ADAL" clId="{122FA928-8F65-4B63-B0A8-2492AB328204}" dt="2021-07-12T12:30:40.970" v="669" actId="478"/>
        <pc:sldMkLst>
          <pc:docMk/>
          <pc:sldMk cId="2246163936" sldId="8788"/>
        </pc:sldMkLst>
        <pc:spChg chg="del">
          <ac:chgData name="Jivrajani, Dharini" userId="9f28c9a6-e07b-4de5-8682-ac3f5c875595" providerId="ADAL" clId="{122FA928-8F65-4B63-B0A8-2492AB328204}" dt="2021-07-12T12:30:40.970" v="669" actId="478"/>
          <ac:spMkLst>
            <pc:docMk/>
            <pc:sldMk cId="2246163936" sldId="8788"/>
            <ac:spMk id="5" creationId="{9ECF369E-8279-4FEE-BB0D-51136CBDCDB7}"/>
          </ac:spMkLst>
        </pc:spChg>
      </pc:sldChg>
      <pc:sldChg chg="delSp mod">
        <pc:chgData name="Jivrajani, Dharini" userId="9f28c9a6-e07b-4de5-8682-ac3f5c875595" providerId="ADAL" clId="{122FA928-8F65-4B63-B0A8-2492AB328204}" dt="2021-07-12T12:20:36.800" v="626" actId="478"/>
        <pc:sldMkLst>
          <pc:docMk/>
          <pc:sldMk cId="847777020" sldId="8791"/>
        </pc:sldMkLst>
        <pc:spChg chg="del">
          <ac:chgData name="Jivrajani, Dharini" userId="9f28c9a6-e07b-4de5-8682-ac3f5c875595" providerId="ADAL" clId="{122FA928-8F65-4B63-B0A8-2492AB328204}" dt="2021-07-12T12:20:36.800" v="626" actId="478"/>
          <ac:spMkLst>
            <pc:docMk/>
            <pc:sldMk cId="847777020" sldId="8791"/>
            <ac:spMk id="4" creationId="{2956E5C3-5937-43E8-8A96-5606BB4B6A36}"/>
          </ac:spMkLst>
        </pc:spChg>
      </pc:sldChg>
      <pc:sldChg chg="modSp mod">
        <pc:chgData name="Jivrajani, Dharini" userId="9f28c9a6-e07b-4de5-8682-ac3f5c875595" providerId="ADAL" clId="{122FA928-8F65-4B63-B0A8-2492AB328204}" dt="2021-07-12T12:30:29.303" v="668" actId="20577"/>
        <pc:sldMkLst>
          <pc:docMk/>
          <pc:sldMk cId="27039556" sldId="8820"/>
        </pc:sldMkLst>
        <pc:spChg chg="mod">
          <ac:chgData name="Jivrajani, Dharini" userId="9f28c9a6-e07b-4de5-8682-ac3f5c875595" providerId="ADAL" clId="{122FA928-8F65-4B63-B0A8-2492AB328204}" dt="2021-07-12T12:30:29.303" v="668" actId="20577"/>
          <ac:spMkLst>
            <pc:docMk/>
            <pc:sldMk cId="27039556" sldId="8820"/>
            <ac:spMk id="7" creationId="{5817664F-7DC8-47E5-B7B9-14F4F2B2E734}"/>
          </ac:spMkLst>
        </pc:spChg>
      </pc:sldChg>
      <pc:sldChg chg="addSp delSp mod">
        <pc:chgData name="Jivrajani, Dharini" userId="9f28c9a6-e07b-4de5-8682-ac3f5c875595" providerId="ADAL" clId="{122FA928-8F65-4B63-B0A8-2492AB328204}" dt="2021-07-12T12:29:38.748" v="635" actId="478"/>
        <pc:sldMkLst>
          <pc:docMk/>
          <pc:sldMk cId="2797225936" sldId="8974"/>
        </pc:sldMkLst>
        <pc:spChg chg="del">
          <ac:chgData name="Jivrajani, Dharini" userId="9f28c9a6-e07b-4de5-8682-ac3f5c875595" providerId="ADAL" clId="{122FA928-8F65-4B63-B0A8-2492AB328204}" dt="2021-07-12T12:29:38.748" v="635" actId="478"/>
          <ac:spMkLst>
            <pc:docMk/>
            <pc:sldMk cId="2797225936" sldId="8974"/>
            <ac:spMk id="4" creationId="{C51DE20B-E9C3-4E98-A7DA-60A65E76E21E}"/>
          </ac:spMkLst>
        </pc:spChg>
        <pc:picChg chg="add del">
          <ac:chgData name="Jivrajani, Dharini" userId="9f28c9a6-e07b-4de5-8682-ac3f5c875595" providerId="ADAL" clId="{122FA928-8F65-4B63-B0A8-2492AB328204}" dt="2021-07-12T12:29:30.281" v="634" actId="478"/>
          <ac:picMkLst>
            <pc:docMk/>
            <pc:sldMk cId="2797225936" sldId="8974"/>
            <ac:picMk id="3" creationId="{EA73166E-50CA-804E-954A-042CE692742E}"/>
          </ac:picMkLst>
        </pc:picChg>
      </pc:sldChg>
      <pc:sldChg chg="add del">
        <pc:chgData name="Jivrajani, Dharini" userId="9f28c9a6-e07b-4de5-8682-ac3f5c875595" providerId="ADAL" clId="{122FA928-8F65-4B63-B0A8-2492AB328204}" dt="2021-07-08T22:17:26.868" v="334"/>
        <pc:sldMkLst>
          <pc:docMk/>
          <pc:sldMk cId="1807062554" sldId="9014"/>
        </pc:sldMkLst>
      </pc:sldChg>
      <pc:sldChg chg="modSp mod">
        <pc:chgData name="Jivrajani, Dharini" userId="9f28c9a6-e07b-4de5-8682-ac3f5c875595" providerId="ADAL" clId="{122FA928-8F65-4B63-B0A8-2492AB328204}" dt="2021-07-08T22:22:13.793" v="518" actId="20577"/>
        <pc:sldMkLst>
          <pc:docMk/>
          <pc:sldMk cId="3389621691" sldId="9015"/>
        </pc:sldMkLst>
        <pc:spChg chg="mod">
          <ac:chgData name="Jivrajani, Dharini" userId="9f28c9a6-e07b-4de5-8682-ac3f5c875595" providerId="ADAL" clId="{122FA928-8F65-4B63-B0A8-2492AB328204}" dt="2021-07-08T22:22:13.793" v="518" actId="20577"/>
          <ac:spMkLst>
            <pc:docMk/>
            <pc:sldMk cId="3389621691" sldId="9015"/>
            <ac:spMk id="4" creationId="{7A9DFF01-0B03-48E4-B42D-F011C5ECF119}"/>
          </ac:spMkLst>
        </pc:spChg>
      </pc:sldChg>
      <pc:sldChg chg="add del modTransition">
        <pc:chgData name="Jivrajani, Dharini" userId="9f28c9a6-e07b-4de5-8682-ac3f5c875595" providerId="ADAL" clId="{122FA928-8F65-4B63-B0A8-2492AB328204}" dt="2021-07-08T22:17:26.868" v="334"/>
        <pc:sldMkLst>
          <pc:docMk/>
          <pc:sldMk cId="1422481146" sldId="9016"/>
        </pc:sldMkLst>
      </pc:sldChg>
      <pc:sldChg chg="add modTransition">
        <pc:chgData name="Jivrajani, Dharini" userId="9f28c9a6-e07b-4de5-8682-ac3f5c875595" providerId="ADAL" clId="{122FA928-8F65-4B63-B0A8-2492AB328204}" dt="2021-07-08T22:17:26.868" v="334"/>
        <pc:sldMkLst>
          <pc:docMk/>
          <pc:sldMk cId="3991502024" sldId="9017"/>
        </pc:sldMkLst>
      </pc:sldChg>
      <pc:sldChg chg="add modTransition">
        <pc:chgData name="Jivrajani, Dharini" userId="9f28c9a6-e07b-4de5-8682-ac3f5c875595" providerId="ADAL" clId="{122FA928-8F65-4B63-B0A8-2492AB328204}" dt="2021-07-08T22:17:26.868" v="334"/>
        <pc:sldMkLst>
          <pc:docMk/>
          <pc:sldMk cId="1059558676" sldId="9018"/>
        </pc:sldMkLst>
      </pc:sldChg>
      <pc:sldChg chg="add modTransition">
        <pc:chgData name="Jivrajani, Dharini" userId="9f28c9a6-e07b-4de5-8682-ac3f5c875595" providerId="ADAL" clId="{122FA928-8F65-4B63-B0A8-2492AB328204}" dt="2021-07-08T22:17:26.868" v="334"/>
        <pc:sldMkLst>
          <pc:docMk/>
          <pc:sldMk cId="1510578974" sldId="9019"/>
        </pc:sldMkLst>
      </pc:sldChg>
      <pc:sldChg chg="add modTransition">
        <pc:chgData name="Jivrajani, Dharini" userId="9f28c9a6-e07b-4de5-8682-ac3f5c875595" providerId="ADAL" clId="{122FA928-8F65-4B63-B0A8-2492AB328204}" dt="2021-07-08T22:17:26.868" v="334"/>
        <pc:sldMkLst>
          <pc:docMk/>
          <pc:sldMk cId="4076837287" sldId="9020"/>
        </pc:sldMkLst>
      </pc:sldChg>
      <pc:sldChg chg="add del modTransition">
        <pc:chgData name="Jivrajani, Dharini" userId="9f28c9a6-e07b-4de5-8682-ac3f5c875595" providerId="ADAL" clId="{122FA928-8F65-4B63-B0A8-2492AB328204}" dt="2021-07-08T22:17:26.868" v="334"/>
        <pc:sldMkLst>
          <pc:docMk/>
          <pc:sldMk cId="1006597134" sldId="9021"/>
        </pc:sldMkLst>
      </pc:sldChg>
      <pc:sldChg chg="add del modTransition">
        <pc:chgData name="Jivrajani, Dharini" userId="9f28c9a6-e07b-4de5-8682-ac3f5c875595" providerId="ADAL" clId="{122FA928-8F65-4B63-B0A8-2492AB328204}" dt="2021-07-08T22:17:26.868" v="334"/>
        <pc:sldMkLst>
          <pc:docMk/>
          <pc:sldMk cId="3573479415" sldId="9022"/>
        </pc:sldMkLst>
      </pc:sldChg>
      <pc:sldChg chg="add del modTransition">
        <pc:chgData name="Jivrajani, Dharini" userId="9f28c9a6-e07b-4de5-8682-ac3f5c875595" providerId="ADAL" clId="{122FA928-8F65-4B63-B0A8-2492AB328204}" dt="2021-07-08T22:17:26.868" v="334"/>
        <pc:sldMkLst>
          <pc:docMk/>
          <pc:sldMk cId="2817612216" sldId="9023"/>
        </pc:sldMkLst>
      </pc:sldChg>
      <pc:sldChg chg="add del modTransition">
        <pc:chgData name="Jivrajani, Dharini" userId="9f28c9a6-e07b-4de5-8682-ac3f5c875595" providerId="ADAL" clId="{122FA928-8F65-4B63-B0A8-2492AB328204}" dt="2021-07-08T22:17:26.868" v="334"/>
        <pc:sldMkLst>
          <pc:docMk/>
          <pc:sldMk cId="313821740" sldId="9024"/>
        </pc:sldMkLst>
      </pc:sldChg>
      <pc:sldChg chg="add modTransition">
        <pc:chgData name="Jivrajani, Dharini" userId="9f28c9a6-e07b-4de5-8682-ac3f5c875595" providerId="ADAL" clId="{122FA928-8F65-4B63-B0A8-2492AB328204}" dt="2021-07-08T22:17:26.868" v="334"/>
        <pc:sldMkLst>
          <pc:docMk/>
          <pc:sldMk cId="3320310001" sldId="9025"/>
        </pc:sldMkLst>
      </pc:sldChg>
      <pc:sldChg chg="del">
        <pc:chgData name="Jivrajani, Dharini" userId="9f28c9a6-e07b-4de5-8682-ac3f5c875595" providerId="ADAL" clId="{122FA928-8F65-4B63-B0A8-2492AB328204}" dt="2021-07-08T22:16:59.314" v="332" actId="47"/>
        <pc:sldMkLst>
          <pc:docMk/>
          <pc:sldMk cId="340276871" sldId="9028"/>
        </pc:sldMkLst>
      </pc:sldChg>
      <pc:sldChg chg="add modTransition delCm">
        <pc:chgData name="Jivrajani, Dharini" userId="9f28c9a6-e07b-4de5-8682-ac3f5c875595" providerId="ADAL" clId="{122FA928-8F65-4B63-B0A8-2492AB328204}" dt="2021-07-08T22:17:40.655" v="335" actId="1592"/>
        <pc:sldMkLst>
          <pc:docMk/>
          <pc:sldMk cId="1390931546" sldId="9029"/>
        </pc:sldMkLst>
      </pc:sldChg>
      <pc:sldChg chg="add modTransition">
        <pc:chgData name="Jivrajani, Dharini" userId="9f28c9a6-e07b-4de5-8682-ac3f5c875595" providerId="ADAL" clId="{122FA928-8F65-4B63-B0A8-2492AB328204}" dt="2021-07-08T22:17:26.868" v="334"/>
        <pc:sldMkLst>
          <pc:docMk/>
          <pc:sldMk cId="4201751373" sldId="9030"/>
        </pc:sldMkLst>
      </pc:sldChg>
      <pc:sldChg chg="add modTransition">
        <pc:chgData name="Jivrajani, Dharini" userId="9f28c9a6-e07b-4de5-8682-ac3f5c875595" providerId="ADAL" clId="{122FA928-8F65-4B63-B0A8-2492AB328204}" dt="2021-07-08T22:17:26.868" v="334"/>
        <pc:sldMkLst>
          <pc:docMk/>
          <pc:sldMk cId="2012133551" sldId="9031"/>
        </pc:sldMkLst>
      </pc:sldChg>
      <pc:sldChg chg="add modTransition">
        <pc:chgData name="Jivrajani, Dharini" userId="9f28c9a6-e07b-4de5-8682-ac3f5c875595" providerId="ADAL" clId="{122FA928-8F65-4B63-B0A8-2492AB328204}" dt="2021-07-08T22:17:26.868" v="334"/>
        <pc:sldMkLst>
          <pc:docMk/>
          <pc:sldMk cId="3810481690" sldId="9032"/>
        </pc:sldMkLst>
      </pc:sldChg>
      <pc:sldChg chg="modSp mod">
        <pc:chgData name="Jivrajani, Dharini" userId="9f28c9a6-e07b-4de5-8682-ac3f5c875595" providerId="ADAL" clId="{122FA928-8F65-4B63-B0A8-2492AB328204}" dt="2021-07-08T22:21:31.532" v="516" actId="20577"/>
        <pc:sldMkLst>
          <pc:docMk/>
          <pc:sldMk cId="633251387" sldId="9036"/>
        </pc:sldMkLst>
        <pc:spChg chg="mod">
          <ac:chgData name="Jivrajani, Dharini" userId="9f28c9a6-e07b-4de5-8682-ac3f5c875595" providerId="ADAL" clId="{122FA928-8F65-4B63-B0A8-2492AB328204}" dt="2021-07-08T22:21:31.532" v="516" actId="20577"/>
          <ac:spMkLst>
            <pc:docMk/>
            <pc:sldMk cId="633251387" sldId="9036"/>
            <ac:spMk id="11" creationId="{DA74E4A6-3B76-4E6E-8D06-3104FCD110F4}"/>
          </ac:spMkLst>
        </pc:spChg>
        <pc:spChg chg="mod">
          <ac:chgData name="Jivrajani, Dharini" userId="9f28c9a6-e07b-4de5-8682-ac3f5c875595" providerId="ADAL" clId="{122FA928-8F65-4B63-B0A8-2492AB328204}" dt="2021-07-08T22:21:10.308" v="504" actId="20577"/>
          <ac:spMkLst>
            <pc:docMk/>
            <pc:sldMk cId="633251387" sldId="9036"/>
            <ac:spMk id="12" creationId="{BD52B5DB-DDAB-4EC0-94A0-8CED04FAB517}"/>
          </ac:spMkLst>
        </pc:spChg>
        <pc:spChg chg="mod">
          <ac:chgData name="Jivrajani, Dharini" userId="9f28c9a6-e07b-4de5-8682-ac3f5c875595" providerId="ADAL" clId="{122FA928-8F65-4B63-B0A8-2492AB328204}" dt="2021-07-08T22:21:22.183" v="514" actId="20577"/>
          <ac:spMkLst>
            <pc:docMk/>
            <pc:sldMk cId="633251387" sldId="9036"/>
            <ac:spMk id="21" creationId="{5349EEFB-D456-493E-A735-8C86A8FF21EC}"/>
          </ac:spMkLst>
        </pc:spChg>
      </pc:sldChg>
      <pc:sldChg chg="modSp mod">
        <pc:chgData name="Jivrajani, Dharini" userId="9f28c9a6-e07b-4de5-8682-ac3f5c875595" providerId="ADAL" clId="{122FA928-8F65-4B63-B0A8-2492AB328204}" dt="2021-07-14T10:43:50.623" v="891" actId="20577"/>
        <pc:sldMkLst>
          <pc:docMk/>
          <pc:sldMk cId="1921268355" sldId="9047"/>
        </pc:sldMkLst>
        <pc:spChg chg="mod">
          <ac:chgData name="Jivrajani, Dharini" userId="9f28c9a6-e07b-4de5-8682-ac3f5c875595" providerId="ADAL" clId="{122FA928-8F65-4B63-B0A8-2492AB328204}" dt="2021-07-14T10:43:50.623" v="891" actId="20577"/>
          <ac:spMkLst>
            <pc:docMk/>
            <pc:sldMk cId="1921268355" sldId="9047"/>
            <ac:spMk id="29" creationId="{E000F57D-05FA-4E5A-8E44-848A42C21BE2}"/>
          </ac:spMkLst>
        </pc:spChg>
        <pc:spChg chg="mod">
          <ac:chgData name="Jivrajani, Dharini" userId="9f28c9a6-e07b-4de5-8682-ac3f5c875595" providerId="ADAL" clId="{122FA928-8F65-4B63-B0A8-2492AB328204}" dt="2021-07-14T10:43:21.305" v="868" actId="20577"/>
          <ac:spMkLst>
            <pc:docMk/>
            <pc:sldMk cId="1921268355" sldId="9047"/>
            <ac:spMk id="36" creationId="{C86B36EA-5E39-4CD9-AFBA-3DA43EE3ED69}"/>
          </ac:spMkLst>
        </pc:spChg>
      </pc:sldChg>
      <pc:sldChg chg="addSp modSp mod">
        <pc:chgData name="Jivrajani, Dharini" userId="9f28c9a6-e07b-4de5-8682-ac3f5c875595" providerId="ADAL" clId="{122FA928-8F65-4B63-B0A8-2492AB328204}" dt="2021-07-08T22:19:59.930" v="492" actId="20577"/>
        <pc:sldMkLst>
          <pc:docMk/>
          <pc:sldMk cId="302263831" sldId="9048"/>
        </pc:sldMkLst>
        <pc:spChg chg="add mod">
          <ac:chgData name="Jivrajani, Dharini" userId="9f28c9a6-e07b-4de5-8682-ac3f5c875595" providerId="ADAL" clId="{122FA928-8F65-4B63-B0A8-2492AB328204}" dt="2021-07-08T22:19:44.165" v="487" actId="20577"/>
          <ac:spMkLst>
            <pc:docMk/>
            <pc:sldMk cId="302263831" sldId="9048"/>
            <ac:spMk id="16" creationId="{AB0A6B7A-648A-421C-9406-0EB9F5F95026}"/>
          </ac:spMkLst>
        </pc:spChg>
        <pc:spChg chg="mod">
          <ac:chgData name="Jivrajani, Dharini" userId="9f28c9a6-e07b-4de5-8682-ac3f5c875595" providerId="ADAL" clId="{122FA928-8F65-4B63-B0A8-2492AB328204}" dt="2021-07-08T22:19:59.930" v="492" actId="20577"/>
          <ac:spMkLst>
            <pc:docMk/>
            <pc:sldMk cId="302263831" sldId="9048"/>
            <ac:spMk id="19" creationId="{C4C5D0A2-B40A-42CB-B203-24389B7EA893}"/>
          </ac:spMkLst>
        </pc:spChg>
        <pc:spChg chg="mod">
          <ac:chgData name="Jivrajani, Dharini" userId="9f28c9a6-e07b-4de5-8682-ac3f5c875595" providerId="ADAL" clId="{122FA928-8F65-4B63-B0A8-2492AB328204}" dt="2021-07-08T22:18:40.831" v="399" actId="1076"/>
          <ac:spMkLst>
            <pc:docMk/>
            <pc:sldMk cId="302263831" sldId="9048"/>
            <ac:spMk id="20" creationId="{E60C4431-6310-48C0-90BF-6077D322DA98}"/>
          </ac:spMkLst>
        </pc:spChg>
        <pc:spChg chg="mod">
          <ac:chgData name="Jivrajani, Dharini" userId="9f28c9a6-e07b-4de5-8682-ac3f5c875595" providerId="ADAL" clId="{122FA928-8F65-4B63-B0A8-2492AB328204}" dt="2021-07-08T22:18:48.119" v="401" actId="1076"/>
          <ac:spMkLst>
            <pc:docMk/>
            <pc:sldMk cId="302263831" sldId="9048"/>
            <ac:spMk id="21" creationId="{9B2B01B3-4C83-4F0C-8EA4-0561CAA6896A}"/>
          </ac:spMkLst>
        </pc:spChg>
        <pc:spChg chg="mod">
          <ac:chgData name="Jivrajani, Dharini" userId="9f28c9a6-e07b-4de5-8682-ac3f5c875595" providerId="ADAL" clId="{122FA928-8F65-4B63-B0A8-2492AB328204}" dt="2021-07-08T22:18:51.624" v="402" actId="1076"/>
          <ac:spMkLst>
            <pc:docMk/>
            <pc:sldMk cId="302263831" sldId="9048"/>
            <ac:spMk id="22" creationId="{DFF8BB62-12B9-49CA-9340-4A09AED59F59}"/>
          </ac:spMkLst>
        </pc:spChg>
        <pc:spChg chg="mod">
          <ac:chgData name="Jivrajani, Dharini" userId="9f28c9a6-e07b-4de5-8682-ac3f5c875595" providerId="ADAL" clId="{122FA928-8F65-4B63-B0A8-2492AB328204}" dt="2021-07-08T22:19:00.558" v="425" actId="20577"/>
          <ac:spMkLst>
            <pc:docMk/>
            <pc:sldMk cId="302263831" sldId="9048"/>
            <ac:spMk id="26" creationId="{41EDB400-E2DE-4418-99E9-CCC0F4B9DB01}"/>
          </ac:spMkLst>
        </pc:spChg>
      </pc:sldChg>
      <pc:sldChg chg="del">
        <pc:chgData name="Jivrajani, Dharini" userId="9f28c9a6-e07b-4de5-8682-ac3f5c875595" providerId="ADAL" clId="{122FA928-8F65-4B63-B0A8-2492AB328204}" dt="2021-07-08T22:16:59.314" v="332" actId="47"/>
        <pc:sldMkLst>
          <pc:docMk/>
          <pc:sldMk cId="2269658214" sldId="9049"/>
        </pc:sldMkLst>
      </pc:sldChg>
      <pc:sldChg chg="del">
        <pc:chgData name="Jivrajani, Dharini" userId="9f28c9a6-e07b-4de5-8682-ac3f5c875595" providerId="ADAL" clId="{122FA928-8F65-4B63-B0A8-2492AB328204}" dt="2021-07-08T22:16:59.314" v="332" actId="47"/>
        <pc:sldMkLst>
          <pc:docMk/>
          <pc:sldMk cId="563829202" sldId="9050"/>
        </pc:sldMkLst>
      </pc:sldChg>
      <pc:sldChg chg="del">
        <pc:chgData name="Jivrajani, Dharini" userId="9f28c9a6-e07b-4de5-8682-ac3f5c875595" providerId="ADAL" clId="{122FA928-8F65-4B63-B0A8-2492AB328204}" dt="2021-07-08T22:16:59.314" v="332" actId="47"/>
        <pc:sldMkLst>
          <pc:docMk/>
          <pc:sldMk cId="3991502024" sldId="9051"/>
        </pc:sldMkLst>
      </pc:sldChg>
      <pc:sldChg chg="del">
        <pc:chgData name="Jivrajani, Dharini" userId="9f28c9a6-e07b-4de5-8682-ac3f5c875595" providerId="ADAL" clId="{122FA928-8F65-4B63-B0A8-2492AB328204}" dt="2021-07-08T22:16:59.314" v="332" actId="47"/>
        <pc:sldMkLst>
          <pc:docMk/>
          <pc:sldMk cId="1059558676" sldId="9052"/>
        </pc:sldMkLst>
      </pc:sldChg>
      <pc:sldChg chg="del">
        <pc:chgData name="Jivrajani, Dharini" userId="9f28c9a6-e07b-4de5-8682-ac3f5c875595" providerId="ADAL" clId="{122FA928-8F65-4B63-B0A8-2492AB328204}" dt="2021-07-08T22:16:59.314" v="332" actId="47"/>
        <pc:sldMkLst>
          <pc:docMk/>
          <pc:sldMk cId="1510578974" sldId="9053"/>
        </pc:sldMkLst>
      </pc:sldChg>
      <pc:sldChg chg="del">
        <pc:chgData name="Jivrajani, Dharini" userId="9f28c9a6-e07b-4de5-8682-ac3f5c875595" providerId="ADAL" clId="{122FA928-8F65-4B63-B0A8-2492AB328204}" dt="2021-07-08T22:16:59.314" v="332" actId="47"/>
        <pc:sldMkLst>
          <pc:docMk/>
          <pc:sldMk cId="4076837287" sldId="9054"/>
        </pc:sldMkLst>
      </pc:sldChg>
      <pc:sldChg chg="del">
        <pc:chgData name="Jivrajani, Dharini" userId="9f28c9a6-e07b-4de5-8682-ac3f5c875595" providerId="ADAL" clId="{122FA928-8F65-4B63-B0A8-2492AB328204}" dt="2021-07-08T22:16:59.314" v="332" actId="47"/>
        <pc:sldMkLst>
          <pc:docMk/>
          <pc:sldMk cId="3320310001" sldId="9055"/>
        </pc:sldMkLst>
      </pc:sldChg>
      <pc:sldChg chg="del">
        <pc:chgData name="Jivrajani, Dharini" userId="9f28c9a6-e07b-4de5-8682-ac3f5c875595" providerId="ADAL" clId="{122FA928-8F65-4B63-B0A8-2492AB328204}" dt="2021-07-08T22:16:59.314" v="332" actId="47"/>
        <pc:sldMkLst>
          <pc:docMk/>
          <pc:sldMk cId="3087619356" sldId="9056"/>
        </pc:sldMkLst>
      </pc:sldChg>
      <pc:sldChg chg="addSp delSp del">
        <pc:chgData name="Jivrajani, Dharini" userId="9f28c9a6-e07b-4de5-8682-ac3f5c875595" providerId="ADAL" clId="{122FA928-8F65-4B63-B0A8-2492AB328204}" dt="2021-07-12T12:24:22.303" v="632" actId="47"/>
        <pc:sldMkLst>
          <pc:docMk/>
          <pc:sldMk cId="3757134594" sldId="9058"/>
        </pc:sldMkLst>
        <pc:picChg chg="add del">
          <ac:chgData name="Jivrajani, Dharini" userId="9f28c9a6-e07b-4de5-8682-ac3f5c875595" providerId="ADAL" clId="{122FA928-8F65-4B63-B0A8-2492AB328204}" dt="2021-07-12T12:23:35.268" v="628"/>
          <ac:picMkLst>
            <pc:docMk/>
            <pc:sldMk cId="3757134594" sldId="9058"/>
            <ac:picMk id="1026" creationId="{D9F8AE7E-15F2-4564-8244-A577D6754380}"/>
          </ac:picMkLst>
        </pc:picChg>
        <pc:picChg chg="add del">
          <ac:chgData name="Jivrajani, Dharini" userId="9f28c9a6-e07b-4de5-8682-ac3f5c875595" providerId="ADAL" clId="{122FA928-8F65-4B63-B0A8-2492AB328204}" dt="2021-07-12T12:23:44.190" v="630"/>
          <ac:picMkLst>
            <pc:docMk/>
            <pc:sldMk cId="3757134594" sldId="9058"/>
            <ac:picMk id="1028" creationId="{B4394B7D-9FEF-4B37-AB17-613CCF2C22E4}"/>
          </ac:picMkLst>
        </pc:picChg>
      </pc:sldChg>
      <pc:sldChg chg="addSp delSp modSp mod">
        <pc:chgData name="Jivrajani, Dharini" userId="9f28c9a6-e07b-4de5-8682-ac3f5c875595" providerId="ADAL" clId="{122FA928-8F65-4B63-B0A8-2492AB328204}" dt="2021-07-13T01:13:12.083" v="768" actId="20577"/>
        <pc:sldMkLst>
          <pc:docMk/>
          <pc:sldMk cId="1983421167" sldId="9059"/>
        </pc:sldMkLst>
        <pc:spChg chg="del">
          <ac:chgData name="Jivrajani, Dharini" userId="9f28c9a6-e07b-4de5-8682-ac3f5c875595" providerId="ADAL" clId="{122FA928-8F65-4B63-B0A8-2492AB328204}" dt="2021-07-13T01:09:44.768" v="673" actId="478"/>
          <ac:spMkLst>
            <pc:docMk/>
            <pc:sldMk cId="1983421167" sldId="9059"/>
            <ac:spMk id="3" creationId="{A1AE85E8-A8FC-49F4-92AB-44FB9221F9F9}"/>
          </ac:spMkLst>
        </pc:spChg>
        <pc:spChg chg="add del mod">
          <ac:chgData name="Jivrajani, Dharini" userId="9f28c9a6-e07b-4de5-8682-ac3f5c875595" providerId="ADAL" clId="{122FA928-8F65-4B63-B0A8-2492AB328204}" dt="2021-07-13T01:11:50.577" v="681"/>
          <ac:spMkLst>
            <pc:docMk/>
            <pc:sldMk cId="1983421167" sldId="9059"/>
            <ac:spMk id="11" creationId="{12B0F5BF-E544-46D5-ABEB-46A2A6B0B9DA}"/>
          </ac:spMkLst>
        </pc:spChg>
        <pc:spChg chg="add mod">
          <ac:chgData name="Jivrajani, Dharini" userId="9f28c9a6-e07b-4de5-8682-ac3f5c875595" providerId="ADAL" clId="{122FA928-8F65-4B63-B0A8-2492AB328204}" dt="2021-07-13T01:12:14.834" v="707" actId="20577"/>
          <ac:spMkLst>
            <pc:docMk/>
            <pc:sldMk cId="1983421167" sldId="9059"/>
            <ac:spMk id="12" creationId="{8E8943AA-3585-43EE-8E66-F64790A5ECF6}"/>
          </ac:spMkLst>
        </pc:spChg>
        <pc:spChg chg="add mod">
          <ac:chgData name="Jivrajani, Dharini" userId="9f28c9a6-e07b-4de5-8682-ac3f5c875595" providerId="ADAL" clId="{122FA928-8F65-4B63-B0A8-2492AB328204}" dt="2021-07-13T01:12:33.128" v="738" actId="20577"/>
          <ac:spMkLst>
            <pc:docMk/>
            <pc:sldMk cId="1983421167" sldId="9059"/>
            <ac:spMk id="13" creationId="{C5D961B3-8F19-4DA7-8756-3BF9A940A6CF}"/>
          </ac:spMkLst>
        </pc:spChg>
        <pc:spChg chg="add mod">
          <ac:chgData name="Jivrajani, Dharini" userId="9f28c9a6-e07b-4de5-8682-ac3f5c875595" providerId="ADAL" clId="{122FA928-8F65-4B63-B0A8-2492AB328204}" dt="2021-07-13T01:13:12.083" v="768" actId="20577"/>
          <ac:spMkLst>
            <pc:docMk/>
            <pc:sldMk cId="1983421167" sldId="9059"/>
            <ac:spMk id="14" creationId="{66CAAA7E-64AF-4616-864E-E8D77391474F}"/>
          </ac:spMkLst>
        </pc:spChg>
        <pc:picChg chg="mod">
          <ac:chgData name="Jivrajani, Dharini" userId="9f28c9a6-e07b-4de5-8682-ac3f5c875595" providerId="ADAL" clId="{122FA928-8F65-4B63-B0A8-2492AB328204}" dt="2021-07-13T01:12:20.023" v="709" actId="1076"/>
          <ac:picMkLst>
            <pc:docMk/>
            <pc:sldMk cId="1983421167" sldId="9059"/>
            <ac:picMk id="2" creationId="{D935FC68-DACB-4A36-B0E6-DCEC04C590C4}"/>
          </ac:picMkLst>
        </pc:picChg>
      </pc:sldChg>
      <pc:sldChg chg="modSp mod">
        <pc:chgData name="Jivrajani, Dharini" userId="9f28c9a6-e07b-4de5-8682-ac3f5c875595" providerId="ADAL" clId="{122FA928-8F65-4B63-B0A8-2492AB328204}" dt="2021-07-15T12:06:47.376" v="929" actId="20577"/>
        <pc:sldMkLst>
          <pc:docMk/>
          <pc:sldMk cId="53167518" sldId="9060"/>
        </pc:sldMkLst>
        <pc:spChg chg="mod">
          <ac:chgData name="Jivrajani, Dharini" userId="9f28c9a6-e07b-4de5-8682-ac3f5c875595" providerId="ADAL" clId="{122FA928-8F65-4B63-B0A8-2492AB328204}" dt="2021-07-07T15:00:56.692" v="321" actId="14100"/>
          <ac:spMkLst>
            <pc:docMk/>
            <pc:sldMk cId="53167518" sldId="9060"/>
            <ac:spMk id="56" creationId="{71F38AEC-52B4-4D9C-BDA3-E432D301F243}"/>
          </ac:spMkLst>
        </pc:spChg>
        <pc:graphicFrameChg chg="modGraphic">
          <ac:chgData name="Jivrajani, Dharini" userId="9f28c9a6-e07b-4de5-8682-ac3f5c875595" providerId="ADAL" clId="{122FA928-8F65-4B63-B0A8-2492AB328204}" dt="2021-07-15T12:06:47.376" v="929" actId="20577"/>
          <ac:graphicFrameMkLst>
            <pc:docMk/>
            <pc:sldMk cId="53167518" sldId="9060"/>
            <ac:graphicFrameMk id="4" creationId="{FE664A44-2B52-48E1-842B-86373307A2AD}"/>
          </ac:graphicFrameMkLst>
        </pc:graphicFrameChg>
        <pc:graphicFrameChg chg="modGraphic">
          <ac:chgData name="Jivrajani, Dharini" userId="9f28c9a6-e07b-4de5-8682-ac3f5c875595" providerId="ADAL" clId="{122FA928-8F65-4B63-B0A8-2492AB328204}" dt="2021-07-14T14:10:54.051" v="911" actId="20577"/>
          <ac:graphicFrameMkLst>
            <pc:docMk/>
            <pc:sldMk cId="53167518" sldId="9060"/>
            <ac:graphicFrameMk id="58" creationId="{A6EBFF0D-1699-4F57-AC1F-62AAC56A13FE}"/>
          </ac:graphicFrameMkLst>
        </pc:graphicFrameChg>
      </pc:sldChg>
      <pc:sldChg chg="add modTransition">
        <pc:chgData name="Jivrajani, Dharini" userId="9f28c9a6-e07b-4de5-8682-ac3f5c875595" providerId="ADAL" clId="{122FA928-8F65-4B63-B0A8-2492AB328204}" dt="2021-07-08T22:17:13.157" v="333"/>
        <pc:sldMkLst>
          <pc:docMk/>
          <pc:sldMk cId="2269658214" sldId="9063"/>
        </pc:sldMkLst>
      </pc:sldChg>
      <pc:sldChg chg="add modTransition">
        <pc:chgData name="Jivrajani, Dharini" userId="9f28c9a6-e07b-4de5-8682-ac3f5c875595" providerId="ADAL" clId="{122FA928-8F65-4B63-B0A8-2492AB328204}" dt="2021-07-08T22:17:26.868" v="334"/>
        <pc:sldMkLst>
          <pc:docMk/>
          <pc:sldMk cId="1096705808" sldId="9064"/>
        </pc:sldMkLst>
      </pc:sldChg>
      <pc:sldChg chg="add">
        <pc:chgData name="Jivrajani, Dharini" userId="9f28c9a6-e07b-4de5-8682-ac3f5c875595" providerId="ADAL" clId="{122FA928-8F65-4B63-B0A8-2492AB328204}" dt="2021-07-08T22:17:26.868" v="334"/>
        <pc:sldMkLst>
          <pc:docMk/>
          <pc:sldMk cId="563829202" sldId="9065"/>
        </pc:sldMkLst>
      </pc:sldChg>
      <pc:sldChg chg="add modTransition">
        <pc:chgData name="Jivrajani, Dharini" userId="9f28c9a6-e07b-4de5-8682-ac3f5c875595" providerId="ADAL" clId="{122FA928-8F65-4B63-B0A8-2492AB328204}" dt="2021-07-08T22:17:26.868" v="334"/>
        <pc:sldMkLst>
          <pc:docMk/>
          <pc:sldMk cId="3087619356" sldId="9066"/>
        </pc:sldMkLst>
      </pc:sldChg>
      <pc:sldChg chg="add modTransition">
        <pc:chgData name="Jivrajani, Dharini" userId="9f28c9a6-e07b-4de5-8682-ac3f5c875595" providerId="ADAL" clId="{122FA928-8F65-4B63-B0A8-2492AB328204}" dt="2021-07-08T22:17:26.868" v="334"/>
        <pc:sldMkLst>
          <pc:docMk/>
          <pc:sldMk cId="1548004304" sldId="9067"/>
        </pc:sldMkLst>
      </pc:sldChg>
      <pc:sldChg chg="add">
        <pc:chgData name="Jivrajani, Dharini" userId="9f28c9a6-e07b-4de5-8682-ac3f5c875595" providerId="ADAL" clId="{122FA928-8F65-4B63-B0A8-2492AB328204}" dt="2021-07-12T12:24:19.566" v="631"/>
        <pc:sldMkLst>
          <pc:docMk/>
          <pc:sldMk cId="447954801" sldId="9068"/>
        </pc:sldMkLst>
      </pc:sldChg>
      <pc:sldMasterChg chg="delSldLayout">
        <pc:chgData name="Jivrajani, Dharini" userId="9f28c9a6-e07b-4de5-8682-ac3f5c875595" providerId="ADAL" clId="{122FA928-8F65-4B63-B0A8-2492AB328204}" dt="2021-07-08T22:16:59.314" v="332" actId="47"/>
        <pc:sldMasterMkLst>
          <pc:docMk/>
          <pc:sldMasterMk cId="2442695915" sldId="2147483990"/>
        </pc:sldMasterMkLst>
        <pc:sldLayoutChg chg="del">
          <pc:chgData name="Jivrajani, Dharini" userId="9f28c9a6-e07b-4de5-8682-ac3f5c875595" providerId="ADAL" clId="{122FA928-8F65-4B63-B0A8-2492AB328204}" dt="2021-07-08T22:16:59.314" v="332" actId="47"/>
          <pc:sldLayoutMkLst>
            <pc:docMk/>
            <pc:sldMasterMk cId="2442695915" sldId="2147483990"/>
            <pc:sldLayoutMk cId="1723206455" sldId="2147484104"/>
          </pc:sldLayoutMkLst>
        </pc:sldLayoutChg>
      </pc:sldMasterChg>
    </pc:docChg>
  </pc:docChgLst>
  <pc:docChgLst>
    <pc:chgData name="Sharma Palla, Rakesh" userId="S::rsharmapalla@deloitte.com::10f9904b-c976-486e-940c-ca5698800d24" providerId="AD" clId="Web-{6B7F6763-3F42-4839-B01B-143CCCD5F89F}"/>
    <pc:docChg chg="modSld">
      <pc:chgData name="Sharma Palla, Rakesh" userId="S::rsharmapalla@deloitte.com::10f9904b-c976-486e-940c-ca5698800d24" providerId="AD" clId="Web-{6B7F6763-3F42-4839-B01B-143CCCD5F89F}" dt="2021-07-12T18:51:11.142" v="35"/>
      <pc:docMkLst>
        <pc:docMk/>
      </pc:docMkLst>
      <pc:sldChg chg="modSp">
        <pc:chgData name="Sharma Palla, Rakesh" userId="S::rsharmapalla@deloitte.com::10f9904b-c976-486e-940c-ca5698800d24" providerId="AD" clId="Web-{6B7F6763-3F42-4839-B01B-143CCCD5F89F}" dt="2021-07-12T18:51:11.142" v="35"/>
        <pc:sldMkLst>
          <pc:docMk/>
          <pc:sldMk cId="847777020" sldId="8791"/>
        </pc:sldMkLst>
        <pc:graphicFrameChg chg="mod modGraphic">
          <ac:chgData name="Sharma Palla, Rakesh" userId="S::rsharmapalla@deloitte.com::10f9904b-c976-486e-940c-ca5698800d24" providerId="AD" clId="Web-{6B7F6763-3F42-4839-B01B-143CCCD5F89F}" dt="2021-07-12T18:51:11.142" v="35"/>
          <ac:graphicFrameMkLst>
            <pc:docMk/>
            <pc:sldMk cId="847777020" sldId="8791"/>
            <ac:graphicFrameMk id="2" creationId="{047A132D-3FAE-48C5-BD5F-C01213AAD2F4}"/>
          </ac:graphicFrameMkLst>
        </pc:graphicFrameChg>
      </pc:sldChg>
    </pc:docChg>
  </pc:docChgLst>
  <pc:docChgLst>
    <pc:chgData name="Jivrajani, Dharini" userId="S::djivrajani@deloitte.com::9f28c9a6-e07b-4de5-8682-ac3f5c875595" providerId="AD" clId="Web-{0301EA81-D813-4AE8-9D92-43BB4D0CED88}"/>
    <pc:docChg chg="modSld">
      <pc:chgData name="Jivrajani, Dharini" userId="S::djivrajani@deloitte.com::9f28c9a6-e07b-4de5-8682-ac3f5c875595" providerId="AD" clId="Web-{0301EA81-D813-4AE8-9D92-43BB4D0CED88}" dt="2021-06-15T12:18:00.186" v="49"/>
      <pc:docMkLst>
        <pc:docMk/>
      </pc:docMkLst>
      <pc:sldChg chg="modSp">
        <pc:chgData name="Jivrajani, Dharini" userId="S::djivrajani@deloitte.com::9f28c9a6-e07b-4de5-8682-ac3f5c875595" providerId="AD" clId="Web-{0301EA81-D813-4AE8-9D92-43BB4D0CED88}" dt="2021-06-15T12:18:00.186" v="49"/>
        <pc:sldMkLst>
          <pc:docMk/>
          <pc:sldMk cId="3491360341" sldId="8786"/>
        </pc:sldMkLst>
        <pc:graphicFrameChg chg="mod modGraphic">
          <ac:chgData name="Jivrajani, Dharini" userId="S::djivrajani@deloitte.com::9f28c9a6-e07b-4de5-8682-ac3f5c875595" providerId="AD" clId="Web-{0301EA81-D813-4AE8-9D92-43BB4D0CED88}" dt="2021-06-15T12:18:00.186" v="49"/>
          <ac:graphicFrameMkLst>
            <pc:docMk/>
            <pc:sldMk cId="3491360341" sldId="8786"/>
            <ac:graphicFrameMk id="4" creationId="{FE664A44-2B52-48E1-842B-86373307A2AD}"/>
          </ac:graphicFrameMkLst>
        </pc:graphicFrameChg>
      </pc:sldChg>
    </pc:docChg>
  </pc:docChgLst>
  <pc:docChgLst>
    <pc:chgData name="Patel, Jignesh" userId="S::jignpatel@deloitte.com::c8f6f643-687e-4b58-941e-b5f86bf4291b" providerId="AD" clId="Web-{1A9FBD08-B200-4076-86C7-FC7DEFC34463}"/>
    <pc:docChg chg="modSld">
      <pc:chgData name="Patel, Jignesh" userId="S::jignpatel@deloitte.com::c8f6f643-687e-4b58-941e-b5f86bf4291b" providerId="AD" clId="Web-{1A9FBD08-B200-4076-86C7-FC7DEFC34463}" dt="2020-07-13T18:55:57.169" v="1"/>
      <pc:docMkLst>
        <pc:docMk/>
      </pc:docMkLst>
      <pc:sldChg chg="modSp">
        <pc:chgData name="Patel, Jignesh" userId="S::jignpatel@deloitte.com::c8f6f643-687e-4b58-941e-b5f86bf4291b" providerId="AD" clId="Web-{1A9FBD08-B200-4076-86C7-FC7DEFC34463}" dt="2020-07-13T18:55:57.169" v="1"/>
        <pc:sldMkLst>
          <pc:docMk/>
          <pc:sldMk cId="2246163936" sldId="8788"/>
        </pc:sldMkLst>
        <pc:graphicFrameChg chg="modGraphic">
          <ac:chgData name="Patel, Jignesh" userId="S::jignpatel@deloitte.com::c8f6f643-687e-4b58-941e-b5f86bf4291b" providerId="AD" clId="Web-{1A9FBD08-B200-4076-86C7-FC7DEFC34463}" dt="2020-07-13T18:55:57.169" v="1"/>
          <ac:graphicFrameMkLst>
            <pc:docMk/>
            <pc:sldMk cId="2246163936" sldId="8788"/>
            <ac:graphicFrameMk id="2" creationId="{DBFB0C01-4024-4DDF-BB08-6AA678F60360}"/>
          </ac:graphicFrameMkLst>
        </pc:graphicFrameChg>
      </pc:sldChg>
    </pc:docChg>
  </pc:docChgLst>
  <pc:docChgLst>
    <pc:chgData name="Lakshmi Kalyan Chakravart, Lakshmi" userId="S::llakshmikalyancha@deloitte.com::59aadd41-0ad0-497c-abc3-cdea2ef388fe" providerId="AD" clId="Web-{D7932D6B-1849-4728-A437-416ADC036C9B}"/>
    <pc:docChg chg="modSld">
      <pc:chgData name="Lakshmi Kalyan Chakravart, Lakshmi" userId="S::llakshmikalyancha@deloitte.com::59aadd41-0ad0-497c-abc3-cdea2ef388fe" providerId="AD" clId="Web-{D7932D6B-1849-4728-A437-416ADC036C9B}" dt="2021-05-13T06:57:16.449" v="0" actId="1076"/>
      <pc:docMkLst>
        <pc:docMk/>
      </pc:docMkLst>
      <pc:sldChg chg="modSp">
        <pc:chgData name="Lakshmi Kalyan Chakravart, Lakshmi" userId="S::llakshmikalyancha@deloitte.com::59aadd41-0ad0-497c-abc3-cdea2ef388fe" providerId="AD" clId="Web-{D7932D6B-1849-4728-A437-416ADC036C9B}" dt="2021-05-13T06:57:16.449" v="0" actId="1076"/>
        <pc:sldMkLst>
          <pc:docMk/>
          <pc:sldMk cId="3449760871" sldId="373"/>
        </pc:sldMkLst>
        <pc:graphicFrameChg chg="mod">
          <ac:chgData name="Lakshmi Kalyan Chakravart, Lakshmi" userId="S::llakshmikalyancha@deloitte.com::59aadd41-0ad0-497c-abc3-cdea2ef388fe" providerId="AD" clId="Web-{D7932D6B-1849-4728-A437-416ADC036C9B}" dt="2021-05-13T06:57:16.449" v="0" actId="1076"/>
          <ac:graphicFrameMkLst>
            <pc:docMk/>
            <pc:sldMk cId="3449760871" sldId="373"/>
            <ac:graphicFrameMk id="4" creationId="{7A666805-C0FA-457F-A6BC-C3BAAEE43301}"/>
          </ac:graphicFrameMkLst>
        </pc:graphicFrameChg>
      </pc:sldChg>
    </pc:docChg>
  </pc:docChgLst>
  <pc:docChgLst>
    <pc:chgData name="Hermon, Ezra" userId="28426d24-1f30-44cc-8d98-50e3c6043258" providerId="ADAL" clId="{54B1985C-F99C-46AF-956A-6F6F07DE2B45}"/>
    <pc:docChg chg="custSel modSld">
      <pc:chgData name="Hermon, Ezra" userId="28426d24-1f30-44cc-8d98-50e3c6043258" providerId="ADAL" clId="{54B1985C-F99C-46AF-956A-6F6F07DE2B45}" dt="2021-03-19T06:15:29.206" v="309" actId="20577"/>
      <pc:docMkLst>
        <pc:docMk/>
      </pc:docMkLst>
      <pc:sldChg chg="modSp mod">
        <pc:chgData name="Hermon, Ezra" userId="28426d24-1f30-44cc-8d98-50e3c6043258" providerId="ADAL" clId="{54B1985C-F99C-46AF-956A-6F6F07DE2B45}" dt="2021-03-19T06:15:29.206" v="309" actId="20577"/>
        <pc:sldMkLst>
          <pc:docMk/>
          <pc:sldMk cId="2246163936" sldId="8788"/>
        </pc:sldMkLst>
        <pc:graphicFrameChg chg="mod modGraphic">
          <ac:chgData name="Hermon, Ezra" userId="28426d24-1f30-44cc-8d98-50e3c6043258" providerId="ADAL" clId="{54B1985C-F99C-46AF-956A-6F6F07DE2B45}" dt="2021-03-19T06:15:29.206" v="309" actId="20577"/>
          <ac:graphicFrameMkLst>
            <pc:docMk/>
            <pc:sldMk cId="2246163936" sldId="8788"/>
            <ac:graphicFrameMk id="2" creationId="{DBFB0C01-4024-4DDF-BB08-6AA678F60360}"/>
          </ac:graphicFrameMkLst>
        </pc:graphicFrameChg>
      </pc:sldChg>
    </pc:docChg>
  </pc:docChgLst>
  <pc:docChgLst>
    <pc:chgData name="Ghosh, Anindya" userId="S::anighosh@deloitte.com::1c8636f3-f28e-411c-9bbf-d78a395a60f5" providerId="AD" clId="Web-{D27A9545-7A5D-4B79-8A33-252D6BB795A3}"/>
    <pc:docChg chg="modSld">
      <pc:chgData name="Ghosh, Anindya" userId="S::anighosh@deloitte.com::1c8636f3-f28e-411c-9bbf-d78a395a60f5" providerId="AD" clId="Web-{D27A9545-7A5D-4B79-8A33-252D6BB795A3}" dt="2020-12-02T05:38:55.219" v="110"/>
      <pc:docMkLst>
        <pc:docMk/>
      </pc:docMkLst>
      <pc:sldChg chg="addSp delSp modSp">
        <pc:chgData name="Ghosh, Anindya" userId="S::anighosh@deloitte.com::1c8636f3-f28e-411c-9bbf-d78a395a60f5" providerId="AD" clId="Web-{D27A9545-7A5D-4B79-8A33-252D6BB795A3}" dt="2020-12-02T05:38:55.219" v="110"/>
        <pc:sldMkLst>
          <pc:docMk/>
          <pc:sldMk cId="473660456" sldId="9024"/>
        </pc:sldMkLst>
        <pc:spChg chg="del">
          <ac:chgData name="Ghosh, Anindya" userId="S::anighosh@deloitte.com::1c8636f3-f28e-411c-9bbf-d78a395a60f5" providerId="AD" clId="Web-{D27A9545-7A5D-4B79-8A33-252D6BB795A3}" dt="2020-12-02T05:34:13.992" v="0"/>
          <ac:spMkLst>
            <pc:docMk/>
            <pc:sldMk cId="473660456" sldId="9024"/>
            <ac:spMk id="5" creationId="{42D4EE63-E775-4123-8356-BA72BBF18057}"/>
          </ac:spMkLst>
        </pc:spChg>
        <pc:graphicFrameChg chg="add mod modGraphic">
          <ac:chgData name="Ghosh, Anindya" userId="S::anighosh@deloitte.com::1c8636f3-f28e-411c-9bbf-d78a395a60f5" providerId="AD" clId="Web-{D27A9545-7A5D-4B79-8A33-252D6BB795A3}" dt="2020-12-02T05:38:55.219" v="110"/>
          <ac:graphicFrameMkLst>
            <pc:docMk/>
            <pc:sldMk cId="473660456" sldId="9024"/>
            <ac:graphicFrameMk id="3" creationId="{52A01B89-C80C-4A73-99F5-B9725D6DA2FC}"/>
          </ac:graphicFrameMkLst>
        </pc:graphicFrameChg>
      </pc:sldChg>
    </pc:docChg>
  </pc:docChgLst>
  <pc:docChgLst>
    <pc:chgData name="Sharma Palla, Rakesh" userId="S::rsharmapalla@deloitte.com::10f9904b-c976-486e-940c-ca5698800d24" providerId="AD" clId="Web-{8A2E1A11-384C-43DA-9870-A96A75FA60E7}"/>
    <pc:docChg chg="modSld">
      <pc:chgData name="Sharma Palla, Rakesh" userId="S::rsharmapalla@deloitte.com::10f9904b-c976-486e-940c-ca5698800d24" providerId="AD" clId="Web-{8A2E1A11-384C-43DA-9870-A96A75FA60E7}" dt="2020-12-02T11:28:31.565" v="6" actId="20577"/>
      <pc:docMkLst>
        <pc:docMk/>
      </pc:docMkLst>
      <pc:sldChg chg="modSp">
        <pc:chgData name="Sharma Palla, Rakesh" userId="S::rsharmapalla@deloitte.com::10f9904b-c976-486e-940c-ca5698800d24" providerId="AD" clId="Web-{8A2E1A11-384C-43DA-9870-A96A75FA60E7}" dt="2020-12-02T11:27:19.127" v="3"/>
        <pc:sldMkLst>
          <pc:docMk/>
          <pc:sldMk cId="3491360341" sldId="8786"/>
        </pc:sldMkLst>
        <pc:graphicFrameChg chg="mod modGraphic">
          <ac:chgData name="Sharma Palla, Rakesh" userId="S::rsharmapalla@deloitte.com::10f9904b-c976-486e-940c-ca5698800d24" providerId="AD" clId="Web-{8A2E1A11-384C-43DA-9870-A96A75FA60E7}" dt="2020-12-02T11:27:19.127" v="3"/>
          <ac:graphicFrameMkLst>
            <pc:docMk/>
            <pc:sldMk cId="3491360341" sldId="8786"/>
            <ac:graphicFrameMk id="4" creationId="{FE664A44-2B52-48E1-842B-86373307A2AD}"/>
          </ac:graphicFrameMkLst>
        </pc:graphicFrameChg>
      </pc:sldChg>
      <pc:sldChg chg="modSp">
        <pc:chgData name="Sharma Palla, Rakesh" userId="S::rsharmapalla@deloitte.com::10f9904b-c976-486e-940c-ca5698800d24" providerId="AD" clId="Web-{8A2E1A11-384C-43DA-9870-A96A75FA60E7}" dt="2020-12-02T11:28:31.565" v="6" actId="20577"/>
        <pc:sldMkLst>
          <pc:docMk/>
          <pc:sldMk cId="795272350" sldId="9010"/>
        </pc:sldMkLst>
        <pc:spChg chg="mod">
          <ac:chgData name="Sharma Palla, Rakesh" userId="S::rsharmapalla@deloitte.com::10f9904b-c976-486e-940c-ca5698800d24" providerId="AD" clId="Web-{8A2E1A11-384C-43DA-9870-A96A75FA60E7}" dt="2020-12-02T11:28:31.565" v="6" actId="20577"/>
          <ac:spMkLst>
            <pc:docMk/>
            <pc:sldMk cId="795272350" sldId="9010"/>
            <ac:spMk id="20" creationId="{97F95232-FAF7-4FBD-A394-067DD3DBBE84}"/>
          </ac:spMkLst>
        </pc:spChg>
      </pc:sldChg>
    </pc:docChg>
  </pc:docChgLst>
  <pc:docChgLst>
    <pc:chgData name="Kommatreddy, Chaitanya" userId="S::ckommatreddy@deloitte.com::44a1469f-b03c-453c-8c31-90f831355cdb" providerId="AD" clId="Web-{93683627-D68D-4DD3-A0C7-33DE7F96E4FC}"/>
    <pc:docChg chg="modSld">
      <pc:chgData name="Kommatreddy, Chaitanya" userId="S::ckommatreddy@deloitte.com::44a1469f-b03c-453c-8c31-90f831355cdb" providerId="AD" clId="Web-{93683627-D68D-4DD3-A0C7-33DE7F96E4FC}" dt="2020-07-14T06:31:37.128" v="90" actId="20577"/>
      <pc:docMkLst>
        <pc:docMk/>
      </pc:docMkLst>
      <pc:sldChg chg="modSp">
        <pc:chgData name="Kommatreddy, Chaitanya" userId="S::ckommatreddy@deloitte.com::44a1469f-b03c-453c-8c31-90f831355cdb" providerId="AD" clId="Web-{93683627-D68D-4DD3-A0C7-33DE7F96E4FC}" dt="2020-07-14T06:31:37.128" v="90" actId="20577"/>
        <pc:sldMkLst>
          <pc:docMk/>
          <pc:sldMk cId="3493385288" sldId="8816"/>
        </pc:sldMkLst>
        <pc:spChg chg="mod">
          <ac:chgData name="Kommatreddy, Chaitanya" userId="S::ckommatreddy@deloitte.com::44a1469f-b03c-453c-8c31-90f831355cdb" providerId="AD" clId="Web-{93683627-D68D-4DD3-A0C7-33DE7F96E4FC}" dt="2020-07-14T06:27:36.895" v="47" actId="1076"/>
          <ac:spMkLst>
            <pc:docMk/>
            <pc:sldMk cId="3493385288" sldId="8816"/>
            <ac:spMk id="8" creationId="{21CA3F85-875C-40CB-AD42-3BC71C720339}"/>
          </ac:spMkLst>
        </pc:spChg>
        <pc:spChg chg="mod">
          <ac:chgData name="Kommatreddy, Chaitanya" userId="S::ckommatreddy@deloitte.com::44a1469f-b03c-453c-8c31-90f831355cdb" providerId="AD" clId="Web-{93683627-D68D-4DD3-A0C7-33DE7F96E4FC}" dt="2020-07-14T06:31:37.128" v="90" actId="20577"/>
          <ac:spMkLst>
            <pc:docMk/>
            <pc:sldMk cId="3493385288" sldId="8816"/>
            <ac:spMk id="13" creationId="{00000000-0000-0000-0000-000000000000}"/>
          </ac:spMkLst>
        </pc:spChg>
        <pc:picChg chg="mod">
          <ac:chgData name="Kommatreddy, Chaitanya" userId="S::ckommatreddy@deloitte.com::44a1469f-b03c-453c-8c31-90f831355cdb" providerId="AD" clId="Web-{93683627-D68D-4DD3-A0C7-33DE7F96E4FC}" dt="2020-07-14T06:27:41.286" v="48" actId="1076"/>
          <ac:picMkLst>
            <pc:docMk/>
            <pc:sldMk cId="3493385288" sldId="8816"/>
            <ac:picMk id="10" creationId="{5F21161B-5EB0-47A1-9D70-658D9CCF2A13}"/>
          </ac:picMkLst>
        </pc:picChg>
      </pc:sldChg>
    </pc:docChg>
  </pc:docChgLst>
  <pc:docChgLst>
    <pc:chgData name="Jivrajani, Dharini" userId="9f28c9a6-e07b-4de5-8682-ac3f5c875595" providerId="ADAL" clId="{46161A50-CACC-4046-B55E-3D6E122DFCDA}"/>
    <pc:docChg chg="undo custSel addSld delSld modSld sldOrd modSection">
      <pc:chgData name="Jivrajani, Dharini" userId="9f28c9a6-e07b-4de5-8682-ac3f5c875595" providerId="ADAL" clId="{46161A50-CACC-4046-B55E-3D6E122DFCDA}" dt="2021-02-25T02:49:43.381" v="2790" actId="20577"/>
      <pc:docMkLst>
        <pc:docMk/>
      </pc:docMkLst>
      <pc:sldChg chg="addSp modSp">
        <pc:chgData name="Jivrajani, Dharini" userId="9f28c9a6-e07b-4de5-8682-ac3f5c875595" providerId="ADAL" clId="{46161A50-CACC-4046-B55E-3D6E122DFCDA}" dt="2021-02-25T02:06:09.748" v="2119" actId="1076"/>
        <pc:sldMkLst>
          <pc:docMk/>
          <pc:sldMk cId="636999727" sldId="256"/>
        </pc:sldMkLst>
        <pc:spChg chg="add mod">
          <ac:chgData name="Jivrajani, Dharini" userId="9f28c9a6-e07b-4de5-8682-ac3f5c875595" providerId="ADAL" clId="{46161A50-CACC-4046-B55E-3D6E122DFCDA}" dt="2021-02-25T02:06:09.748" v="2119" actId="1076"/>
          <ac:spMkLst>
            <pc:docMk/>
            <pc:sldMk cId="636999727" sldId="256"/>
            <ac:spMk id="2" creationId="{C4741453-AAC1-4F16-8941-1B30D0707353}"/>
          </ac:spMkLst>
        </pc:spChg>
        <pc:picChg chg="mod">
          <ac:chgData name="Jivrajani, Dharini" userId="9f28c9a6-e07b-4de5-8682-ac3f5c875595" providerId="ADAL" clId="{46161A50-CACC-4046-B55E-3D6E122DFCDA}" dt="2021-02-25T02:06:00.636" v="2117" actId="1076"/>
          <ac:picMkLst>
            <pc:docMk/>
            <pc:sldMk cId="636999727" sldId="256"/>
            <ac:picMk id="4" creationId="{B3C49C56-DBBD-4F92-AB32-0BF6891565C7}"/>
          </ac:picMkLst>
        </pc:picChg>
        <pc:picChg chg="mod">
          <ac:chgData name="Jivrajani, Dharini" userId="9f28c9a6-e07b-4de5-8682-ac3f5c875595" providerId="ADAL" clId="{46161A50-CACC-4046-B55E-3D6E122DFCDA}" dt="2021-02-25T02:06:05.113" v="2118" actId="1076"/>
          <ac:picMkLst>
            <pc:docMk/>
            <pc:sldMk cId="636999727" sldId="256"/>
            <ac:picMk id="7" creationId="{51A7DA61-C621-4750-808F-AA81F1A36ED3}"/>
          </ac:picMkLst>
        </pc:picChg>
      </pc:sldChg>
      <pc:sldChg chg="addSp delSp modSp">
        <pc:chgData name="Jivrajani, Dharini" userId="9f28c9a6-e07b-4de5-8682-ac3f5c875595" providerId="ADAL" clId="{46161A50-CACC-4046-B55E-3D6E122DFCDA}" dt="2021-02-24T18:27:39.258" v="1347" actId="20577"/>
        <pc:sldMkLst>
          <pc:docMk/>
          <pc:sldMk cId="3661564267" sldId="257"/>
        </pc:sldMkLst>
        <pc:spChg chg="mod">
          <ac:chgData name="Jivrajani, Dharini" userId="9f28c9a6-e07b-4de5-8682-ac3f5c875595" providerId="ADAL" clId="{46161A50-CACC-4046-B55E-3D6E122DFCDA}" dt="2021-02-24T18:27:39.258" v="1347" actId="20577"/>
          <ac:spMkLst>
            <pc:docMk/>
            <pc:sldMk cId="3661564267" sldId="257"/>
            <ac:spMk id="4" creationId="{00000000-0000-0000-0000-000000000000}"/>
          </ac:spMkLst>
        </pc:spChg>
        <pc:picChg chg="add del mod">
          <ac:chgData name="Jivrajani, Dharini" userId="9f28c9a6-e07b-4de5-8682-ac3f5c875595" providerId="ADAL" clId="{46161A50-CACC-4046-B55E-3D6E122DFCDA}" dt="2021-02-24T14:15:54.184" v="523" actId="478"/>
          <ac:picMkLst>
            <pc:docMk/>
            <pc:sldMk cId="3661564267" sldId="257"/>
            <ac:picMk id="6146" creationId="{1AAB3C5D-E470-4D1E-97FC-D22233DB11AA}"/>
          </ac:picMkLst>
        </pc:picChg>
        <pc:picChg chg="add del">
          <ac:chgData name="Jivrajani, Dharini" userId="9f28c9a6-e07b-4de5-8682-ac3f5c875595" providerId="ADAL" clId="{46161A50-CACC-4046-B55E-3D6E122DFCDA}" dt="2021-02-24T14:15:42.996" v="520"/>
          <ac:picMkLst>
            <pc:docMk/>
            <pc:sldMk cId="3661564267" sldId="257"/>
            <ac:picMk id="6148" creationId="{5AD0D467-6FA9-4A27-BD90-373339CEA40D}"/>
          </ac:picMkLst>
        </pc:picChg>
      </pc:sldChg>
      <pc:sldChg chg="addSp modSp">
        <pc:chgData name="Jivrajani, Dharini" userId="9f28c9a6-e07b-4de5-8682-ac3f5c875595" providerId="ADAL" clId="{46161A50-CACC-4046-B55E-3D6E122DFCDA}" dt="2021-02-25T02:04:51.757" v="2070" actId="20577"/>
        <pc:sldMkLst>
          <pc:docMk/>
          <pc:sldMk cId="2093104445" sldId="269"/>
        </pc:sldMkLst>
        <pc:spChg chg="add mod">
          <ac:chgData name="Jivrajani, Dharini" userId="9f28c9a6-e07b-4de5-8682-ac3f5c875595" providerId="ADAL" clId="{46161A50-CACC-4046-B55E-3D6E122DFCDA}" dt="2021-02-25T02:04:51.757" v="2070" actId="20577"/>
          <ac:spMkLst>
            <pc:docMk/>
            <pc:sldMk cId="2093104445" sldId="269"/>
            <ac:spMk id="218" creationId="{4D1E8410-9C9B-4C8C-911B-9792839BB2FA}"/>
          </ac:spMkLst>
        </pc:spChg>
      </pc:sldChg>
      <pc:sldChg chg="modSp">
        <pc:chgData name="Jivrajani, Dharini" userId="9f28c9a6-e07b-4de5-8682-ac3f5c875595" providerId="ADAL" clId="{46161A50-CACC-4046-B55E-3D6E122DFCDA}" dt="2021-02-24T19:12:03.316" v="1842" actId="1076"/>
        <pc:sldMkLst>
          <pc:docMk/>
          <pc:sldMk cId="1298414651" sldId="274"/>
        </pc:sldMkLst>
        <pc:spChg chg="mod">
          <ac:chgData name="Jivrajani, Dharini" userId="9f28c9a6-e07b-4de5-8682-ac3f5c875595" providerId="ADAL" clId="{46161A50-CACC-4046-B55E-3D6E122DFCDA}" dt="2021-02-24T19:10:55.155" v="1838" actId="1076"/>
          <ac:spMkLst>
            <pc:docMk/>
            <pc:sldMk cId="1298414651" sldId="274"/>
            <ac:spMk id="9" creationId="{FAE4E27C-01AA-42A0-BC1B-F5C6A08C3127}"/>
          </ac:spMkLst>
        </pc:spChg>
        <pc:spChg chg="mod">
          <ac:chgData name="Jivrajani, Dharini" userId="9f28c9a6-e07b-4de5-8682-ac3f5c875595" providerId="ADAL" clId="{46161A50-CACC-4046-B55E-3D6E122DFCDA}" dt="2021-02-24T19:11:57.163" v="1841" actId="1076"/>
          <ac:spMkLst>
            <pc:docMk/>
            <pc:sldMk cId="1298414651" sldId="274"/>
            <ac:spMk id="13" creationId="{6141AC9F-953C-478F-9CA1-4A1580C43DD0}"/>
          </ac:spMkLst>
        </pc:spChg>
        <pc:picChg chg="mod">
          <ac:chgData name="Jivrajani, Dharini" userId="9f28c9a6-e07b-4de5-8682-ac3f5c875595" providerId="ADAL" clId="{46161A50-CACC-4046-B55E-3D6E122DFCDA}" dt="2021-02-24T19:11:07.780" v="1839" actId="1076"/>
          <ac:picMkLst>
            <pc:docMk/>
            <pc:sldMk cId="1298414651" sldId="274"/>
            <ac:picMk id="4" creationId="{DF6B8ACF-BD03-4479-A703-3358E93E937F}"/>
          </ac:picMkLst>
        </pc:picChg>
        <pc:picChg chg="mod">
          <ac:chgData name="Jivrajani, Dharini" userId="9f28c9a6-e07b-4de5-8682-ac3f5c875595" providerId="ADAL" clId="{46161A50-CACC-4046-B55E-3D6E122DFCDA}" dt="2021-02-24T19:12:03.316" v="1842" actId="1076"/>
          <ac:picMkLst>
            <pc:docMk/>
            <pc:sldMk cId="1298414651" sldId="274"/>
            <ac:picMk id="12" creationId="{358072C3-5582-48F1-B5A8-0B1A58F53070}"/>
          </ac:picMkLst>
        </pc:picChg>
      </pc:sldChg>
      <pc:sldChg chg="modSp">
        <pc:chgData name="Jivrajani, Dharini" userId="9f28c9a6-e07b-4de5-8682-ac3f5c875595" providerId="ADAL" clId="{46161A50-CACC-4046-B55E-3D6E122DFCDA}" dt="2021-02-24T19:13:35.888" v="1845" actId="1076"/>
        <pc:sldMkLst>
          <pc:docMk/>
          <pc:sldMk cId="2570198846" sldId="278"/>
        </pc:sldMkLst>
        <pc:spChg chg="mod">
          <ac:chgData name="Jivrajani, Dharini" userId="9f28c9a6-e07b-4de5-8682-ac3f5c875595" providerId="ADAL" clId="{46161A50-CACC-4046-B55E-3D6E122DFCDA}" dt="2021-02-24T19:13:35.888" v="1845" actId="1076"/>
          <ac:spMkLst>
            <pc:docMk/>
            <pc:sldMk cId="2570198846" sldId="278"/>
            <ac:spMk id="13" creationId="{5811C935-3B96-49D4-BC35-D4EA08C0DC11}"/>
          </ac:spMkLst>
        </pc:spChg>
        <pc:picChg chg="mod">
          <ac:chgData name="Jivrajani, Dharini" userId="9f28c9a6-e07b-4de5-8682-ac3f5c875595" providerId="ADAL" clId="{46161A50-CACC-4046-B55E-3D6E122DFCDA}" dt="2021-02-24T19:13:15.037" v="1844" actId="1076"/>
          <ac:picMkLst>
            <pc:docMk/>
            <pc:sldMk cId="2570198846" sldId="278"/>
            <ac:picMk id="12" creationId="{948FDD78-1BF9-4780-9083-6B7D6CB08770}"/>
          </ac:picMkLst>
        </pc:picChg>
      </pc:sldChg>
      <pc:sldChg chg="addSp modSp">
        <pc:chgData name="Jivrajani, Dharini" userId="9f28c9a6-e07b-4de5-8682-ac3f5c875595" providerId="ADAL" clId="{46161A50-CACC-4046-B55E-3D6E122DFCDA}" dt="2021-02-24T19:03:28.955" v="1674" actId="20577"/>
        <pc:sldMkLst>
          <pc:docMk/>
          <pc:sldMk cId="2545999528" sldId="2078"/>
        </pc:sldMkLst>
        <pc:spChg chg="add mod">
          <ac:chgData name="Jivrajani, Dharini" userId="9f28c9a6-e07b-4de5-8682-ac3f5c875595" providerId="ADAL" clId="{46161A50-CACC-4046-B55E-3D6E122DFCDA}" dt="2021-02-24T19:03:28.955" v="1674" actId="20577"/>
          <ac:spMkLst>
            <pc:docMk/>
            <pc:sldMk cId="2545999528" sldId="2078"/>
            <ac:spMk id="2" creationId="{4EC48594-500D-448A-9640-345E05D6BDC5}"/>
          </ac:spMkLst>
        </pc:spChg>
      </pc:sldChg>
      <pc:sldChg chg="modSp addCm delCm modCm">
        <pc:chgData name="Jivrajani, Dharini" userId="9f28c9a6-e07b-4de5-8682-ac3f5c875595" providerId="ADAL" clId="{46161A50-CACC-4046-B55E-3D6E122DFCDA}" dt="2021-02-25T02:37:23.023" v="2729" actId="13926"/>
        <pc:sldMkLst>
          <pc:docMk/>
          <pc:sldMk cId="24609206" sldId="2104"/>
        </pc:sldMkLst>
        <pc:spChg chg="mod">
          <ac:chgData name="Jivrajani, Dharini" userId="9f28c9a6-e07b-4de5-8682-ac3f5c875595" providerId="ADAL" clId="{46161A50-CACC-4046-B55E-3D6E122DFCDA}" dt="2021-02-25T02:37:23.023" v="2729" actId="13926"/>
          <ac:spMkLst>
            <pc:docMk/>
            <pc:sldMk cId="24609206" sldId="2104"/>
            <ac:spMk id="5" creationId="{5B812393-1D4C-44E5-88C8-52EB15B2AC90}"/>
          </ac:spMkLst>
        </pc:spChg>
      </pc:sldChg>
      <pc:sldChg chg="addSp modSp">
        <pc:chgData name="Jivrajani, Dharini" userId="9f28c9a6-e07b-4de5-8682-ac3f5c875595" providerId="ADAL" clId="{46161A50-CACC-4046-B55E-3D6E122DFCDA}" dt="2021-02-24T18:59:22.716" v="1499" actId="207"/>
        <pc:sldMkLst>
          <pc:docMk/>
          <pc:sldMk cId="1851280809" sldId="2427"/>
        </pc:sldMkLst>
        <pc:spChg chg="add mod">
          <ac:chgData name="Jivrajani, Dharini" userId="9f28c9a6-e07b-4de5-8682-ac3f5c875595" providerId="ADAL" clId="{46161A50-CACC-4046-B55E-3D6E122DFCDA}" dt="2021-02-24T18:59:22.716" v="1499" actId="207"/>
          <ac:spMkLst>
            <pc:docMk/>
            <pc:sldMk cId="1851280809" sldId="2427"/>
            <ac:spMk id="5" creationId="{105E7877-FAF1-4564-A3DA-3360B316461F}"/>
          </ac:spMkLst>
        </pc:spChg>
        <pc:spChg chg="mod">
          <ac:chgData name="Jivrajani, Dharini" userId="9f28c9a6-e07b-4de5-8682-ac3f5c875595" providerId="ADAL" clId="{46161A50-CACC-4046-B55E-3D6E122DFCDA}" dt="2021-02-24T18:57:59.884" v="1449" actId="20577"/>
          <ac:spMkLst>
            <pc:docMk/>
            <pc:sldMk cId="1851280809" sldId="2427"/>
            <ac:spMk id="11" creationId="{F32F14D0-C537-43F7-8089-0F1C5BFCE76C}"/>
          </ac:spMkLst>
        </pc:spChg>
      </pc:sldChg>
      <pc:sldChg chg="modSp">
        <pc:chgData name="Jivrajani, Dharini" userId="9f28c9a6-e07b-4de5-8682-ac3f5c875595" providerId="ADAL" clId="{46161A50-CACC-4046-B55E-3D6E122DFCDA}" dt="2021-02-25T02:49:43.381" v="2790" actId="20577"/>
        <pc:sldMkLst>
          <pc:docMk/>
          <pc:sldMk cId="3377722835" sldId="8772"/>
        </pc:sldMkLst>
        <pc:graphicFrameChg chg="modGraphic">
          <ac:chgData name="Jivrajani, Dharini" userId="9f28c9a6-e07b-4de5-8682-ac3f5c875595" providerId="ADAL" clId="{46161A50-CACC-4046-B55E-3D6E122DFCDA}" dt="2021-02-25T02:49:43.381" v="2790" actId="20577"/>
          <ac:graphicFrameMkLst>
            <pc:docMk/>
            <pc:sldMk cId="3377722835" sldId="8772"/>
            <ac:graphicFrameMk id="2" creationId="{7D8F2493-A0C4-4740-A16F-E066BC79CDD8}"/>
          </ac:graphicFrameMkLst>
        </pc:graphicFrameChg>
      </pc:sldChg>
      <pc:sldChg chg="addSp delSp modSp add del setBg">
        <pc:chgData name="Jivrajani, Dharini" userId="9f28c9a6-e07b-4de5-8682-ac3f5c875595" providerId="ADAL" clId="{46161A50-CACC-4046-B55E-3D6E122DFCDA}" dt="2021-02-24T18:37:37.893" v="1408" actId="20577"/>
        <pc:sldMkLst>
          <pc:docMk/>
          <pc:sldMk cId="1369081146" sldId="8773"/>
        </pc:sldMkLst>
        <pc:spChg chg="add del mod">
          <ac:chgData name="Jivrajani, Dharini" userId="9f28c9a6-e07b-4de5-8682-ac3f5c875595" providerId="ADAL" clId="{46161A50-CACC-4046-B55E-3D6E122DFCDA}" dt="2021-02-24T14:12:59.505" v="511" actId="478"/>
          <ac:spMkLst>
            <pc:docMk/>
            <pc:sldMk cId="1369081146" sldId="8773"/>
            <ac:spMk id="3" creationId="{E616744B-5E83-4462-9065-09E7B190E00C}"/>
          </ac:spMkLst>
        </pc:spChg>
        <pc:spChg chg="mod">
          <ac:chgData name="Jivrajani, Dharini" userId="9f28c9a6-e07b-4de5-8682-ac3f5c875595" providerId="ADAL" clId="{46161A50-CACC-4046-B55E-3D6E122DFCDA}" dt="2021-02-24T14:17:17.960" v="563" actId="20577"/>
          <ac:spMkLst>
            <pc:docMk/>
            <pc:sldMk cId="1369081146" sldId="8773"/>
            <ac:spMk id="698369" creationId="{00000000-0000-0000-0000-000000000000}"/>
          </ac:spMkLst>
        </pc:spChg>
        <pc:graphicFrameChg chg="del mod modGraphic">
          <ac:chgData name="Jivrajani, Dharini" userId="9f28c9a6-e07b-4de5-8682-ac3f5c875595" providerId="ADAL" clId="{46161A50-CACC-4046-B55E-3D6E122DFCDA}" dt="2021-02-24T18:37:37.893" v="1408" actId="20577"/>
          <ac:graphicFrameMkLst>
            <pc:docMk/>
            <pc:sldMk cId="1369081146" sldId="8773"/>
            <ac:graphicFrameMk id="4" creationId="{2AAAC88F-F4B4-4FE3-956E-C3F806D71324}"/>
          </ac:graphicFrameMkLst>
        </pc:graphicFrameChg>
        <pc:picChg chg="add del">
          <ac:chgData name="Jivrajani, Dharini" userId="9f28c9a6-e07b-4de5-8682-ac3f5c875595" providerId="ADAL" clId="{46161A50-CACC-4046-B55E-3D6E122DFCDA}" dt="2021-02-24T14:12:51.464" v="509" actId="478"/>
          <ac:picMkLst>
            <pc:docMk/>
            <pc:sldMk cId="1369081146" sldId="8773"/>
            <ac:picMk id="5122" creationId="{48DF3D50-3BF8-408F-8DAD-AC619AD1A8AA}"/>
          </ac:picMkLst>
        </pc:picChg>
      </pc:sldChg>
      <pc:sldChg chg="addSp delSp modSp">
        <pc:chgData name="Jivrajani, Dharini" userId="9f28c9a6-e07b-4de5-8682-ac3f5c875595" providerId="ADAL" clId="{46161A50-CACC-4046-B55E-3D6E122DFCDA}" dt="2021-02-24T15:04:33.510" v="1116" actId="20577"/>
        <pc:sldMkLst>
          <pc:docMk/>
          <pc:sldMk cId="1039189330" sldId="8774"/>
        </pc:sldMkLst>
        <pc:spChg chg="mod">
          <ac:chgData name="Jivrajani, Dharini" userId="9f28c9a6-e07b-4de5-8682-ac3f5c875595" providerId="ADAL" clId="{46161A50-CACC-4046-B55E-3D6E122DFCDA}" dt="2021-02-24T14:29:35.235" v="980" actId="20577"/>
          <ac:spMkLst>
            <pc:docMk/>
            <pc:sldMk cId="1039189330" sldId="8774"/>
            <ac:spMk id="5" creationId="{BDFC5B9C-AB1B-472D-B8E8-003403F9A3E9}"/>
          </ac:spMkLst>
        </pc:spChg>
        <pc:graphicFrameChg chg="mod modGraphic">
          <ac:chgData name="Jivrajani, Dharini" userId="9f28c9a6-e07b-4de5-8682-ac3f5c875595" providerId="ADAL" clId="{46161A50-CACC-4046-B55E-3D6E122DFCDA}" dt="2021-02-24T15:04:33.510" v="1116" actId="20577"/>
          <ac:graphicFrameMkLst>
            <pc:docMk/>
            <pc:sldMk cId="1039189330" sldId="8774"/>
            <ac:graphicFrameMk id="4" creationId="{2AAAC88F-F4B4-4FE3-956E-C3F806D71324}"/>
          </ac:graphicFrameMkLst>
        </pc:graphicFrameChg>
        <pc:picChg chg="add del">
          <ac:chgData name="Jivrajani, Dharini" userId="9f28c9a6-e07b-4de5-8682-ac3f5c875595" providerId="ADAL" clId="{46161A50-CACC-4046-B55E-3D6E122DFCDA}" dt="2021-02-24T14:15:14.505" v="514"/>
          <ac:picMkLst>
            <pc:docMk/>
            <pc:sldMk cId="1039189330" sldId="8774"/>
            <ac:picMk id="4098" creationId="{A5BAEA6A-9F54-401F-91E6-C27ECB8F43A1}"/>
          </ac:picMkLst>
        </pc:picChg>
      </pc:sldChg>
      <pc:sldChg chg="modSp">
        <pc:chgData name="Jivrajani, Dharini" userId="9f28c9a6-e07b-4de5-8682-ac3f5c875595" providerId="ADAL" clId="{46161A50-CACC-4046-B55E-3D6E122DFCDA}" dt="2021-02-24T15:43:57.263" v="1316" actId="20577"/>
        <pc:sldMkLst>
          <pc:docMk/>
          <pc:sldMk cId="2407685793" sldId="8775"/>
        </pc:sldMkLst>
        <pc:spChg chg="mod">
          <ac:chgData name="Jivrajani, Dharini" userId="9f28c9a6-e07b-4de5-8682-ac3f5c875595" providerId="ADAL" clId="{46161A50-CACC-4046-B55E-3D6E122DFCDA}" dt="2021-02-24T15:05:19.488" v="1128" actId="20577"/>
          <ac:spMkLst>
            <pc:docMk/>
            <pc:sldMk cId="2407685793" sldId="8775"/>
            <ac:spMk id="5" creationId="{5BC0E948-6F66-4F47-BA40-6C553B9AB1E4}"/>
          </ac:spMkLst>
        </pc:spChg>
        <pc:graphicFrameChg chg="modGraphic">
          <ac:chgData name="Jivrajani, Dharini" userId="9f28c9a6-e07b-4de5-8682-ac3f5c875595" providerId="ADAL" clId="{46161A50-CACC-4046-B55E-3D6E122DFCDA}" dt="2021-02-24T15:43:57.263" v="1316" actId="20577"/>
          <ac:graphicFrameMkLst>
            <pc:docMk/>
            <pc:sldMk cId="2407685793" sldId="8775"/>
            <ac:graphicFrameMk id="4" creationId="{2AAAC88F-F4B4-4FE3-956E-C3F806D71324}"/>
          </ac:graphicFrameMkLst>
        </pc:graphicFrameChg>
      </pc:sldChg>
      <pc:sldChg chg="modSp">
        <pc:chgData name="Jivrajani, Dharini" userId="9f28c9a6-e07b-4de5-8682-ac3f5c875595" providerId="ADAL" clId="{46161A50-CACC-4046-B55E-3D6E122DFCDA}" dt="2021-02-24T18:55:55.286" v="1445" actId="20577"/>
        <pc:sldMkLst>
          <pc:docMk/>
          <pc:sldMk cId="3491360341" sldId="8786"/>
        </pc:sldMkLst>
        <pc:spChg chg="mod">
          <ac:chgData name="Jivrajani, Dharini" userId="9f28c9a6-e07b-4de5-8682-ac3f5c875595" providerId="ADAL" clId="{46161A50-CACC-4046-B55E-3D6E122DFCDA}" dt="2021-02-24T18:55:55.286" v="1445" actId="20577"/>
          <ac:spMkLst>
            <pc:docMk/>
            <pc:sldMk cId="3491360341" sldId="8786"/>
            <ac:spMk id="40" creationId="{121719F8-2A26-490B-BE98-0511C598856F}"/>
          </ac:spMkLst>
        </pc:spChg>
      </pc:sldChg>
      <pc:sldChg chg="addSp modSp">
        <pc:chgData name="Jivrajani, Dharini" userId="9f28c9a6-e07b-4de5-8682-ac3f5c875595" providerId="ADAL" clId="{46161A50-CACC-4046-B55E-3D6E122DFCDA}" dt="2021-02-25T01:58:18.651" v="1860" actId="255"/>
        <pc:sldMkLst>
          <pc:docMk/>
          <pc:sldMk cId="800771401" sldId="8787"/>
        </pc:sldMkLst>
        <pc:spChg chg="add mod">
          <ac:chgData name="Jivrajani, Dharini" userId="9f28c9a6-e07b-4de5-8682-ac3f5c875595" providerId="ADAL" clId="{46161A50-CACC-4046-B55E-3D6E122DFCDA}" dt="2021-02-25T01:58:18.651" v="1860" actId="255"/>
          <ac:spMkLst>
            <pc:docMk/>
            <pc:sldMk cId="800771401" sldId="8787"/>
            <ac:spMk id="4" creationId="{DE318BA6-3A38-4779-8851-03123C26D78F}"/>
          </ac:spMkLst>
        </pc:spChg>
      </pc:sldChg>
      <pc:sldChg chg="addSp modSp">
        <pc:chgData name="Jivrajani, Dharini" userId="9f28c9a6-e07b-4de5-8682-ac3f5c875595" providerId="ADAL" clId="{46161A50-CACC-4046-B55E-3D6E122DFCDA}" dt="2021-02-25T01:58:52.710" v="1876" actId="20577"/>
        <pc:sldMkLst>
          <pc:docMk/>
          <pc:sldMk cId="2246163936" sldId="8788"/>
        </pc:sldMkLst>
        <pc:spChg chg="add mod">
          <ac:chgData name="Jivrajani, Dharini" userId="9f28c9a6-e07b-4de5-8682-ac3f5c875595" providerId="ADAL" clId="{46161A50-CACC-4046-B55E-3D6E122DFCDA}" dt="2021-02-25T01:58:52.710" v="1876" actId="20577"/>
          <ac:spMkLst>
            <pc:docMk/>
            <pc:sldMk cId="2246163936" sldId="8788"/>
            <ac:spMk id="5" creationId="{D6FD882E-38C6-4C92-B9B1-77910BBAFBF3}"/>
          </ac:spMkLst>
        </pc:spChg>
      </pc:sldChg>
      <pc:sldChg chg="addSp delSp modSp">
        <pc:chgData name="Jivrajani, Dharini" userId="9f28c9a6-e07b-4de5-8682-ac3f5c875595" providerId="ADAL" clId="{46161A50-CACC-4046-B55E-3D6E122DFCDA}" dt="2021-02-25T02:01:10.068" v="1986" actId="14100"/>
        <pc:sldMkLst>
          <pc:docMk/>
          <pc:sldMk cId="847777020" sldId="8791"/>
        </pc:sldMkLst>
        <pc:spChg chg="add del mod">
          <ac:chgData name="Jivrajani, Dharini" userId="9f28c9a6-e07b-4de5-8682-ac3f5c875595" providerId="ADAL" clId="{46161A50-CACC-4046-B55E-3D6E122DFCDA}" dt="2021-02-25T02:00:35.953" v="1962"/>
          <ac:spMkLst>
            <pc:docMk/>
            <pc:sldMk cId="847777020" sldId="8791"/>
            <ac:spMk id="4" creationId="{32D01074-0ED7-4977-A92E-EBCC2AC88383}"/>
          </ac:spMkLst>
        </pc:spChg>
        <pc:spChg chg="add mod">
          <ac:chgData name="Jivrajani, Dharini" userId="9f28c9a6-e07b-4de5-8682-ac3f5c875595" providerId="ADAL" clId="{46161A50-CACC-4046-B55E-3D6E122DFCDA}" dt="2021-02-25T02:01:10.068" v="1986" actId="14100"/>
          <ac:spMkLst>
            <pc:docMk/>
            <pc:sldMk cId="847777020" sldId="8791"/>
            <ac:spMk id="5" creationId="{177263DA-30B8-4B43-A64D-715B93D231FB}"/>
          </ac:spMkLst>
        </pc:spChg>
      </pc:sldChg>
      <pc:sldChg chg="addSp delSp add del">
        <pc:chgData name="Jivrajani, Dharini" userId="9f28c9a6-e07b-4de5-8682-ac3f5c875595" providerId="ADAL" clId="{46161A50-CACC-4046-B55E-3D6E122DFCDA}" dt="2021-02-24T14:16:58.747" v="528"/>
        <pc:sldMkLst>
          <pc:docMk/>
          <pc:sldMk cId="1362471382" sldId="8794"/>
        </pc:sldMkLst>
        <pc:picChg chg="add del">
          <ac:chgData name="Jivrajani, Dharini" userId="9f28c9a6-e07b-4de5-8682-ac3f5c875595" providerId="ADAL" clId="{46161A50-CACC-4046-B55E-3D6E122DFCDA}" dt="2021-02-22T13:31:03.427" v="506"/>
          <ac:picMkLst>
            <pc:docMk/>
            <pc:sldMk cId="1362471382" sldId="8794"/>
            <ac:picMk id="4098" creationId="{705F30D7-578F-4C1D-A07E-A59E661A704B}"/>
          </ac:picMkLst>
        </pc:picChg>
        <pc:picChg chg="add">
          <ac:chgData name="Jivrajani, Dharini" userId="9f28c9a6-e07b-4de5-8682-ac3f5c875595" providerId="ADAL" clId="{46161A50-CACC-4046-B55E-3D6E122DFCDA}" dt="2021-02-24T14:15:18.884" v="515"/>
          <ac:picMkLst>
            <pc:docMk/>
            <pc:sldMk cId="1362471382" sldId="8794"/>
            <ac:picMk id="5122" creationId="{E13EDEEC-675D-47A5-8F43-2554D8672254}"/>
          </ac:picMkLst>
        </pc:picChg>
      </pc:sldChg>
      <pc:sldChg chg="addSp modSp">
        <pc:chgData name="Jivrajani, Dharini" userId="9f28c9a6-e07b-4de5-8682-ac3f5c875595" providerId="ADAL" clId="{46161A50-CACC-4046-B55E-3D6E122DFCDA}" dt="2021-02-25T01:59:08.344" v="1899" actId="20577"/>
        <pc:sldMkLst>
          <pc:docMk/>
          <pc:sldMk cId="1867916483" sldId="8795"/>
        </pc:sldMkLst>
        <pc:spChg chg="add mod">
          <ac:chgData name="Jivrajani, Dharini" userId="9f28c9a6-e07b-4de5-8682-ac3f5c875595" providerId="ADAL" clId="{46161A50-CACC-4046-B55E-3D6E122DFCDA}" dt="2021-02-25T01:59:08.344" v="1899" actId="20577"/>
          <ac:spMkLst>
            <pc:docMk/>
            <pc:sldMk cId="1867916483" sldId="8795"/>
            <ac:spMk id="5" creationId="{5E238A66-ED44-4AFF-B894-79734044A1B2}"/>
          </ac:spMkLst>
        </pc:spChg>
        <pc:graphicFrameChg chg="modGraphic">
          <ac:chgData name="Jivrajani, Dharini" userId="9f28c9a6-e07b-4de5-8682-ac3f5c875595" providerId="ADAL" clId="{46161A50-CACC-4046-B55E-3D6E122DFCDA}" dt="2021-02-25T01:59:00.983" v="1878" actId="14734"/>
          <ac:graphicFrameMkLst>
            <pc:docMk/>
            <pc:sldMk cId="1867916483" sldId="8795"/>
            <ac:graphicFrameMk id="2" creationId="{DBFB0C01-4024-4DDF-BB08-6AA678F60360}"/>
          </ac:graphicFrameMkLst>
        </pc:graphicFrameChg>
      </pc:sldChg>
      <pc:sldChg chg="addSp modSp">
        <pc:chgData name="Jivrajani, Dharini" userId="9f28c9a6-e07b-4de5-8682-ac3f5c875595" providerId="ADAL" clId="{46161A50-CACC-4046-B55E-3D6E122DFCDA}" dt="2021-02-25T02:07:04.714" v="2150" actId="14100"/>
        <pc:sldMkLst>
          <pc:docMk/>
          <pc:sldMk cId="4169581344" sldId="8798"/>
        </pc:sldMkLst>
        <pc:spChg chg="add mod">
          <ac:chgData name="Jivrajani, Dharini" userId="9f28c9a6-e07b-4de5-8682-ac3f5c875595" providerId="ADAL" clId="{46161A50-CACC-4046-B55E-3D6E122DFCDA}" dt="2021-02-25T02:07:04.714" v="2150" actId="14100"/>
          <ac:spMkLst>
            <pc:docMk/>
            <pc:sldMk cId="4169581344" sldId="8798"/>
            <ac:spMk id="5" creationId="{0F34A305-FAF4-4446-8DE1-43441542A8A1}"/>
          </ac:spMkLst>
        </pc:spChg>
      </pc:sldChg>
      <pc:sldChg chg="addSp modSp">
        <pc:chgData name="Jivrajani, Dharini" userId="9f28c9a6-e07b-4de5-8682-ac3f5c875595" providerId="ADAL" clId="{46161A50-CACC-4046-B55E-3D6E122DFCDA}" dt="2021-02-25T02:06:25.580" v="2129" actId="20577"/>
        <pc:sldMkLst>
          <pc:docMk/>
          <pc:sldMk cId="4099786269" sldId="8812"/>
        </pc:sldMkLst>
        <pc:spChg chg="mod">
          <ac:chgData name="Jivrajani, Dharini" userId="9f28c9a6-e07b-4de5-8682-ac3f5c875595" providerId="ADAL" clId="{46161A50-CACC-4046-B55E-3D6E122DFCDA}" dt="2021-02-25T02:06:14.465" v="2120"/>
          <ac:spMkLst>
            <pc:docMk/>
            <pc:sldMk cId="4099786269" sldId="8812"/>
            <ac:spMk id="4" creationId="{00000000-0000-0000-0000-000000000000}"/>
          </ac:spMkLst>
        </pc:spChg>
        <pc:spChg chg="add mod">
          <ac:chgData name="Jivrajani, Dharini" userId="9f28c9a6-e07b-4de5-8682-ac3f5c875595" providerId="ADAL" clId="{46161A50-CACC-4046-B55E-3D6E122DFCDA}" dt="2021-02-25T02:06:25.580" v="2129" actId="20577"/>
          <ac:spMkLst>
            <pc:docMk/>
            <pc:sldMk cId="4099786269" sldId="8812"/>
            <ac:spMk id="6" creationId="{4624D3E2-2A62-4D0D-A8BC-B9783CB5F728}"/>
          </ac:spMkLst>
        </pc:spChg>
      </pc:sldChg>
      <pc:sldChg chg="modSp">
        <pc:chgData name="Jivrajani, Dharini" userId="9f28c9a6-e07b-4de5-8682-ac3f5c875595" providerId="ADAL" clId="{46161A50-CACC-4046-B55E-3D6E122DFCDA}" dt="2021-02-24T19:07:54.916" v="1835" actId="13926"/>
        <pc:sldMkLst>
          <pc:docMk/>
          <pc:sldMk cId="27039556" sldId="8820"/>
        </pc:sldMkLst>
        <pc:spChg chg="mod">
          <ac:chgData name="Jivrajani, Dharini" userId="9f28c9a6-e07b-4de5-8682-ac3f5c875595" providerId="ADAL" clId="{46161A50-CACC-4046-B55E-3D6E122DFCDA}" dt="2021-02-24T19:07:54.916" v="1835" actId="13926"/>
          <ac:spMkLst>
            <pc:docMk/>
            <pc:sldMk cId="27039556" sldId="8820"/>
            <ac:spMk id="7" creationId="{5817664F-7DC8-47E5-B7B9-14F4F2B2E734}"/>
          </ac:spMkLst>
        </pc:spChg>
      </pc:sldChg>
      <pc:sldChg chg="ord">
        <pc:chgData name="Jivrajani, Dharini" userId="9f28c9a6-e07b-4de5-8682-ac3f5c875595" providerId="ADAL" clId="{46161A50-CACC-4046-B55E-3D6E122DFCDA}" dt="2021-02-25T02:01:34.239" v="1992"/>
        <pc:sldMkLst>
          <pc:docMk/>
          <pc:sldMk cId="4282166107" sldId="8821"/>
        </pc:sldMkLst>
      </pc:sldChg>
      <pc:sldChg chg="modSp">
        <pc:chgData name="Jivrajani, Dharini" userId="9f28c9a6-e07b-4de5-8682-ac3f5c875595" providerId="ADAL" clId="{46161A50-CACC-4046-B55E-3D6E122DFCDA}" dt="2021-02-25T02:01:50.779" v="2000" actId="20577"/>
        <pc:sldMkLst>
          <pc:docMk/>
          <pc:sldMk cId="960965317" sldId="8822"/>
        </pc:sldMkLst>
        <pc:spChg chg="mod">
          <ac:chgData name="Jivrajani, Dharini" userId="9f28c9a6-e07b-4de5-8682-ac3f5c875595" providerId="ADAL" clId="{46161A50-CACC-4046-B55E-3D6E122DFCDA}" dt="2021-02-25T02:01:50.779" v="2000" actId="20577"/>
          <ac:spMkLst>
            <pc:docMk/>
            <pc:sldMk cId="960965317" sldId="8822"/>
            <ac:spMk id="2" creationId="{128AC169-3E22-4BE7-A66C-85FDCD0D9814}"/>
          </ac:spMkLst>
        </pc:spChg>
      </pc:sldChg>
      <pc:sldChg chg="modSp">
        <pc:chgData name="Jivrajani, Dharini" userId="9f28c9a6-e07b-4de5-8682-ac3f5c875595" providerId="ADAL" clId="{46161A50-CACC-4046-B55E-3D6E122DFCDA}" dt="2021-02-25T02:38:11.933" v="2733" actId="20577"/>
        <pc:sldMkLst>
          <pc:docMk/>
          <pc:sldMk cId="4292778138" sldId="8826"/>
        </pc:sldMkLst>
        <pc:spChg chg="mod">
          <ac:chgData name="Jivrajani, Dharini" userId="9f28c9a6-e07b-4de5-8682-ac3f5c875595" providerId="ADAL" clId="{46161A50-CACC-4046-B55E-3D6E122DFCDA}" dt="2021-02-25T02:38:11.933" v="2733" actId="20577"/>
          <ac:spMkLst>
            <pc:docMk/>
            <pc:sldMk cId="4292778138" sldId="8826"/>
            <ac:spMk id="4" creationId="{7A9DFF01-0B03-48E4-B42D-F011C5ECF119}"/>
          </ac:spMkLst>
        </pc:spChg>
      </pc:sldChg>
      <pc:sldChg chg="addSp modSp">
        <pc:chgData name="Jivrajani, Dharini" userId="9f28c9a6-e07b-4de5-8682-ac3f5c875595" providerId="ADAL" clId="{46161A50-CACC-4046-B55E-3D6E122DFCDA}" dt="2021-02-25T02:01:18.080" v="1991" actId="20577"/>
        <pc:sldMkLst>
          <pc:docMk/>
          <pc:sldMk cId="2138715199" sldId="8833"/>
        </pc:sldMkLst>
        <pc:spChg chg="add mod">
          <ac:chgData name="Jivrajani, Dharini" userId="9f28c9a6-e07b-4de5-8682-ac3f5c875595" providerId="ADAL" clId="{46161A50-CACC-4046-B55E-3D6E122DFCDA}" dt="2021-02-25T02:01:18.080" v="1991" actId="20577"/>
          <ac:spMkLst>
            <pc:docMk/>
            <pc:sldMk cId="2138715199" sldId="8833"/>
            <ac:spMk id="5" creationId="{C0A43CE2-008C-43E3-9893-567DF324A6B0}"/>
          </ac:spMkLst>
        </pc:spChg>
      </pc:sldChg>
      <pc:sldChg chg="addSp modSp">
        <pc:chgData name="Jivrajani, Dharini" userId="9f28c9a6-e07b-4de5-8682-ac3f5c875595" providerId="ADAL" clId="{46161A50-CACC-4046-B55E-3D6E122DFCDA}" dt="2021-02-25T02:05:33.901" v="2112" actId="20577"/>
        <pc:sldMkLst>
          <pc:docMk/>
          <pc:sldMk cId="2725184318" sldId="8836"/>
        </pc:sldMkLst>
        <pc:spChg chg="add mod">
          <ac:chgData name="Jivrajani, Dharini" userId="9f28c9a6-e07b-4de5-8682-ac3f5c875595" providerId="ADAL" clId="{46161A50-CACC-4046-B55E-3D6E122DFCDA}" dt="2021-02-25T02:05:33.901" v="2112" actId="20577"/>
          <ac:spMkLst>
            <pc:docMk/>
            <pc:sldMk cId="2725184318" sldId="8836"/>
            <ac:spMk id="4" creationId="{D7A3DBB8-B236-41F0-90A9-DCA0CB38FDEE}"/>
          </ac:spMkLst>
        </pc:spChg>
      </pc:sldChg>
      <pc:sldChg chg="addSp modSp">
        <pc:chgData name="Jivrajani, Dharini" userId="9f28c9a6-e07b-4de5-8682-ac3f5c875595" providerId="ADAL" clId="{46161A50-CACC-4046-B55E-3D6E122DFCDA}" dt="2021-02-25T02:02:39.175" v="2030" actId="1036"/>
        <pc:sldMkLst>
          <pc:docMk/>
          <pc:sldMk cId="3148283714" sldId="8987"/>
        </pc:sldMkLst>
        <pc:spChg chg="add mod">
          <ac:chgData name="Jivrajani, Dharini" userId="9f28c9a6-e07b-4de5-8682-ac3f5c875595" providerId="ADAL" clId="{46161A50-CACC-4046-B55E-3D6E122DFCDA}" dt="2021-02-25T02:02:39.175" v="2030" actId="1036"/>
          <ac:spMkLst>
            <pc:docMk/>
            <pc:sldMk cId="3148283714" sldId="8987"/>
            <ac:spMk id="5" creationId="{EFCAC371-12B1-4B78-8B46-BFDBBC19A1B2}"/>
          </ac:spMkLst>
        </pc:spChg>
      </pc:sldChg>
      <pc:sldChg chg="addSp">
        <pc:chgData name="Jivrajani, Dharini" userId="9f28c9a6-e07b-4de5-8682-ac3f5c875595" providerId="ADAL" clId="{46161A50-CACC-4046-B55E-3D6E122DFCDA}" dt="2021-02-25T01:58:38.305" v="1862"/>
        <pc:sldMkLst>
          <pc:docMk/>
          <pc:sldMk cId="969028718" sldId="8990"/>
        </pc:sldMkLst>
        <pc:spChg chg="add">
          <ac:chgData name="Jivrajani, Dharini" userId="9f28c9a6-e07b-4de5-8682-ac3f5c875595" providerId="ADAL" clId="{46161A50-CACC-4046-B55E-3D6E122DFCDA}" dt="2021-02-25T01:58:38.305" v="1862"/>
          <ac:spMkLst>
            <pc:docMk/>
            <pc:sldMk cId="969028718" sldId="8990"/>
            <ac:spMk id="5" creationId="{C7A6EFA4-A8C5-4F60-811F-75987CCD1D89}"/>
          </ac:spMkLst>
        </pc:spChg>
      </pc:sldChg>
      <pc:sldChg chg="addSp">
        <pc:chgData name="Jivrajani, Dharini" userId="9f28c9a6-e07b-4de5-8682-ac3f5c875595" providerId="ADAL" clId="{46161A50-CACC-4046-B55E-3D6E122DFCDA}" dt="2021-02-25T02:02:53.407" v="2031"/>
        <pc:sldMkLst>
          <pc:docMk/>
          <pc:sldMk cId="883180132" sldId="8992"/>
        </pc:sldMkLst>
        <pc:spChg chg="add">
          <ac:chgData name="Jivrajani, Dharini" userId="9f28c9a6-e07b-4de5-8682-ac3f5c875595" providerId="ADAL" clId="{46161A50-CACC-4046-B55E-3D6E122DFCDA}" dt="2021-02-25T02:02:53.407" v="2031"/>
          <ac:spMkLst>
            <pc:docMk/>
            <pc:sldMk cId="883180132" sldId="8992"/>
            <ac:spMk id="8" creationId="{3543D977-2D43-4DD7-8D49-5350608469CF}"/>
          </ac:spMkLst>
        </pc:spChg>
      </pc:sldChg>
      <pc:sldChg chg="addSp modSp">
        <pc:chgData name="Jivrajani, Dharini" userId="9f28c9a6-e07b-4de5-8682-ac3f5c875595" providerId="ADAL" clId="{46161A50-CACC-4046-B55E-3D6E122DFCDA}" dt="2021-02-25T01:59:20.261" v="1916" actId="20577"/>
        <pc:sldMkLst>
          <pc:docMk/>
          <pc:sldMk cId="1957478734" sldId="8996"/>
        </pc:sldMkLst>
        <pc:spChg chg="add mod">
          <ac:chgData name="Jivrajani, Dharini" userId="9f28c9a6-e07b-4de5-8682-ac3f5c875595" providerId="ADAL" clId="{46161A50-CACC-4046-B55E-3D6E122DFCDA}" dt="2021-02-25T01:59:20.261" v="1916" actId="20577"/>
          <ac:spMkLst>
            <pc:docMk/>
            <pc:sldMk cId="1957478734" sldId="8996"/>
            <ac:spMk id="5" creationId="{9890A5B1-B857-49D2-9BD0-ED2BC5E3DE3E}"/>
          </ac:spMkLst>
        </pc:spChg>
      </pc:sldChg>
      <pc:sldChg chg="addSp">
        <pc:chgData name="Jivrajani, Dharini" userId="9f28c9a6-e07b-4de5-8682-ac3f5c875595" providerId="ADAL" clId="{46161A50-CACC-4046-B55E-3D6E122DFCDA}" dt="2021-02-25T02:02:54.535" v="2032"/>
        <pc:sldMkLst>
          <pc:docMk/>
          <pc:sldMk cId="3424447147" sldId="9001"/>
        </pc:sldMkLst>
        <pc:spChg chg="add">
          <ac:chgData name="Jivrajani, Dharini" userId="9f28c9a6-e07b-4de5-8682-ac3f5c875595" providerId="ADAL" clId="{46161A50-CACC-4046-B55E-3D6E122DFCDA}" dt="2021-02-25T02:02:54.535" v="2032"/>
          <ac:spMkLst>
            <pc:docMk/>
            <pc:sldMk cId="3424447147" sldId="9001"/>
            <ac:spMk id="13" creationId="{301E5A4A-444F-44F2-85BF-B135521D01B5}"/>
          </ac:spMkLst>
        </pc:spChg>
      </pc:sldChg>
      <pc:sldChg chg="addSp modSp">
        <pc:chgData name="Jivrajani, Dharini" userId="9f28c9a6-e07b-4de5-8682-ac3f5c875595" providerId="ADAL" clId="{46161A50-CACC-4046-B55E-3D6E122DFCDA}" dt="2021-02-25T02:05:00.173" v="2081" actId="20577"/>
        <pc:sldMkLst>
          <pc:docMk/>
          <pc:sldMk cId="3569670892" sldId="9003"/>
        </pc:sldMkLst>
        <pc:spChg chg="add mod">
          <ac:chgData name="Jivrajani, Dharini" userId="9f28c9a6-e07b-4de5-8682-ac3f5c875595" providerId="ADAL" clId="{46161A50-CACC-4046-B55E-3D6E122DFCDA}" dt="2021-02-25T02:05:00.173" v="2081" actId="20577"/>
          <ac:spMkLst>
            <pc:docMk/>
            <pc:sldMk cId="3569670892" sldId="9003"/>
            <ac:spMk id="5" creationId="{831D86C3-1A79-4B70-A421-16D1EDCB858C}"/>
          </ac:spMkLst>
        </pc:spChg>
      </pc:sldChg>
      <pc:sldChg chg="addSp">
        <pc:chgData name="Jivrajani, Dharini" userId="9f28c9a6-e07b-4de5-8682-ac3f5c875595" providerId="ADAL" clId="{46161A50-CACC-4046-B55E-3D6E122DFCDA}" dt="2021-02-25T02:01:43.467" v="1994"/>
        <pc:sldMkLst>
          <pc:docMk/>
          <pc:sldMk cId="678701893" sldId="9006"/>
        </pc:sldMkLst>
        <pc:spChg chg="add">
          <ac:chgData name="Jivrajani, Dharini" userId="9f28c9a6-e07b-4de5-8682-ac3f5c875595" providerId="ADAL" clId="{46161A50-CACC-4046-B55E-3D6E122DFCDA}" dt="2021-02-25T02:01:43.467" v="1994"/>
          <ac:spMkLst>
            <pc:docMk/>
            <pc:sldMk cId="678701893" sldId="9006"/>
            <ac:spMk id="18" creationId="{2ED22B02-5240-4727-BF25-4F14AC35F406}"/>
          </ac:spMkLst>
        </pc:spChg>
      </pc:sldChg>
      <pc:sldChg chg="addSp">
        <pc:chgData name="Jivrajani, Dharini" userId="9f28c9a6-e07b-4de5-8682-ac3f5c875595" providerId="ADAL" clId="{46161A50-CACC-4046-B55E-3D6E122DFCDA}" dt="2021-02-25T02:01:42.179" v="1993"/>
        <pc:sldMkLst>
          <pc:docMk/>
          <pc:sldMk cId="1736536038" sldId="9007"/>
        </pc:sldMkLst>
        <pc:spChg chg="add">
          <ac:chgData name="Jivrajani, Dharini" userId="9f28c9a6-e07b-4de5-8682-ac3f5c875595" providerId="ADAL" clId="{46161A50-CACC-4046-B55E-3D6E122DFCDA}" dt="2021-02-25T02:01:42.179" v="1993"/>
          <ac:spMkLst>
            <pc:docMk/>
            <pc:sldMk cId="1736536038" sldId="9007"/>
            <ac:spMk id="11" creationId="{DE7C9C3C-113D-4C16-8872-AD8CF451141A}"/>
          </ac:spMkLst>
        </pc:spChg>
      </pc:sldChg>
      <pc:sldChg chg="addSp">
        <pc:chgData name="Jivrajani, Dharini" userId="9f28c9a6-e07b-4de5-8682-ac3f5c875595" providerId="ADAL" clId="{46161A50-CACC-4046-B55E-3D6E122DFCDA}" dt="2021-02-25T01:58:34.374" v="1861"/>
        <pc:sldMkLst>
          <pc:docMk/>
          <pc:sldMk cId="4197351074" sldId="9008"/>
        </pc:sldMkLst>
        <pc:spChg chg="add">
          <ac:chgData name="Jivrajani, Dharini" userId="9f28c9a6-e07b-4de5-8682-ac3f5c875595" providerId="ADAL" clId="{46161A50-CACC-4046-B55E-3D6E122DFCDA}" dt="2021-02-25T01:58:34.374" v="1861"/>
          <ac:spMkLst>
            <pc:docMk/>
            <pc:sldMk cId="4197351074" sldId="9008"/>
            <ac:spMk id="12" creationId="{131779F7-D4F1-4565-9A46-B7AEA651F38B}"/>
          </ac:spMkLst>
        </pc:spChg>
      </pc:sldChg>
      <pc:sldChg chg="addSp">
        <pc:chgData name="Jivrajani, Dharini" userId="9f28c9a6-e07b-4de5-8682-ac3f5c875595" providerId="ADAL" clId="{46161A50-CACC-4046-B55E-3D6E122DFCDA}" dt="2021-02-25T01:58:41.602" v="1863"/>
        <pc:sldMkLst>
          <pc:docMk/>
          <pc:sldMk cId="507629460" sldId="9009"/>
        </pc:sldMkLst>
        <pc:spChg chg="add">
          <ac:chgData name="Jivrajani, Dharini" userId="9f28c9a6-e07b-4de5-8682-ac3f5c875595" providerId="ADAL" clId="{46161A50-CACC-4046-B55E-3D6E122DFCDA}" dt="2021-02-25T01:58:41.602" v="1863"/>
          <ac:spMkLst>
            <pc:docMk/>
            <pc:sldMk cId="507629460" sldId="9009"/>
            <ac:spMk id="7" creationId="{D544F911-4DC4-460B-B9F7-9C5CF3C80BF0}"/>
          </ac:spMkLst>
        </pc:spChg>
      </pc:sldChg>
      <pc:sldChg chg="addSp modSp">
        <pc:chgData name="Jivrajani, Dharini" userId="9f28c9a6-e07b-4de5-8682-ac3f5c875595" providerId="ADAL" clId="{46161A50-CACC-4046-B55E-3D6E122DFCDA}" dt="2021-02-24T19:06:49.528" v="1801" actId="20577"/>
        <pc:sldMkLst>
          <pc:docMk/>
          <pc:sldMk cId="795272350" sldId="9010"/>
        </pc:sldMkLst>
        <pc:spChg chg="add mod">
          <ac:chgData name="Jivrajani, Dharini" userId="9f28c9a6-e07b-4de5-8682-ac3f5c875595" providerId="ADAL" clId="{46161A50-CACC-4046-B55E-3D6E122DFCDA}" dt="2021-02-24T19:06:49.528" v="1801" actId="20577"/>
          <ac:spMkLst>
            <pc:docMk/>
            <pc:sldMk cId="795272350" sldId="9010"/>
            <ac:spMk id="2" creationId="{2D789A7F-637C-4C00-8122-26F2FAA77F9E}"/>
          </ac:spMkLst>
        </pc:spChg>
      </pc:sldChg>
      <pc:sldChg chg="ord">
        <pc:chgData name="Jivrajani, Dharini" userId="9f28c9a6-e07b-4de5-8682-ac3f5c875595" providerId="ADAL" clId="{46161A50-CACC-4046-B55E-3D6E122DFCDA}" dt="2021-02-25T02:33:54.311" v="2573"/>
        <pc:sldMkLst>
          <pc:docMk/>
          <pc:sldMk cId="1807062554" sldId="9014"/>
        </pc:sldMkLst>
      </pc:sldChg>
      <pc:sldChg chg="addSp modSp">
        <pc:chgData name="Jivrajani, Dharini" userId="9f28c9a6-e07b-4de5-8682-ac3f5c875595" providerId="ADAL" clId="{46161A50-CACC-4046-B55E-3D6E122DFCDA}" dt="2021-02-25T02:03:09.891" v="2057" actId="20577"/>
        <pc:sldMkLst>
          <pc:docMk/>
          <pc:sldMk cId="219835004" sldId="9019"/>
        </pc:sldMkLst>
        <pc:spChg chg="add mod">
          <ac:chgData name="Jivrajani, Dharini" userId="9f28c9a6-e07b-4de5-8682-ac3f5c875595" providerId="ADAL" clId="{46161A50-CACC-4046-B55E-3D6E122DFCDA}" dt="2021-02-25T02:03:09.891" v="2057" actId="20577"/>
          <ac:spMkLst>
            <pc:docMk/>
            <pc:sldMk cId="219835004" sldId="9019"/>
            <ac:spMk id="5" creationId="{F0B1174F-DCC7-4CD4-8312-CFF062115B4E}"/>
          </ac:spMkLst>
        </pc:spChg>
      </pc:sldChg>
      <pc:sldChg chg="addSp modSp">
        <pc:chgData name="Jivrajani, Dharini" userId="9f28c9a6-e07b-4de5-8682-ac3f5c875595" providerId="ADAL" clId="{46161A50-CACC-4046-B55E-3D6E122DFCDA}" dt="2021-02-25T02:05:10.411" v="2090" actId="20577"/>
        <pc:sldMkLst>
          <pc:docMk/>
          <pc:sldMk cId="571478568" sldId="9020"/>
        </pc:sldMkLst>
        <pc:spChg chg="add mod">
          <ac:chgData name="Jivrajani, Dharini" userId="9f28c9a6-e07b-4de5-8682-ac3f5c875595" providerId="ADAL" clId="{46161A50-CACC-4046-B55E-3D6E122DFCDA}" dt="2021-02-25T02:05:10.411" v="2090" actId="20577"/>
          <ac:spMkLst>
            <pc:docMk/>
            <pc:sldMk cId="571478568" sldId="9020"/>
            <ac:spMk id="5" creationId="{DB721C30-DF31-4543-861D-F605FBCD561A}"/>
          </ac:spMkLst>
        </pc:spChg>
      </pc:sldChg>
      <pc:sldChg chg="addSp modSp">
        <pc:chgData name="Jivrajani, Dharini" userId="9f28c9a6-e07b-4de5-8682-ac3f5c875595" providerId="ADAL" clId="{46161A50-CACC-4046-B55E-3D6E122DFCDA}" dt="2021-02-25T01:59:39.211" v="1939" actId="20577"/>
        <pc:sldMkLst>
          <pc:docMk/>
          <pc:sldMk cId="1917742098" sldId="9021"/>
        </pc:sldMkLst>
        <pc:spChg chg="add mod">
          <ac:chgData name="Jivrajani, Dharini" userId="9f28c9a6-e07b-4de5-8682-ac3f5c875595" providerId="ADAL" clId="{46161A50-CACC-4046-B55E-3D6E122DFCDA}" dt="2021-02-25T01:59:39.211" v="1939" actId="20577"/>
          <ac:spMkLst>
            <pc:docMk/>
            <pc:sldMk cId="1917742098" sldId="9021"/>
            <ac:spMk id="5" creationId="{5D39BE8C-02C4-4BE9-AD1C-686806842A09}"/>
          </ac:spMkLst>
        </pc:spChg>
      </pc:sldChg>
      <pc:sldChg chg="addSp modSp">
        <pc:chgData name="Jivrajani, Dharini" userId="9f28c9a6-e07b-4de5-8682-ac3f5c875595" providerId="ADAL" clId="{46161A50-CACC-4046-B55E-3D6E122DFCDA}" dt="2021-02-24T19:04:08.980" v="1712" actId="20577"/>
        <pc:sldMkLst>
          <pc:docMk/>
          <pc:sldMk cId="2033609959" sldId="9023"/>
        </pc:sldMkLst>
        <pc:spChg chg="add mod">
          <ac:chgData name="Jivrajani, Dharini" userId="9f28c9a6-e07b-4de5-8682-ac3f5c875595" providerId="ADAL" clId="{46161A50-CACC-4046-B55E-3D6E122DFCDA}" dt="2021-02-24T19:04:08.980" v="1712" actId="20577"/>
          <ac:spMkLst>
            <pc:docMk/>
            <pc:sldMk cId="2033609959" sldId="9023"/>
            <ac:spMk id="8" creationId="{CFB56742-63D7-4000-B824-5D88EB7B0EDF}"/>
          </ac:spMkLst>
        </pc:spChg>
      </pc:sldChg>
      <pc:sldChg chg="addSp modSp">
        <pc:chgData name="Jivrajani, Dharini" userId="9f28c9a6-e07b-4de5-8682-ac3f5c875595" providerId="ADAL" clId="{46161A50-CACC-4046-B55E-3D6E122DFCDA}" dt="2021-02-25T02:07:11.190" v="2152" actId="1036"/>
        <pc:sldMkLst>
          <pc:docMk/>
          <pc:sldMk cId="473660456" sldId="9024"/>
        </pc:sldMkLst>
        <pc:spChg chg="add mod">
          <ac:chgData name="Jivrajani, Dharini" userId="9f28c9a6-e07b-4de5-8682-ac3f5c875595" providerId="ADAL" clId="{46161A50-CACC-4046-B55E-3D6E122DFCDA}" dt="2021-02-25T02:07:11.190" v="2152" actId="1036"/>
          <ac:spMkLst>
            <pc:docMk/>
            <pc:sldMk cId="473660456" sldId="9024"/>
            <ac:spMk id="5" creationId="{192568FF-2DB9-4A17-AB6D-6E0E98521D7B}"/>
          </ac:spMkLst>
        </pc:spChg>
      </pc:sldChg>
      <pc:sldChg chg="add del setBg">
        <pc:chgData name="Jivrajani, Dharini" userId="9f28c9a6-e07b-4de5-8682-ac3f5c875595" providerId="ADAL" clId="{46161A50-CACC-4046-B55E-3D6E122DFCDA}" dt="2021-02-24T14:16:50.607" v="527"/>
        <pc:sldMkLst>
          <pc:docMk/>
          <pc:sldMk cId="1544674382" sldId="9025"/>
        </pc:sldMkLst>
      </pc:sldChg>
      <pc:sldChg chg="add">
        <pc:chgData name="Jivrajani, Dharini" userId="9f28c9a6-e07b-4de5-8682-ac3f5c875595" providerId="ADAL" clId="{46161A50-CACC-4046-B55E-3D6E122DFCDA}" dt="2021-02-25T01:59:55.041" v="1940"/>
        <pc:sldMkLst>
          <pc:docMk/>
          <pc:sldMk cId="932557924" sldId="9026"/>
        </pc:sldMkLst>
      </pc:sldChg>
      <pc:sldChg chg="add del">
        <pc:chgData name="Jivrajani, Dharini" userId="9f28c9a6-e07b-4de5-8682-ac3f5c875595" providerId="ADAL" clId="{46161A50-CACC-4046-B55E-3D6E122DFCDA}" dt="2021-02-25T02:00:20.600" v="1945"/>
        <pc:sldMkLst>
          <pc:docMk/>
          <pc:sldMk cId="3434359818" sldId="9027"/>
        </pc:sldMkLst>
      </pc:sldChg>
      <pc:sldChg chg="add del">
        <pc:chgData name="Jivrajani, Dharini" userId="9f28c9a6-e07b-4de5-8682-ac3f5c875595" providerId="ADAL" clId="{46161A50-CACC-4046-B55E-3D6E122DFCDA}" dt="2021-02-25T02:00:14.170" v="1943"/>
        <pc:sldMkLst>
          <pc:docMk/>
          <pc:sldMk cId="3642952759" sldId="9027"/>
        </pc:sldMkLst>
      </pc:sldChg>
    </pc:docChg>
  </pc:docChgLst>
  <pc:docChgLst>
    <pc:chgData name="Bharade, Priyanka" userId="S::pbharade@deloitte.com::8427f5fe-fa70-4b3a-bb14-60c8eb5c3a5c" providerId="AD" clId="Web-{7F9B22F6-0BCB-43AF-AB83-9020408D8C16}"/>
    <pc:docChg chg="modSld">
      <pc:chgData name="Bharade, Priyanka" userId="S::pbharade@deloitte.com::8427f5fe-fa70-4b3a-bb14-60c8eb5c3a5c" providerId="AD" clId="Web-{7F9B22F6-0BCB-43AF-AB83-9020408D8C16}" dt="2021-03-23T09:36:35.749" v="1" actId="1076"/>
      <pc:docMkLst>
        <pc:docMk/>
      </pc:docMkLst>
      <pc:sldChg chg="modSp">
        <pc:chgData name="Bharade, Priyanka" userId="S::pbharade@deloitte.com::8427f5fe-fa70-4b3a-bb14-60c8eb5c3a5c" providerId="AD" clId="Web-{7F9B22F6-0BCB-43AF-AB83-9020408D8C16}" dt="2021-03-23T09:36:35.749" v="1" actId="1076"/>
        <pc:sldMkLst>
          <pc:docMk/>
          <pc:sldMk cId="847777020" sldId="8791"/>
        </pc:sldMkLst>
        <pc:graphicFrameChg chg="mod">
          <ac:chgData name="Bharade, Priyanka" userId="S::pbharade@deloitte.com::8427f5fe-fa70-4b3a-bb14-60c8eb5c3a5c" providerId="AD" clId="Web-{7F9B22F6-0BCB-43AF-AB83-9020408D8C16}" dt="2021-03-23T09:36:35.749" v="1" actId="1076"/>
          <ac:graphicFrameMkLst>
            <pc:docMk/>
            <pc:sldMk cId="847777020" sldId="8791"/>
            <ac:graphicFrameMk id="2" creationId="{047A132D-3FAE-48C5-BD5F-C01213AAD2F4}"/>
          </ac:graphicFrameMkLst>
        </pc:graphicFrameChg>
      </pc:sldChg>
    </pc:docChg>
  </pc:docChgLst>
  <pc:docChgLst>
    <pc:chgData name="Sharma Palla, Rakesh" userId="S::rsharmapalla@deloitte.com::10f9904b-c976-486e-940c-ca5698800d24" providerId="AD" clId="Web-{6A42A8B5-F5ED-4196-93A8-06C0617A6AC1}"/>
    <pc:docChg chg="modSld">
      <pc:chgData name="Sharma Palla, Rakesh" userId="S::rsharmapalla@deloitte.com::10f9904b-c976-486e-940c-ca5698800d24" providerId="AD" clId="Web-{6A42A8B5-F5ED-4196-93A8-06C0617A6AC1}" dt="2020-07-13T15:10:46.799" v="53"/>
      <pc:docMkLst>
        <pc:docMk/>
      </pc:docMkLst>
      <pc:sldChg chg="modSp">
        <pc:chgData name="Sharma Palla, Rakesh" userId="S::rsharmapalla@deloitte.com::10f9904b-c976-486e-940c-ca5698800d24" providerId="AD" clId="Web-{6A42A8B5-F5ED-4196-93A8-06C0617A6AC1}" dt="2020-07-13T15:10:46.799" v="53"/>
        <pc:sldMkLst>
          <pc:docMk/>
          <pc:sldMk cId="847777020" sldId="8791"/>
        </pc:sldMkLst>
        <pc:graphicFrameChg chg="mod modGraphic">
          <ac:chgData name="Sharma Palla, Rakesh" userId="S::rsharmapalla@deloitte.com::10f9904b-c976-486e-940c-ca5698800d24" providerId="AD" clId="Web-{6A42A8B5-F5ED-4196-93A8-06C0617A6AC1}" dt="2020-07-13T15:10:46.799" v="53"/>
          <ac:graphicFrameMkLst>
            <pc:docMk/>
            <pc:sldMk cId="847777020" sldId="8791"/>
            <ac:graphicFrameMk id="2" creationId="{047A132D-3FAE-48C5-BD5F-C01213AAD2F4}"/>
          </ac:graphicFrameMkLst>
        </pc:graphicFrameChg>
      </pc:sldChg>
    </pc:docChg>
  </pc:docChgLst>
  <pc:docChgLst>
    <pc:chgData name="Chippa, Mukharjee Padman" userId="S::mchippa@deloitte.com::292f1ad2-5da1-4cfe-8120-9465338918f2" providerId="AD" clId="Web-{4077963E-4CF2-4788-B2B0-2A68DAB86878}"/>
    <pc:docChg chg="modSld">
      <pc:chgData name="Chippa, Mukharjee Padman" userId="S::mchippa@deloitte.com::292f1ad2-5da1-4cfe-8120-9465338918f2" providerId="AD" clId="Web-{4077963E-4CF2-4788-B2B0-2A68DAB86878}" dt="2021-06-14T09:42:25.204" v="0" actId="1076"/>
      <pc:docMkLst>
        <pc:docMk/>
      </pc:docMkLst>
      <pc:sldChg chg="modSp">
        <pc:chgData name="Chippa, Mukharjee Padman" userId="S::mchippa@deloitte.com::292f1ad2-5da1-4cfe-8120-9465338918f2" providerId="AD" clId="Web-{4077963E-4CF2-4788-B2B0-2A68DAB86878}" dt="2021-06-14T09:42:25.204" v="0" actId="1076"/>
        <pc:sldMkLst>
          <pc:docMk/>
          <pc:sldMk cId="4088066546" sldId="9025"/>
        </pc:sldMkLst>
        <pc:spChg chg="mod">
          <ac:chgData name="Chippa, Mukharjee Padman" userId="S::mchippa@deloitte.com::292f1ad2-5da1-4cfe-8120-9465338918f2" providerId="AD" clId="Web-{4077963E-4CF2-4788-B2B0-2A68DAB86878}" dt="2021-06-14T09:42:25.204" v="0" actId="1076"/>
          <ac:spMkLst>
            <pc:docMk/>
            <pc:sldMk cId="4088066546" sldId="9025"/>
            <ac:spMk id="19" creationId="{0A418D66-1592-47E2-BFDA-A86809D9B5D5}"/>
          </ac:spMkLst>
        </pc:spChg>
      </pc:sldChg>
    </pc:docChg>
  </pc:docChgLst>
  <pc:docChgLst>
    <pc:chgData name="Prakash, Ankur" userId="e5ec4ef6-a8ef-421f-ae1a-afd967453ffe" providerId="ADAL" clId="{96962DFF-70A9-4907-96FF-1B8CFD093493}"/>
    <pc:docChg chg="undo custSel delSld modSld modSection">
      <pc:chgData name="Prakash, Ankur" userId="e5ec4ef6-a8ef-421f-ae1a-afd967453ffe" providerId="ADAL" clId="{96962DFF-70A9-4907-96FF-1B8CFD093493}" dt="2020-07-14T10:32:21.958" v="468" actId="20577"/>
      <pc:docMkLst>
        <pc:docMk/>
      </pc:docMkLst>
      <pc:sldChg chg="modSp">
        <pc:chgData name="Prakash, Ankur" userId="e5ec4ef6-a8ef-421f-ae1a-afd967453ffe" providerId="ADAL" clId="{96962DFF-70A9-4907-96FF-1B8CFD093493}" dt="2020-07-14T10:15:45.972" v="308" actId="2711"/>
        <pc:sldMkLst>
          <pc:docMk/>
          <pc:sldMk cId="636999727" sldId="256"/>
        </pc:sldMkLst>
        <pc:spChg chg="mod">
          <ac:chgData name="Prakash, Ankur" userId="e5ec4ef6-a8ef-421f-ae1a-afd967453ffe" providerId="ADAL" clId="{96962DFF-70A9-4907-96FF-1B8CFD093493}" dt="2020-07-14T10:15:45.972" v="308" actId="2711"/>
          <ac:spMkLst>
            <pc:docMk/>
            <pc:sldMk cId="636999727" sldId="256"/>
            <ac:spMk id="5" creationId="{F16EB711-1DFD-4BF5-AB76-CAB609BEB155}"/>
          </ac:spMkLst>
        </pc:spChg>
      </pc:sldChg>
      <pc:sldChg chg="modSp">
        <pc:chgData name="Prakash, Ankur" userId="e5ec4ef6-a8ef-421f-ae1a-afd967453ffe" providerId="ADAL" clId="{96962DFF-70A9-4907-96FF-1B8CFD093493}" dt="2020-07-14T07:15:59.172" v="85" actId="20577"/>
        <pc:sldMkLst>
          <pc:docMk/>
          <pc:sldMk cId="3661564267" sldId="257"/>
        </pc:sldMkLst>
        <pc:spChg chg="mod">
          <ac:chgData name="Prakash, Ankur" userId="e5ec4ef6-a8ef-421f-ae1a-afd967453ffe" providerId="ADAL" clId="{96962DFF-70A9-4907-96FF-1B8CFD093493}" dt="2020-07-14T07:15:59.172" v="85" actId="20577"/>
          <ac:spMkLst>
            <pc:docMk/>
            <pc:sldMk cId="3661564267" sldId="257"/>
            <ac:spMk id="4" creationId="{00000000-0000-0000-0000-000000000000}"/>
          </ac:spMkLst>
        </pc:spChg>
      </pc:sldChg>
      <pc:sldChg chg="modSp">
        <pc:chgData name="Prakash, Ankur" userId="e5ec4ef6-a8ef-421f-ae1a-afd967453ffe" providerId="ADAL" clId="{96962DFF-70A9-4907-96FF-1B8CFD093493}" dt="2020-07-14T07:34:15.051" v="195" actId="1076"/>
        <pc:sldMkLst>
          <pc:docMk/>
          <pc:sldMk cId="3502321823" sldId="262"/>
        </pc:sldMkLst>
        <pc:spChg chg="mod">
          <ac:chgData name="Prakash, Ankur" userId="e5ec4ef6-a8ef-421f-ae1a-afd967453ffe" providerId="ADAL" clId="{96962DFF-70A9-4907-96FF-1B8CFD093493}" dt="2020-07-14T07:34:15.051" v="195" actId="1076"/>
          <ac:spMkLst>
            <pc:docMk/>
            <pc:sldMk cId="3502321823" sldId="262"/>
            <ac:spMk id="10" creationId="{767E44D1-79CC-42C9-890E-6BCE8699BCC7}"/>
          </ac:spMkLst>
        </pc:spChg>
        <pc:spChg chg="mod">
          <ac:chgData name="Prakash, Ankur" userId="e5ec4ef6-a8ef-421f-ae1a-afd967453ffe" providerId="ADAL" clId="{96962DFF-70A9-4907-96FF-1B8CFD093493}" dt="2020-07-14T07:34:10.408" v="194" actId="1076"/>
          <ac:spMkLst>
            <pc:docMk/>
            <pc:sldMk cId="3502321823" sldId="262"/>
            <ac:spMk id="12" creationId="{1FE8272D-D651-449B-BBED-F34637F8BA8A}"/>
          </ac:spMkLst>
        </pc:spChg>
      </pc:sldChg>
      <pc:sldChg chg="modSp">
        <pc:chgData name="Prakash, Ankur" userId="e5ec4ef6-a8ef-421f-ae1a-afd967453ffe" providerId="ADAL" clId="{96962DFF-70A9-4907-96FF-1B8CFD093493}" dt="2020-07-14T07:34:42.861" v="197" actId="1076"/>
        <pc:sldMkLst>
          <pc:docMk/>
          <pc:sldMk cId="776867145" sldId="265"/>
        </pc:sldMkLst>
        <pc:spChg chg="mod">
          <ac:chgData name="Prakash, Ankur" userId="e5ec4ef6-a8ef-421f-ae1a-afd967453ffe" providerId="ADAL" clId="{96962DFF-70A9-4907-96FF-1B8CFD093493}" dt="2020-07-14T07:34:42.861" v="197" actId="1076"/>
          <ac:spMkLst>
            <pc:docMk/>
            <pc:sldMk cId="776867145" sldId="265"/>
            <ac:spMk id="16" creationId="{FECBD69E-1F84-4F3B-8616-AA5F5DFCFA24}"/>
          </ac:spMkLst>
        </pc:spChg>
      </pc:sldChg>
      <pc:sldChg chg="modSp">
        <pc:chgData name="Prakash, Ankur" userId="e5ec4ef6-a8ef-421f-ae1a-afd967453ffe" providerId="ADAL" clId="{96962DFF-70A9-4907-96FF-1B8CFD093493}" dt="2020-07-14T10:09:14.451" v="236" actId="255"/>
        <pc:sldMkLst>
          <pc:docMk/>
          <pc:sldMk cId="378404546" sldId="451"/>
        </pc:sldMkLst>
        <pc:spChg chg="mod">
          <ac:chgData name="Prakash, Ankur" userId="e5ec4ef6-a8ef-421f-ae1a-afd967453ffe" providerId="ADAL" clId="{96962DFF-70A9-4907-96FF-1B8CFD093493}" dt="2020-07-14T10:09:14.451" v="236" actId="255"/>
          <ac:spMkLst>
            <pc:docMk/>
            <pc:sldMk cId="378404546" sldId="451"/>
            <ac:spMk id="3" creationId="{00000000-0000-0000-0000-000000000000}"/>
          </ac:spMkLst>
        </pc:spChg>
      </pc:sldChg>
      <pc:sldChg chg="modSp">
        <pc:chgData name="Prakash, Ankur" userId="e5ec4ef6-a8ef-421f-ae1a-afd967453ffe" providerId="ADAL" clId="{96962DFF-70A9-4907-96FF-1B8CFD093493}" dt="2020-07-14T07:42:07.328" v="208" actId="1076"/>
        <pc:sldMkLst>
          <pc:docMk/>
          <pc:sldMk cId="2816086532" sldId="458"/>
        </pc:sldMkLst>
        <pc:spChg chg="mod">
          <ac:chgData name="Prakash, Ankur" userId="e5ec4ef6-a8ef-421f-ae1a-afd967453ffe" providerId="ADAL" clId="{96962DFF-70A9-4907-96FF-1B8CFD093493}" dt="2020-07-14T07:42:07.328" v="208" actId="1076"/>
          <ac:spMkLst>
            <pc:docMk/>
            <pc:sldMk cId="2816086532" sldId="458"/>
            <ac:spMk id="2" creationId="{00000000-0000-0000-0000-000000000000}"/>
          </ac:spMkLst>
        </pc:spChg>
        <pc:spChg chg="mod">
          <ac:chgData name="Prakash, Ankur" userId="e5ec4ef6-a8ef-421f-ae1a-afd967453ffe" providerId="ADAL" clId="{96962DFF-70A9-4907-96FF-1B8CFD093493}" dt="2020-07-14T07:41:58.089" v="206" actId="14100"/>
          <ac:spMkLst>
            <pc:docMk/>
            <pc:sldMk cId="2816086532" sldId="458"/>
            <ac:spMk id="3" creationId="{00000000-0000-0000-0000-000000000000}"/>
          </ac:spMkLst>
        </pc:spChg>
      </pc:sldChg>
      <pc:sldChg chg="modSp">
        <pc:chgData name="Prakash, Ankur" userId="e5ec4ef6-a8ef-421f-ae1a-afd967453ffe" providerId="ADAL" clId="{96962DFF-70A9-4907-96FF-1B8CFD093493}" dt="2020-07-09T11:37:15.486" v="45" actId="1076"/>
        <pc:sldMkLst>
          <pc:docMk/>
          <pc:sldMk cId="1690272000" sldId="469"/>
        </pc:sldMkLst>
        <pc:spChg chg="mod">
          <ac:chgData name="Prakash, Ankur" userId="e5ec4ef6-a8ef-421f-ae1a-afd967453ffe" providerId="ADAL" clId="{96962DFF-70A9-4907-96FF-1B8CFD093493}" dt="2020-07-09T11:37:15.486" v="45" actId="1076"/>
          <ac:spMkLst>
            <pc:docMk/>
            <pc:sldMk cId="1690272000" sldId="469"/>
            <ac:spMk id="2" creationId="{00000000-0000-0000-0000-000000000000}"/>
          </ac:spMkLst>
        </pc:spChg>
        <pc:spChg chg="mod">
          <ac:chgData name="Prakash, Ankur" userId="e5ec4ef6-a8ef-421f-ae1a-afd967453ffe" providerId="ADAL" clId="{96962DFF-70A9-4907-96FF-1B8CFD093493}" dt="2020-07-09T11:37:07.852" v="44" actId="1076"/>
          <ac:spMkLst>
            <pc:docMk/>
            <pc:sldMk cId="1690272000" sldId="469"/>
            <ac:spMk id="3" creationId="{00000000-0000-0000-0000-000000000000}"/>
          </ac:spMkLst>
        </pc:spChg>
      </pc:sldChg>
      <pc:sldChg chg="delSp">
        <pc:chgData name="Prakash, Ankur" userId="e5ec4ef6-a8ef-421f-ae1a-afd967453ffe" providerId="ADAL" clId="{96962DFF-70A9-4907-96FF-1B8CFD093493}" dt="2020-07-13T12:31:30.430" v="82" actId="478"/>
        <pc:sldMkLst>
          <pc:docMk/>
          <pc:sldMk cId="1978270760" sldId="1111"/>
        </pc:sldMkLst>
        <pc:spChg chg="del">
          <ac:chgData name="Prakash, Ankur" userId="e5ec4ef6-a8ef-421f-ae1a-afd967453ffe" providerId="ADAL" clId="{96962DFF-70A9-4907-96FF-1B8CFD093493}" dt="2020-07-13T12:31:30.430" v="82" actId="478"/>
          <ac:spMkLst>
            <pc:docMk/>
            <pc:sldMk cId="1978270760" sldId="1111"/>
            <ac:spMk id="4" creationId="{6754574C-7E71-4808-A13F-EF0FA9560973}"/>
          </ac:spMkLst>
        </pc:spChg>
      </pc:sldChg>
      <pc:sldChg chg="del">
        <pc:chgData name="Prakash, Ankur" userId="e5ec4ef6-a8ef-421f-ae1a-afd967453ffe" providerId="ADAL" clId="{96962DFF-70A9-4907-96FF-1B8CFD093493}" dt="2020-07-13T12:31:47.565" v="83" actId="2696"/>
        <pc:sldMkLst>
          <pc:docMk/>
          <pc:sldMk cId="2269809066" sldId="2072"/>
        </pc:sldMkLst>
      </pc:sldChg>
      <pc:sldChg chg="modSp">
        <pc:chgData name="Prakash, Ankur" userId="e5ec4ef6-a8ef-421f-ae1a-afd967453ffe" providerId="ADAL" clId="{96962DFF-70A9-4907-96FF-1B8CFD093493}" dt="2020-07-13T12:30:43.432" v="80" actId="108"/>
        <pc:sldMkLst>
          <pc:docMk/>
          <pc:sldMk cId="2545999528" sldId="2078"/>
        </pc:sldMkLst>
        <pc:spChg chg="mod">
          <ac:chgData name="Prakash, Ankur" userId="e5ec4ef6-a8ef-421f-ae1a-afd967453ffe" providerId="ADAL" clId="{96962DFF-70A9-4907-96FF-1B8CFD093493}" dt="2020-07-13T12:30:43.432" v="80" actId="108"/>
          <ac:spMkLst>
            <pc:docMk/>
            <pc:sldMk cId="2545999528" sldId="2078"/>
            <ac:spMk id="11" creationId="{D81E90CF-FE2B-4EF2-AE01-6B8C8331CB34}"/>
          </ac:spMkLst>
        </pc:spChg>
      </pc:sldChg>
      <pc:sldChg chg="modSp">
        <pc:chgData name="Prakash, Ankur" userId="e5ec4ef6-a8ef-421f-ae1a-afd967453ffe" providerId="ADAL" clId="{96962DFF-70A9-4907-96FF-1B8CFD093493}" dt="2020-07-14T10:30:07.061" v="452" actId="108"/>
        <pc:sldMkLst>
          <pc:docMk/>
          <pc:sldMk cId="24609206" sldId="2104"/>
        </pc:sldMkLst>
        <pc:spChg chg="mod">
          <ac:chgData name="Prakash, Ankur" userId="e5ec4ef6-a8ef-421f-ae1a-afd967453ffe" providerId="ADAL" clId="{96962DFF-70A9-4907-96FF-1B8CFD093493}" dt="2020-07-14T10:30:07.061" v="452" actId="108"/>
          <ac:spMkLst>
            <pc:docMk/>
            <pc:sldMk cId="24609206" sldId="2104"/>
            <ac:spMk id="3" creationId="{320F8995-C0FD-4107-AC83-E830FB6660E5}"/>
          </ac:spMkLst>
        </pc:spChg>
      </pc:sldChg>
      <pc:sldChg chg="del">
        <pc:chgData name="Prakash, Ankur" userId="e5ec4ef6-a8ef-421f-ae1a-afd967453ffe" providerId="ADAL" clId="{96962DFF-70A9-4907-96FF-1B8CFD093493}" dt="2020-07-13T12:31:23.964" v="81" actId="2696"/>
        <pc:sldMkLst>
          <pc:docMk/>
          <pc:sldMk cId="3330729229" sldId="8497"/>
        </pc:sldMkLst>
      </pc:sldChg>
      <pc:sldChg chg="modSp">
        <pc:chgData name="Prakash, Ankur" userId="e5ec4ef6-a8ef-421f-ae1a-afd967453ffe" providerId="ADAL" clId="{96962DFF-70A9-4907-96FF-1B8CFD093493}" dt="2020-07-14T10:32:03.361" v="461" actId="20577"/>
        <pc:sldMkLst>
          <pc:docMk/>
          <pc:sldMk cId="1039189330" sldId="8774"/>
        </pc:sldMkLst>
        <pc:graphicFrameChg chg="modGraphic">
          <ac:chgData name="Prakash, Ankur" userId="e5ec4ef6-a8ef-421f-ae1a-afd967453ffe" providerId="ADAL" clId="{96962DFF-70A9-4907-96FF-1B8CFD093493}" dt="2020-07-14T10:32:03.361" v="461" actId="20577"/>
          <ac:graphicFrameMkLst>
            <pc:docMk/>
            <pc:sldMk cId="1039189330" sldId="8774"/>
            <ac:graphicFrameMk id="4" creationId="{2AAAC88F-F4B4-4FE3-956E-C3F806D71324}"/>
          </ac:graphicFrameMkLst>
        </pc:graphicFrameChg>
      </pc:sldChg>
      <pc:sldChg chg="modSp">
        <pc:chgData name="Prakash, Ankur" userId="e5ec4ef6-a8ef-421f-ae1a-afd967453ffe" providerId="ADAL" clId="{96962DFF-70A9-4907-96FF-1B8CFD093493}" dt="2020-07-14T10:32:21.958" v="468" actId="20577"/>
        <pc:sldMkLst>
          <pc:docMk/>
          <pc:sldMk cId="2407685793" sldId="8775"/>
        </pc:sldMkLst>
        <pc:spChg chg="mod">
          <ac:chgData name="Prakash, Ankur" userId="e5ec4ef6-a8ef-421f-ae1a-afd967453ffe" providerId="ADAL" clId="{96962DFF-70A9-4907-96FF-1B8CFD093493}" dt="2020-07-14T10:31:25.063" v="454" actId="108"/>
          <ac:spMkLst>
            <pc:docMk/>
            <pc:sldMk cId="2407685793" sldId="8775"/>
            <ac:spMk id="5" creationId="{5BC0E948-6F66-4F47-BA40-6C553B9AB1E4}"/>
          </ac:spMkLst>
        </pc:spChg>
        <pc:graphicFrameChg chg="modGraphic">
          <ac:chgData name="Prakash, Ankur" userId="e5ec4ef6-a8ef-421f-ae1a-afd967453ffe" providerId="ADAL" clId="{96962DFF-70A9-4907-96FF-1B8CFD093493}" dt="2020-07-14T10:32:21.958" v="468" actId="20577"/>
          <ac:graphicFrameMkLst>
            <pc:docMk/>
            <pc:sldMk cId="2407685793" sldId="8775"/>
            <ac:graphicFrameMk id="4" creationId="{2AAAC88F-F4B4-4FE3-956E-C3F806D71324}"/>
          </ac:graphicFrameMkLst>
        </pc:graphicFrameChg>
      </pc:sldChg>
      <pc:sldChg chg="modSp">
        <pc:chgData name="Prakash, Ankur" userId="e5ec4ef6-a8ef-421f-ae1a-afd967453ffe" providerId="ADAL" clId="{96962DFF-70A9-4907-96FF-1B8CFD093493}" dt="2020-07-09T11:40:56.311" v="73" actId="20577"/>
        <pc:sldMkLst>
          <pc:docMk/>
          <pc:sldMk cId="2506138062" sldId="8782"/>
        </pc:sldMkLst>
        <pc:spChg chg="mod">
          <ac:chgData name="Prakash, Ankur" userId="e5ec4ef6-a8ef-421f-ae1a-afd967453ffe" providerId="ADAL" clId="{96962DFF-70A9-4907-96FF-1B8CFD093493}" dt="2020-07-09T11:40:56.311" v="73" actId="20577"/>
          <ac:spMkLst>
            <pc:docMk/>
            <pc:sldMk cId="2506138062" sldId="8782"/>
            <ac:spMk id="16" creationId="{41EDB400-E2DE-4418-99E9-CCC0F4B9DB01}"/>
          </ac:spMkLst>
        </pc:spChg>
      </pc:sldChg>
      <pc:sldChg chg="modSp">
        <pc:chgData name="Prakash, Ankur" userId="e5ec4ef6-a8ef-421f-ae1a-afd967453ffe" providerId="ADAL" clId="{96962DFF-70A9-4907-96FF-1B8CFD093493}" dt="2020-07-08T13:32:49.718" v="42" actId="108"/>
        <pc:sldMkLst>
          <pc:docMk/>
          <pc:sldMk cId="1709308679" sldId="8783"/>
        </pc:sldMkLst>
        <pc:spChg chg="mod">
          <ac:chgData name="Prakash, Ankur" userId="e5ec4ef6-a8ef-421f-ae1a-afd967453ffe" providerId="ADAL" clId="{96962DFF-70A9-4907-96FF-1B8CFD093493}" dt="2020-07-08T13:32:44.365" v="37" actId="108"/>
          <ac:spMkLst>
            <pc:docMk/>
            <pc:sldMk cId="1709308679" sldId="8783"/>
            <ac:spMk id="2" creationId="{886FAB09-98B1-4D1E-9B26-9ABFEEE8767D}"/>
          </ac:spMkLst>
        </pc:spChg>
        <pc:spChg chg="mod">
          <ac:chgData name="Prakash, Ankur" userId="e5ec4ef6-a8ef-421f-ae1a-afd967453ffe" providerId="ADAL" clId="{96962DFF-70A9-4907-96FF-1B8CFD093493}" dt="2020-07-08T13:32:49.718" v="42" actId="108"/>
          <ac:spMkLst>
            <pc:docMk/>
            <pc:sldMk cId="1709308679" sldId="8783"/>
            <ac:spMk id="3" creationId="{87771578-1EA4-4F1C-88F2-9EF60D8C6089}"/>
          </ac:spMkLst>
        </pc:spChg>
        <pc:spChg chg="mod">
          <ac:chgData name="Prakash, Ankur" userId="e5ec4ef6-a8ef-421f-ae1a-afd967453ffe" providerId="ADAL" clId="{96962DFF-70A9-4907-96FF-1B8CFD093493}" dt="2020-07-08T13:32:39.838" v="33" actId="108"/>
          <ac:spMkLst>
            <pc:docMk/>
            <pc:sldMk cId="1709308679" sldId="8783"/>
            <ac:spMk id="13" creationId="{EF8A928F-790F-4408-9D94-F7104E6CE2DC}"/>
          </ac:spMkLst>
        </pc:spChg>
      </pc:sldChg>
      <pc:sldChg chg="modSp">
        <pc:chgData name="Prakash, Ankur" userId="e5ec4ef6-a8ef-421f-ae1a-afd967453ffe" providerId="ADAL" clId="{96962DFF-70A9-4907-96FF-1B8CFD093493}" dt="2020-07-09T11:41:23.195" v="77" actId="20577"/>
        <pc:sldMkLst>
          <pc:docMk/>
          <pc:sldMk cId="2940807522" sldId="8784"/>
        </pc:sldMkLst>
        <pc:spChg chg="mod">
          <ac:chgData name="Prakash, Ankur" userId="e5ec4ef6-a8ef-421f-ae1a-afd967453ffe" providerId="ADAL" clId="{96962DFF-70A9-4907-96FF-1B8CFD093493}" dt="2020-07-09T11:41:15.726" v="75" actId="20577"/>
          <ac:spMkLst>
            <pc:docMk/>
            <pc:sldMk cId="2940807522" sldId="8784"/>
            <ac:spMk id="8" creationId="{3AD73DD1-CA9D-43A7-AE40-783F13202818}"/>
          </ac:spMkLst>
        </pc:spChg>
        <pc:spChg chg="mod">
          <ac:chgData name="Prakash, Ankur" userId="e5ec4ef6-a8ef-421f-ae1a-afd967453ffe" providerId="ADAL" clId="{96962DFF-70A9-4907-96FF-1B8CFD093493}" dt="2020-07-09T11:41:23.195" v="77" actId="20577"/>
          <ac:spMkLst>
            <pc:docMk/>
            <pc:sldMk cId="2940807522" sldId="8784"/>
            <ac:spMk id="10" creationId="{63C4D4D1-A06E-4F86-8E1F-FBE3DBFA51E8}"/>
          </ac:spMkLst>
        </pc:spChg>
      </pc:sldChg>
      <pc:sldChg chg="modSp">
        <pc:chgData name="Prakash, Ankur" userId="e5ec4ef6-a8ef-421f-ae1a-afd967453ffe" providerId="ADAL" clId="{96962DFF-70A9-4907-96FF-1B8CFD093493}" dt="2020-07-14T07:40:53.553" v="203" actId="14100"/>
        <pc:sldMkLst>
          <pc:docMk/>
          <pc:sldMk cId="4107362912" sldId="8785"/>
        </pc:sldMkLst>
        <pc:spChg chg="mod">
          <ac:chgData name="Prakash, Ankur" userId="e5ec4ef6-a8ef-421f-ae1a-afd967453ffe" providerId="ADAL" clId="{96962DFF-70A9-4907-96FF-1B8CFD093493}" dt="2020-07-14T07:40:53.553" v="203" actId="14100"/>
          <ac:spMkLst>
            <pc:docMk/>
            <pc:sldMk cId="4107362912" sldId="8785"/>
            <ac:spMk id="7" creationId="{BD52B5DB-DDAB-4EC0-94A0-8CED04FAB517}"/>
          </ac:spMkLst>
        </pc:spChg>
      </pc:sldChg>
      <pc:sldChg chg="modSp setBg">
        <pc:chgData name="Prakash, Ankur" userId="e5ec4ef6-a8ef-421f-ae1a-afd967453ffe" providerId="ADAL" clId="{96962DFF-70A9-4907-96FF-1B8CFD093493}" dt="2020-07-14T10:11:41.381" v="245"/>
        <pc:sldMkLst>
          <pc:docMk/>
          <pc:sldMk cId="847777020" sldId="8791"/>
        </pc:sldMkLst>
        <pc:spChg chg="mod">
          <ac:chgData name="Prakash, Ankur" userId="e5ec4ef6-a8ef-421f-ae1a-afd967453ffe" providerId="ADAL" clId="{96962DFF-70A9-4907-96FF-1B8CFD093493}" dt="2020-07-14T10:11:29.569" v="243" actId="113"/>
          <ac:spMkLst>
            <pc:docMk/>
            <pc:sldMk cId="847777020" sldId="8791"/>
            <ac:spMk id="6" creationId="{3A1B4E52-1783-4186-9061-FBE7AEA94430}"/>
          </ac:spMkLst>
        </pc:spChg>
      </pc:sldChg>
      <pc:sldChg chg="modSp">
        <pc:chgData name="Prakash, Ankur" userId="e5ec4ef6-a8ef-421f-ae1a-afd967453ffe" providerId="ADAL" clId="{96962DFF-70A9-4907-96FF-1B8CFD093493}" dt="2020-07-14T10:02:40.843" v="209" actId="1076"/>
        <pc:sldMkLst>
          <pc:docMk/>
          <pc:sldMk cId="1362471382" sldId="8794"/>
        </pc:sldMkLst>
        <pc:spChg chg="mod">
          <ac:chgData name="Prakash, Ankur" userId="e5ec4ef6-a8ef-421f-ae1a-afd967453ffe" providerId="ADAL" clId="{96962DFF-70A9-4907-96FF-1B8CFD093493}" dt="2020-07-14T10:02:40.843" v="209" actId="1076"/>
          <ac:spMkLst>
            <pc:docMk/>
            <pc:sldMk cId="1362471382" sldId="8794"/>
            <ac:spMk id="3" creationId="{79CFB8E1-D662-4233-ACD8-579A7B5BC495}"/>
          </ac:spMkLst>
        </pc:spChg>
      </pc:sldChg>
      <pc:sldChg chg="modSp">
        <pc:chgData name="Prakash, Ankur" userId="e5ec4ef6-a8ef-421f-ae1a-afd967453ffe" providerId="ADAL" clId="{96962DFF-70A9-4907-96FF-1B8CFD093493}" dt="2020-07-14T10:29:53.368" v="450" actId="5793"/>
        <pc:sldMkLst>
          <pc:docMk/>
          <pc:sldMk cId="4169581344" sldId="8798"/>
        </pc:sldMkLst>
        <pc:spChg chg="mod">
          <ac:chgData name="Prakash, Ankur" userId="e5ec4ef6-a8ef-421f-ae1a-afd967453ffe" providerId="ADAL" clId="{96962DFF-70A9-4907-96FF-1B8CFD093493}" dt="2020-07-14T10:29:43.957" v="447" actId="5793"/>
          <ac:spMkLst>
            <pc:docMk/>
            <pc:sldMk cId="4169581344" sldId="8798"/>
            <ac:spMk id="3" creationId="{BCEB1B60-2A70-48F8-B225-997AF7F15017}"/>
          </ac:spMkLst>
        </pc:spChg>
        <pc:spChg chg="mod">
          <ac:chgData name="Prakash, Ankur" userId="e5ec4ef6-a8ef-421f-ae1a-afd967453ffe" providerId="ADAL" clId="{96962DFF-70A9-4907-96FF-1B8CFD093493}" dt="2020-07-14T10:29:53.368" v="450" actId="5793"/>
          <ac:spMkLst>
            <pc:docMk/>
            <pc:sldMk cId="4169581344" sldId="8798"/>
            <ac:spMk id="5" creationId="{F0E8E7DB-D899-44C1-8C0E-F57610F3DF87}"/>
          </ac:spMkLst>
        </pc:spChg>
      </pc:sldChg>
      <pc:sldChg chg="modSp">
        <pc:chgData name="Prakash, Ankur" userId="e5ec4ef6-a8ef-421f-ae1a-afd967453ffe" providerId="ADAL" clId="{96962DFF-70A9-4907-96FF-1B8CFD093493}" dt="2020-07-14T10:28:04.055" v="439" actId="1076"/>
        <pc:sldMkLst>
          <pc:docMk/>
          <pc:sldMk cId="1954271784" sldId="8811"/>
        </pc:sldMkLst>
        <pc:spChg chg="mod">
          <ac:chgData name="Prakash, Ankur" userId="e5ec4ef6-a8ef-421f-ae1a-afd967453ffe" providerId="ADAL" clId="{96962DFF-70A9-4907-96FF-1B8CFD093493}" dt="2020-07-14T10:28:04.055" v="439" actId="1076"/>
          <ac:spMkLst>
            <pc:docMk/>
            <pc:sldMk cId="1954271784" sldId="8811"/>
            <ac:spMk id="4" creationId="{58C9766A-F6D4-426B-B772-1B9A9FCA872B}"/>
          </ac:spMkLst>
        </pc:spChg>
      </pc:sldChg>
      <pc:sldChg chg="modSp">
        <pc:chgData name="Prakash, Ankur" userId="e5ec4ef6-a8ef-421f-ae1a-afd967453ffe" providerId="ADAL" clId="{96962DFF-70A9-4907-96FF-1B8CFD093493}" dt="2020-07-14T07:29:40.976" v="183" actId="1076"/>
        <pc:sldMkLst>
          <pc:docMk/>
          <pc:sldMk cId="4282166107" sldId="8821"/>
        </pc:sldMkLst>
        <pc:picChg chg="mod">
          <ac:chgData name="Prakash, Ankur" userId="e5ec4ef6-a8ef-421f-ae1a-afd967453ffe" providerId="ADAL" clId="{96962DFF-70A9-4907-96FF-1B8CFD093493}" dt="2020-07-14T07:29:40.976" v="183" actId="1076"/>
          <ac:picMkLst>
            <pc:docMk/>
            <pc:sldMk cId="4282166107" sldId="8821"/>
            <ac:picMk id="5" creationId="{B065F961-9C65-4EEA-85D5-88F17CDAF38E}"/>
          </ac:picMkLst>
        </pc:picChg>
      </pc:sldChg>
      <pc:sldChg chg="modSp">
        <pc:chgData name="Prakash, Ankur" userId="e5ec4ef6-a8ef-421f-ae1a-afd967453ffe" providerId="ADAL" clId="{96962DFF-70A9-4907-96FF-1B8CFD093493}" dt="2020-07-14T07:36:21.871" v="202" actId="1076"/>
        <pc:sldMkLst>
          <pc:docMk/>
          <pc:sldMk cId="1628750535" sldId="8825"/>
        </pc:sldMkLst>
        <pc:picChg chg="mod">
          <ac:chgData name="Prakash, Ankur" userId="e5ec4ef6-a8ef-421f-ae1a-afd967453ffe" providerId="ADAL" clId="{96962DFF-70A9-4907-96FF-1B8CFD093493}" dt="2020-07-14T07:36:21.871" v="202" actId="1076"/>
          <ac:picMkLst>
            <pc:docMk/>
            <pc:sldMk cId="1628750535" sldId="8825"/>
            <ac:picMk id="5" creationId="{B065F961-9C65-4EEA-85D5-88F17CDAF38E}"/>
          </ac:picMkLst>
        </pc:picChg>
      </pc:sldChg>
      <pc:sldChg chg="modSp">
        <pc:chgData name="Prakash, Ankur" userId="e5ec4ef6-a8ef-421f-ae1a-afd967453ffe" providerId="ADAL" clId="{96962DFF-70A9-4907-96FF-1B8CFD093493}" dt="2020-07-14T10:30:51.413" v="453" actId="108"/>
        <pc:sldMkLst>
          <pc:docMk/>
          <pc:sldMk cId="4292778138" sldId="8826"/>
        </pc:sldMkLst>
        <pc:spChg chg="mod">
          <ac:chgData name="Prakash, Ankur" userId="e5ec4ef6-a8ef-421f-ae1a-afd967453ffe" providerId="ADAL" clId="{96962DFF-70A9-4907-96FF-1B8CFD093493}" dt="2020-07-14T10:30:51.413" v="453" actId="108"/>
          <ac:spMkLst>
            <pc:docMk/>
            <pc:sldMk cId="4292778138" sldId="8826"/>
            <ac:spMk id="4" creationId="{7A9DFF01-0B03-48E4-B42D-F011C5ECF119}"/>
          </ac:spMkLst>
        </pc:spChg>
      </pc:sldChg>
      <pc:sldChg chg="modSp">
        <pc:chgData name="Prakash, Ankur" userId="e5ec4ef6-a8ef-421f-ae1a-afd967453ffe" providerId="ADAL" clId="{96962DFF-70A9-4907-96FF-1B8CFD093493}" dt="2020-07-08T13:31:52.129" v="27" actId="108"/>
        <pc:sldMkLst>
          <pc:docMk/>
          <pc:sldMk cId="3924100793" sldId="8832"/>
        </pc:sldMkLst>
        <pc:spChg chg="mod">
          <ac:chgData name="Prakash, Ankur" userId="e5ec4ef6-a8ef-421f-ae1a-afd967453ffe" providerId="ADAL" clId="{96962DFF-70A9-4907-96FF-1B8CFD093493}" dt="2020-07-08T13:31:45.921" v="21" actId="108"/>
          <ac:spMkLst>
            <pc:docMk/>
            <pc:sldMk cId="3924100793" sldId="8832"/>
            <ac:spMk id="3" creationId="{1A0176DF-1B97-473D-A10D-2782ED1043DD}"/>
          </ac:spMkLst>
        </pc:spChg>
        <pc:spChg chg="mod">
          <ac:chgData name="Prakash, Ankur" userId="e5ec4ef6-a8ef-421f-ae1a-afd967453ffe" providerId="ADAL" clId="{96962DFF-70A9-4907-96FF-1B8CFD093493}" dt="2020-07-08T13:31:52.129" v="27" actId="108"/>
          <ac:spMkLst>
            <pc:docMk/>
            <pc:sldMk cId="3924100793" sldId="8832"/>
            <ac:spMk id="4" creationId="{DA74E4A6-3B76-4E6E-8D06-3104FCD110F4}"/>
          </ac:spMkLst>
        </pc:spChg>
        <pc:spChg chg="mod">
          <ac:chgData name="Prakash, Ankur" userId="e5ec4ef6-a8ef-421f-ae1a-afd967453ffe" providerId="ADAL" clId="{96962DFF-70A9-4907-96FF-1B8CFD093493}" dt="2020-07-08T13:30:41.743" v="7" actId="108"/>
          <ac:spMkLst>
            <pc:docMk/>
            <pc:sldMk cId="3924100793" sldId="8832"/>
            <ac:spMk id="15" creationId="{3A2580C5-CA76-46C2-9A0D-5F85045F5460}"/>
          </ac:spMkLst>
        </pc:spChg>
        <pc:spChg chg="mod">
          <ac:chgData name="Prakash, Ankur" userId="e5ec4ef6-a8ef-421f-ae1a-afd967453ffe" providerId="ADAL" clId="{96962DFF-70A9-4907-96FF-1B8CFD093493}" dt="2020-07-08T13:30:50.448" v="12" actId="108"/>
          <ac:spMkLst>
            <pc:docMk/>
            <pc:sldMk cId="3924100793" sldId="8832"/>
            <ac:spMk id="16" creationId="{710120A0-9CD3-4973-9051-F6B314FD17A7}"/>
          </ac:spMkLst>
        </pc:spChg>
        <pc:spChg chg="mod">
          <ac:chgData name="Prakash, Ankur" userId="e5ec4ef6-a8ef-421f-ae1a-afd967453ffe" providerId="ADAL" clId="{96962DFF-70A9-4907-96FF-1B8CFD093493}" dt="2020-07-08T13:30:47.952" v="10" actId="108"/>
          <ac:spMkLst>
            <pc:docMk/>
            <pc:sldMk cId="3924100793" sldId="8832"/>
            <ac:spMk id="17" creationId="{7111F526-39E7-4973-AD26-42B4A4C98B3D}"/>
          </ac:spMkLst>
        </pc:spChg>
      </pc:sldChg>
      <pc:sldChg chg="setBg">
        <pc:chgData name="Prakash, Ankur" userId="e5ec4ef6-a8ef-421f-ae1a-afd967453ffe" providerId="ADAL" clId="{96962DFF-70A9-4907-96FF-1B8CFD093493}" dt="2020-07-14T10:11:48.833" v="246"/>
        <pc:sldMkLst>
          <pc:docMk/>
          <pc:sldMk cId="2138715199" sldId="8833"/>
        </pc:sldMkLst>
      </pc:sldChg>
      <pc:sldChg chg="modSp">
        <pc:chgData name="Prakash, Ankur" userId="e5ec4ef6-a8ef-421f-ae1a-afd967453ffe" providerId="ADAL" clId="{96962DFF-70A9-4907-96FF-1B8CFD093493}" dt="2020-07-14T10:16:12.356" v="310" actId="20577"/>
        <pc:sldMkLst>
          <pc:docMk/>
          <pc:sldMk cId="166141878" sldId="8834"/>
        </pc:sldMkLst>
        <pc:spChg chg="mod">
          <ac:chgData name="Prakash, Ankur" userId="e5ec4ef6-a8ef-421f-ae1a-afd967453ffe" providerId="ADAL" clId="{96962DFF-70A9-4907-96FF-1B8CFD093493}" dt="2020-07-14T10:16:12.356" v="310" actId="20577"/>
          <ac:spMkLst>
            <pc:docMk/>
            <pc:sldMk cId="166141878" sldId="8834"/>
            <ac:spMk id="4" creationId="{7A9DFF01-0B03-48E4-B42D-F011C5ECF119}"/>
          </ac:spMkLst>
        </pc:spChg>
      </pc:sldChg>
      <pc:sldChg chg="modSp">
        <pc:chgData name="Prakash, Ankur" userId="e5ec4ef6-a8ef-421f-ae1a-afd967453ffe" providerId="ADAL" clId="{96962DFF-70A9-4907-96FF-1B8CFD093493}" dt="2020-07-14T10:16:30.191" v="312" actId="2711"/>
        <pc:sldMkLst>
          <pc:docMk/>
          <pc:sldMk cId="1180582917" sldId="8835"/>
        </pc:sldMkLst>
        <pc:spChg chg="mod">
          <ac:chgData name="Prakash, Ankur" userId="e5ec4ef6-a8ef-421f-ae1a-afd967453ffe" providerId="ADAL" clId="{96962DFF-70A9-4907-96FF-1B8CFD093493}" dt="2020-07-14T10:16:30.191" v="312" actId="2711"/>
          <ac:spMkLst>
            <pc:docMk/>
            <pc:sldMk cId="1180582917" sldId="8835"/>
            <ac:spMk id="3" creationId="{21BBA9DD-83F9-4617-84E4-6CAA74E3B9FB}"/>
          </ac:spMkLst>
        </pc:spChg>
      </pc:sldChg>
      <pc:sldChg chg="delSp modSp">
        <pc:chgData name="Prakash, Ankur" userId="e5ec4ef6-a8ef-421f-ae1a-afd967453ffe" providerId="ADAL" clId="{96962DFF-70A9-4907-96FF-1B8CFD093493}" dt="2020-07-14T07:22:21.831" v="181" actId="20577"/>
        <pc:sldMkLst>
          <pc:docMk/>
          <pc:sldMk cId="2725184318" sldId="8836"/>
        </pc:sldMkLst>
        <pc:spChg chg="del mod">
          <ac:chgData name="Prakash, Ankur" userId="e5ec4ef6-a8ef-421f-ae1a-afd967453ffe" providerId="ADAL" clId="{96962DFF-70A9-4907-96FF-1B8CFD093493}" dt="2020-07-14T07:18:40.868" v="90" actId="478"/>
          <ac:spMkLst>
            <pc:docMk/>
            <pc:sldMk cId="2725184318" sldId="8836"/>
            <ac:spMk id="7" creationId="{9EAC36A3-F3AD-453B-9CB3-4C7A2D9B7C3B}"/>
          </ac:spMkLst>
        </pc:spChg>
        <pc:spChg chg="mod">
          <ac:chgData name="Prakash, Ankur" userId="e5ec4ef6-a8ef-421f-ae1a-afd967453ffe" providerId="ADAL" clId="{96962DFF-70A9-4907-96FF-1B8CFD093493}" dt="2020-07-14T07:22:21.831" v="181" actId="20577"/>
          <ac:spMkLst>
            <pc:docMk/>
            <pc:sldMk cId="2725184318" sldId="8836"/>
            <ac:spMk id="13" creationId="{00000000-0000-0000-0000-000000000000}"/>
          </ac:spMkLst>
        </pc:spChg>
      </pc:sldChg>
      <pc:sldChg chg="modSp">
        <pc:chgData name="Prakash, Ankur" userId="e5ec4ef6-a8ef-421f-ae1a-afd967453ffe" providerId="ADAL" clId="{96962DFF-70A9-4907-96FF-1B8CFD093493}" dt="2020-07-14T10:12:52.389" v="272" actId="1076"/>
        <pc:sldMkLst>
          <pc:docMk/>
          <pc:sldMk cId="208755446" sldId="8837"/>
        </pc:sldMkLst>
        <pc:spChg chg="mod">
          <ac:chgData name="Prakash, Ankur" userId="e5ec4ef6-a8ef-421f-ae1a-afd967453ffe" providerId="ADAL" clId="{96962DFF-70A9-4907-96FF-1B8CFD093493}" dt="2020-07-14T10:12:52.389" v="272" actId="1076"/>
          <ac:spMkLst>
            <pc:docMk/>
            <pc:sldMk cId="208755446" sldId="8837"/>
            <ac:spMk id="4" creationId="{5BDED99B-694F-434D-97D8-B0EE825A396B}"/>
          </ac:spMkLst>
        </pc:spChg>
      </pc:sldChg>
      <pc:sldChg chg="modSp">
        <pc:chgData name="Prakash, Ankur" userId="e5ec4ef6-a8ef-421f-ae1a-afd967453ffe" providerId="ADAL" clId="{96962DFF-70A9-4907-96FF-1B8CFD093493}" dt="2020-07-14T07:31:33.519" v="191" actId="20577"/>
        <pc:sldMkLst>
          <pc:docMk/>
          <pc:sldMk cId="3472853465" sldId="8838"/>
        </pc:sldMkLst>
        <pc:spChg chg="mod">
          <ac:chgData name="Prakash, Ankur" userId="e5ec4ef6-a8ef-421f-ae1a-afd967453ffe" providerId="ADAL" clId="{96962DFF-70A9-4907-96FF-1B8CFD093493}" dt="2020-07-14T07:31:33.519" v="191" actId="20577"/>
          <ac:spMkLst>
            <pc:docMk/>
            <pc:sldMk cId="3472853465" sldId="8838"/>
            <ac:spMk id="13" creationId="{00000000-0000-0000-0000-000000000000}"/>
          </ac:spMkLst>
        </pc:spChg>
      </pc:sldChg>
      <pc:sldChg chg="modSp">
        <pc:chgData name="Prakash, Ankur" userId="e5ec4ef6-a8ef-421f-ae1a-afd967453ffe" providerId="ADAL" clId="{96962DFF-70A9-4907-96FF-1B8CFD093493}" dt="2020-07-14T10:08:34.668" v="232" actId="113"/>
        <pc:sldMkLst>
          <pc:docMk/>
          <pc:sldMk cId="1085851461" sldId="8963"/>
        </pc:sldMkLst>
        <pc:spChg chg="mod">
          <ac:chgData name="Prakash, Ankur" userId="e5ec4ef6-a8ef-421f-ae1a-afd967453ffe" providerId="ADAL" clId="{96962DFF-70A9-4907-96FF-1B8CFD093493}" dt="2020-07-14T10:08:34.668" v="232" actId="113"/>
          <ac:spMkLst>
            <pc:docMk/>
            <pc:sldMk cId="1085851461" sldId="8963"/>
            <ac:spMk id="110" creationId="{91DD2A38-5BC3-4439-A44A-1421D6054B09}"/>
          </ac:spMkLst>
        </pc:spChg>
      </pc:sldChg>
      <pc:sldChg chg="modSp">
        <pc:chgData name="Prakash, Ankur" userId="e5ec4ef6-a8ef-421f-ae1a-afd967453ffe" providerId="ADAL" clId="{96962DFF-70A9-4907-96FF-1B8CFD093493}" dt="2020-07-14T10:08:18.401" v="230" actId="113"/>
        <pc:sldMkLst>
          <pc:docMk/>
          <pc:sldMk cId="617162357" sldId="8972"/>
        </pc:sldMkLst>
        <pc:spChg chg="mod">
          <ac:chgData name="Prakash, Ankur" userId="e5ec4ef6-a8ef-421f-ae1a-afd967453ffe" providerId="ADAL" clId="{96962DFF-70A9-4907-96FF-1B8CFD093493}" dt="2020-07-14T10:08:18.401" v="230" actId="113"/>
          <ac:spMkLst>
            <pc:docMk/>
            <pc:sldMk cId="617162357" sldId="8972"/>
            <ac:spMk id="14" creationId="{023254AF-03A5-4B5F-A42D-D0B11BECEE72}"/>
          </ac:spMkLst>
        </pc:spChg>
      </pc:sldChg>
      <pc:sldChg chg="modSp">
        <pc:chgData name="Prakash, Ankur" userId="e5ec4ef6-a8ef-421f-ae1a-afd967453ffe" providerId="ADAL" clId="{96962DFF-70A9-4907-96FF-1B8CFD093493}" dt="2020-07-14T10:09:40.844" v="238" actId="113"/>
        <pc:sldMkLst>
          <pc:docMk/>
          <pc:sldMk cId="2797225936" sldId="8974"/>
        </pc:sldMkLst>
        <pc:spChg chg="mod">
          <ac:chgData name="Prakash, Ankur" userId="e5ec4ef6-a8ef-421f-ae1a-afd967453ffe" providerId="ADAL" clId="{96962DFF-70A9-4907-96FF-1B8CFD093493}" dt="2020-07-14T10:09:40.844" v="238" actId="113"/>
          <ac:spMkLst>
            <pc:docMk/>
            <pc:sldMk cId="2797225936" sldId="8974"/>
            <ac:spMk id="16" creationId="{C9740AE0-2FD7-41FA-B612-178B83F9986B}"/>
          </ac:spMkLst>
        </pc:spChg>
      </pc:sldChg>
      <pc:sldChg chg="modSp">
        <pc:chgData name="Prakash, Ankur" userId="e5ec4ef6-a8ef-421f-ae1a-afd967453ffe" providerId="ADAL" clId="{96962DFF-70A9-4907-96FF-1B8CFD093493}" dt="2020-07-14T10:07:18.821" v="226" actId="255"/>
        <pc:sldMkLst>
          <pc:docMk/>
          <pc:sldMk cId="2296560862" sldId="8975"/>
        </pc:sldMkLst>
        <pc:spChg chg="mod">
          <ac:chgData name="Prakash, Ankur" userId="e5ec4ef6-a8ef-421f-ae1a-afd967453ffe" providerId="ADAL" clId="{96962DFF-70A9-4907-96FF-1B8CFD093493}" dt="2020-07-14T10:04:30.011" v="211" actId="255"/>
          <ac:spMkLst>
            <pc:docMk/>
            <pc:sldMk cId="2296560862" sldId="8975"/>
            <ac:spMk id="2" creationId="{3413F0A9-3085-4E59-B24B-B3E6DE51D14E}"/>
          </ac:spMkLst>
        </pc:spChg>
        <pc:spChg chg="mod">
          <ac:chgData name="Prakash, Ankur" userId="e5ec4ef6-a8ef-421f-ae1a-afd967453ffe" providerId="ADAL" clId="{96962DFF-70A9-4907-96FF-1B8CFD093493}" dt="2020-07-14T10:07:18.821" v="226" actId="255"/>
          <ac:spMkLst>
            <pc:docMk/>
            <pc:sldMk cId="2296560862" sldId="8975"/>
            <ac:spMk id="3" creationId="{FC97C2D4-AEEE-45B2-9262-681194C2EBF4}"/>
          </ac:spMkLst>
        </pc:spChg>
        <pc:spChg chg="mod">
          <ac:chgData name="Prakash, Ankur" userId="e5ec4ef6-a8ef-421f-ae1a-afd967453ffe" providerId="ADAL" clId="{96962DFF-70A9-4907-96FF-1B8CFD093493}" dt="2020-07-14T10:05:42.548" v="216" actId="1076"/>
          <ac:spMkLst>
            <pc:docMk/>
            <pc:sldMk cId="2296560862" sldId="8975"/>
            <ac:spMk id="4" creationId="{7EF24648-5440-4589-919F-861A0E74EBEE}"/>
          </ac:spMkLst>
        </pc:spChg>
      </pc:sldChg>
      <pc:sldChg chg="delSp">
        <pc:chgData name="Prakash, Ankur" userId="e5ec4ef6-a8ef-421f-ae1a-afd967453ffe" providerId="ADAL" clId="{96962DFF-70A9-4907-96FF-1B8CFD093493}" dt="2020-07-14T07:36:11.621" v="201" actId="478"/>
        <pc:sldMkLst>
          <pc:docMk/>
          <pc:sldMk cId="2459573223" sldId="8977"/>
        </pc:sldMkLst>
        <pc:spChg chg="del">
          <ac:chgData name="Prakash, Ankur" userId="e5ec4ef6-a8ef-421f-ae1a-afd967453ffe" providerId="ADAL" clId="{96962DFF-70A9-4907-96FF-1B8CFD093493}" dt="2020-07-14T07:36:08.561" v="200" actId="478"/>
          <ac:spMkLst>
            <pc:docMk/>
            <pc:sldMk cId="2459573223" sldId="8977"/>
            <ac:spMk id="2" creationId="{654344CD-8A43-4562-8BFF-45298CE5C7B0}"/>
          </ac:spMkLst>
        </pc:spChg>
        <pc:spChg chg="del">
          <ac:chgData name="Prakash, Ankur" userId="e5ec4ef6-a8ef-421f-ae1a-afd967453ffe" providerId="ADAL" clId="{96962DFF-70A9-4907-96FF-1B8CFD093493}" dt="2020-07-14T07:36:11.621" v="201" actId="478"/>
          <ac:spMkLst>
            <pc:docMk/>
            <pc:sldMk cId="2459573223" sldId="8977"/>
            <ac:spMk id="3" creationId="{D8B418CE-F432-4587-B98F-493A3BB3836F}"/>
          </ac:spMkLst>
        </pc:spChg>
      </pc:sldChg>
      <pc:sldChg chg="delSp">
        <pc:chgData name="Prakash, Ankur" userId="e5ec4ef6-a8ef-421f-ae1a-afd967453ffe" providerId="ADAL" clId="{96962DFF-70A9-4907-96FF-1B8CFD093493}" dt="2020-07-14T07:35:48.429" v="199" actId="478"/>
        <pc:sldMkLst>
          <pc:docMk/>
          <pc:sldMk cId="4088849546" sldId="8978"/>
        </pc:sldMkLst>
        <pc:spChg chg="del">
          <ac:chgData name="Prakash, Ankur" userId="e5ec4ef6-a8ef-421f-ae1a-afd967453ffe" providerId="ADAL" clId="{96962DFF-70A9-4907-96FF-1B8CFD093493}" dt="2020-07-14T07:35:40.904" v="198" actId="478"/>
          <ac:spMkLst>
            <pc:docMk/>
            <pc:sldMk cId="4088849546" sldId="8978"/>
            <ac:spMk id="2" creationId="{C8A65C2B-2826-4E3C-9FEF-D272A0262D12}"/>
          </ac:spMkLst>
        </pc:spChg>
        <pc:spChg chg="del">
          <ac:chgData name="Prakash, Ankur" userId="e5ec4ef6-a8ef-421f-ae1a-afd967453ffe" providerId="ADAL" clId="{96962DFF-70A9-4907-96FF-1B8CFD093493}" dt="2020-07-14T07:35:48.429" v="199" actId="478"/>
          <ac:spMkLst>
            <pc:docMk/>
            <pc:sldMk cId="4088849546" sldId="8978"/>
            <ac:spMk id="3" creationId="{CF0A0051-42A2-40F3-85D7-A2DA1E7E77A9}"/>
          </ac:spMkLst>
        </pc:spChg>
      </pc:sldChg>
      <pc:sldChg chg="modSp">
        <pc:chgData name="Prakash, Ankur" userId="e5ec4ef6-a8ef-421f-ae1a-afd967453ffe" providerId="ADAL" clId="{96962DFF-70A9-4907-96FF-1B8CFD093493}" dt="2020-07-14T07:31:03.644" v="188" actId="6549"/>
        <pc:sldMkLst>
          <pc:docMk/>
          <pc:sldMk cId="3148283714" sldId="8987"/>
        </pc:sldMkLst>
        <pc:spChg chg="mod">
          <ac:chgData name="Prakash, Ankur" userId="e5ec4ef6-a8ef-421f-ae1a-afd967453ffe" providerId="ADAL" clId="{96962DFF-70A9-4907-96FF-1B8CFD093493}" dt="2020-07-14T07:31:03.644" v="188" actId="6549"/>
          <ac:spMkLst>
            <pc:docMk/>
            <pc:sldMk cId="3148283714" sldId="8987"/>
            <ac:spMk id="13" creationId="{00000000-0000-0000-0000-000000000000}"/>
          </ac:spMkLst>
        </pc:spChg>
      </pc:sldChg>
      <pc:sldChg chg="modSp">
        <pc:chgData name="Prakash, Ankur" userId="e5ec4ef6-a8ef-421f-ae1a-afd967453ffe" providerId="ADAL" clId="{96962DFF-70A9-4907-96FF-1B8CFD093493}" dt="2020-07-14T10:14:19.148" v="300" actId="255"/>
        <pc:sldMkLst>
          <pc:docMk/>
          <pc:sldMk cId="883180132" sldId="8992"/>
        </pc:sldMkLst>
        <pc:spChg chg="mod">
          <ac:chgData name="Prakash, Ankur" userId="e5ec4ef6-a8ef-421f-ae1a-afd967453ffe" providerId="ADAL" clId="{96962DFF-70A9-4907-96FF-1B8CFD093493}" dt="2020-07-14T10:14:19.148" v="300" actId="255"/>
          <ac:spMkLst>
            <pc:docMk/>
            <pc:sldMk cId="883180132" sldId="8992"/>
            <ac:spMk id="4" creationId="{28070241-8247-4E57-B680-44534908C9ED}"/>
          </ac:spMkLst>
        </pc:spChg>
      </pc:sldChg>
      <pc:sldChg chg="modSp">
        <pc:chgData name="Prakash, Ankur" userId="e5ec4ef6-a8ef-421f-ae1a-afd967453ffe" providerId="ADAL" clId="{96962DFF-70A9-4907-96FF-1B8CFD093493}" dt="2020-07-14T10:10:44.121" v="239" actId="255"/>
        <pc:sldMkLst>
          <pc:docMk/>
          <pc:sldMk cId="3593577048" sldId="8993"/>
        </pc:sldMkLst>
        <pc:spChg chg="mod">
          <ac:chgData name="Prakash, Ankur" userId="e5ec4ef6-a8ef-421f-ae1a-afd967453ffe" providerId="ADAL" clId="{96962DFF-70A9-4907-96FF-1B8CFD093493}" dt="2020-07-14T10:10:44.121" v="239" actId="255"/>
          <ac:spMkLst>
            <pc:docMk/>
            <pc:sldMk cId="3593577048" sldId="8993"/>
            <ac:spMk id="6" creationId="{DE511CB7-AAB1-4A44-83DE-C6DA6732CDDB}"/>
          </ac:spMkLst>
        </pc:spChg>
      </pc:sldChg>
      <pc:sldChg chg="modSp">
        <pc:chgData name="Prakash, Ankur" userId="e5ec4ef6-a8ef-421f-ae1a-afd967453ffe" providerId="ADAL" clId="{96962DFF-70A9-4907-96FF-1B8CFD093493}" dt="2020-07-14T10:10:57.985" v="240" actId="255"/>
        <pc:sldMkLst>
          <pc:docMk/>
          <pc:sldMk cId="212171083" sldId="8995"/>
        </pc:sldMkLst>
        <pc:spChg chg="mod">
          <ac:chgData name="Prakash, Ankur" userId="e5ec4ef6-a8ef-421f-ae1a-afd967453ffe" providerId="ADAL" clId="{96962DFF-70A9-4907-96FF-1B8CFD093493}" dt="2020-07-14T10:10:57.985" v="240" actId="255"/>
          <ac:spMkLst>
            <pc:docMk/>
            <pc:sldMk cId="212171083" sldId="8995"/>
            <ac:spMk id="4" creationId="{B4CA34F8-8481-45DB-A335-AED5BDE8D874}"/>
          </ac:spMkLst>
        </pc:spChg>
      </pc:sldChg>
      <pc:sldChg chg="modSp">
        <pc:chgData name="Prakash, Ankur" userId="e5ec4ef6-a8ef-421f-ae1a-afd967453ffe" providerId="ADAL" clId="{96962DFF-70A9-4907-96FF-1B8CFD093493}" dt="2020-07-14T10:11:14.015" v="241" actId="255"/>
        <pc:sldMkLst>
          <pc:docMk/>
          <pc:sldMk cId="1957478734" sldId="8996"/>
        </pc:sldMkLst>
        <pc:spChg chg="mod">
          <ac:chgData name="Prakash, Ankur" userId="e5ec4ef6-a8ef-421f-ae1a-afd967453ffe" providerId="ADAL" clId="{96962DFF-70A9-4907-96FF-1B8CFD093493}" dt="2020-07-14T10:11:14.015" v="241" actId="255"/>
          <ac:spMkLst>
            <pc:docMk/>
            <pc:sldMk cId="1957478734" sldId="8996"/>
            <ac:spMk id="4" creationId="{D09318D6-01C4-49EF-9DA3-27C308C707B6}"/>
          </ac:spMkLst>
        </pc:spChg>
      </pc:sldChg>
      <pc:sldChg chg="modSp">
        <pc:chgData name="Prakash, Ankur" userId="e5ec4ef6-a8ef-421f-ae1a-afd967453ffe" providerId="ADAL" clId="{96962DFF-70A9-4907-96FF-1B8CFD093493}" dt="2020-07-14T10:12:10.184" v="247" actId="255"/>
        <pc:sldMkLst>
          <pc:docMk/>
          <pc:sldMk cId="3911023700" sldId="8997"/>
        </pc:sldMkLst>
        <pc:spChg chg="mod">
          <ac:chgData name="Prakash, Ankur" userId="e5ec4ef6-a8ef-421f-ae1a-afd967453ffe" providerId="ADAL" clId="{96962DFF-70A9-4907-96FF-1B8CFD093493}" dt="2020-07-14T10:12:10.184" v="247" actId="255"/>
          <ac:spMkLst>
            <pc:docMk/>
            <pc:sldMk cId="3911023700" sldId="8997"/>
            <ac:spMk id="3" creationId="{4CF6A200-0444-4D93-AE3A-6C10C863522A}"/>
          </ac:spMkLst>
        </pc:spChg>
      </pc:sldChg>
      <pc:sldChg chg="modSp">
        <pc:chgData name="Prakash, Ankur" userId="e5ec4ef6-a8ef-421f-ae1a-afd967453ffe" providerId="ADAL" clId="{96962DFF-70A9-4907-96FF-1B8CFD093493}" dt="2020-07-14T10:15:04.498" v="306" actId="1076"/>
        <pc:sldMkLst>
          <pc:docMk/>
          <pc:sldMk cId="2311481195" sldId="8999"/>
        </pc:sldMkLst>
        <pc:spChg chg="mod">
          <ac:chgData name="Prakash, Ankur" userId="e5ec4ef6-a8ef-421f-ae1a-afd967453ffe" providerId="ADAL" clId="{96962DFF-70A9-4907-96FF-1B8CFD093493}" dt="2020-07-14T10:14:43.964" v="302" actId="255"/>
          <ac:spMkLst>
            <pc:docMk/>
            <pc:sldMk cId="2311481195" sldId="8999"/>
            <ac:spMk id="4" creationId="{28070241-8247-4E57-B680-44534908C9ED}"/>
          </ac:spMkLst>
        </pc:spChg>
        <pc:picChg chg="mod">
          <ac:chgData name="Prakash, Ankur" userId="e5ec4ef6-a8ef-421f-ae1a-afd967453ffe" providerId="ADAL" clId="{96962DFF-70A9-4907-96FF-1B8CFD093493}" dt="2020-07-14T10:15:00.806" v="305" actId="1076"/>
          <ac:picMkLst>
            <pc:docMk/>
            <pc:sldMk cId="2311481195" sldId="8999"/>
            <ac:picMk id="7" creationId="{297726A7-45D0-4641-BC41-960101F1D53F}"/>
          </ac:picMkLst>
        </pc:picChg>
        <pc:picChg chg="mod">
          <ac:chgData name="Prakash, Ankur" userId="e5ec4ef6-a8ef-421f-ae1a-afd967453ffe" providerId="ADAL" clId="{96962DFF-70A9-4907-96FF-1B8CFD093493}" dt="2020-07-14T10:15:04.498" v="306" actId="1076"/>
          <ac:picMkLst>
            <pc:docMk/>
            <pc:sldMk cId="2311481195" sldId="8999"/>
            <ac:picMk id="8" creationId="{C51D0EC4-1744-4B01-A69D-D78BB6F1296B}"/>
          </ac:picMkLst>
        </pc:picChg>
      </pc:sldChg>
    </pc:docChg>
  </pc:docChgLst>
  <pc:docChgLst>
    <pc:chgData name="Chinda, Sowjanya" userId="S::schinda@deloitte.com::fc5c6afc-3b7c-40b3-bf0d-c9a2eae19122" providerId="AD" clId="Web-{FA9F5A6C-2180-46F0-A07C-887F5208090B}"/>
    <pc:docChg chg="modSld">
      <pc:chgData name="Chinda, Sowjanya" userId="S::schinda@deloitte.com::fc5c6afc-3b7c-40b3-bf0d-c9a2eae19122" providerId="AD" clId="Web-{FA9F5A6C-2180-46F0-A07C-887F5208090B}" dt="2021-07-13T07:54:22.111" v="5" actId="20577"/>
      <pc:docMkLst>
        <pc:docMk/>
      </pc:docMkLst>
      <pc:sldChg chg="modSp">
        <pc:chgData name="Chinda, Sowjanya" userId="S::schinda@deloitte.com::fc5c6afc-3b7c-40b3-bf0d-c9a2eae19122" providerId="AD" clId="Web-{FA9F5A6C-2180-46F0-A07C-887F5208090B}" dt="2021-07-13T07:54:22.111" v="5" actId="20577"/>
        <pc:sldMkLst>
          <pc:docMk/>
          <pc:sldMk cId="4099786269" sldId="8812"/>
        </pc:sldMkLst>
        <pc:spChg chg="mod">
          <ac:chgData name="Chinda, Sowjanya" userId="S::schinda@deloitte.com::fc5c6afc-3b7c-40b3-bf0d-c9a2eae19122" providerId="AD" clId="Web-{FA9F5A6C-2180-46F0-A07C-887F5208090B}" dt="2021-07-13T07:53:47.642" v="2" actId="20577"/>
          <ac:spMkLst>
            <pc:docMk/>
            <pc:sldMk cId="4099786269" sldId="8812"/>
            <ac:spMk id="4" creationId="{00000000-0000-0000-0000-000000000000}"/>
          </ac:spMkLst>
        </pc:spChg>
        <pc:spChg chg="mod">
          <ac:chgData name="Chinda, Sowjanya" userId="S::schinda@deloitte.com::fc5c6afc-3b7c-40b3-bf0d-c9a2eae19122" providerId="AD" clId="Web-{FA9F5A6C-2180-46F0-A07C-887F5208090B}" dt="2021-07-13T07:54:22.111" v="5" actId="20577"/>
          <ac:spMkLst>
            <pc:docMk/>
            <pc:sldMk cId="4099786269" sldId="8812"/>
            <ac:spMk id="6" creationId="{7387E7E7-F260-4B44-B38C-69D8397159B1}"/>
          </ac:spMkLst>
        </pc:spChg>
      </pc:sldChg>
    </pc:docChg>
  </pc:docChgLst>
  <pc:docChgLst>
    <pc:chgData name="Prakash, Ankur" userId="S::anprakash@deloitte.com::e5ec4ef6-a8ef-421f-ae1a-afd967453ffe" providerId="AD" clId="Web-{6680D65D-5EF6-4E3C-BD18-3BAD019C3C30}"/>
    <pc:docChg chg="addSld delSld modSld sldOrd modSection">
      <pc:chgData name="Prakash, Ankur" userId="S::anprakash@deloitte.com::e5ec4ef6-a8ef-421f-ae1a-afd967453ffe" providerId="AD" clId="Web-{6680D65D-5EF6-4E3C-BD18-3BAD019C3C30}" dt="2020-07-13T12:28:08.199" v="54"/>
      <pc:docMkLst>
        <pc:docMk/>
      </pc:docMkLst>
      <pc:sldChg chg="del">
        <pc:chgData name="Prakash, Ankur" userId="S::anprakash@deloitte.com::e5ec4ef6-a8ef-421f-ae1a-afd967453ffe" providerId="AD" clId="Web-{6680D65D-5EF6-4E3C-BD18-3BAD019C3C30}" dt="2020-07-13T12:24:29.935" v="34"/>
        <pc:sldMkLst>
          <pc:docMk/>
          <pc:sldMk cId="3637683004" sldId="350"/>
        </pc:sldMkLst>
      </pc:sldChg>
      <pc:sldChg chg="ord">
        <pc:chgData name="Prakash, Ankur" userId="S::anprakash@deloitte.com::e5ec4ef6-a8ef-421f-ae1a-afd967453ffe" providerId="AD" clId="Web-{6680D65D-5EF6-4E3C-BD18-3BAD019C3C30}" dt="2020-07-13T12:23:58.277" v="32"/>
        <pc:sldMkLst>
          <pc:docMk/>
          <pc:sldMk cId="378404546" sldId="451"/>
        </pc:sldMkLst>
      </pc:sldChg>
      <pc:sldChg chg="del">
        <pc:chgData name="Prakash, Ankur" userId="S::anprakash@deloitte.com::e5ec4ef6-a8ef-421f-ae1a-afd967453ffe" providerId="AD" clId="Web-{6680D65D-5EF6-4E3C-BD18-3BAD019C3C30}" dt="2020-07-13T12:24:27.138" v="33"/>
        <pc:sldMkLst>
          <pc:docMk/>
          <pc:sldMk cId="2772070313" sldId="456"/>
        </pc:sldMkLst>
      </pc:sldChg>
      <pc:sldChg chg="delSp modSp">
        <pc:chgData name="Prakash, Ankur" userId="S::anprakash@deloitte.com::e5ec4ef6-a8ef-421f-ae1a-afd967453ffe" providerId="AD" clId="Web-{6680D65D-5EF6-4E3C-BD18-3BAD019C3C30}" dt="2020-07-13T12:28:08.199" v="54"/>
        <pc:sldMkLst>
          <pc:docMk/>
          <pc:sldMk cId="2545999528" sldId="2078"/>
        </pc:sldMkLst>
        <pc:spChg chg="del mod">
          <ac:chgData name="Prakash, Ankur" userId="S::anprakash@deloitte.com::e5ec4ef6-a8ef-421f-ae1a-afd967453ffe" providerId="AD" clId="Web-{6680D65D-5EF6-4E3C-BD18-3BAD019C3C30}" dt="2020-07-13T12:28:08.199" v="54"/>
          <ac:spMkLst>
            <pc:docMk/>
            <pc:sldMk cId="2545999528" sldId="2078"/>
            <ac:spMk id="2" creationId="{1E73596D-C27B-4130-B10F-8497ED608FEB}"/>
          </ac:spMkLst>
        </pc:spChg>
        <pc:spChg chg="mod">
          <ac:chgData name="Prakash, Ankur" userId="S::anprakash@deloitte.com::e5ec4ef6-a8ef-421f-ae1a-afd967453ffe" providerId="AD" clId="Web-{6680D65D-5EF6-4E3C-BD18-3BAD019C3C30}" dt="2020-07-13T12:28:03.089" v="49" actId="20577"/>
          <ac:spMkLst>
            <pc:docMk/>
            <pc:sldMk cId="2545999528" sldId="2078"/>
            <ac:spMk id="11" creationId="{D81E90CF-FE2B-4EF2-AE01-6B8C8331CB34}"/>
          </ac:spMkLst>
        </pc:spChg>
      </pc:sldChg>
      <pc:sldChg chg="modSp add del">
        <pc:chgData name="Prakash, Ankur" userId="S::anprakash@deloitte.com::e5ec4ef6-a8ef-421f-ae1a-afd967453ffe" providerId="AD" clId="Web-{6680D65D-5EF6-4E3C-BD18-3BAD019C3C30}" dt="2020-07-13T12:25:03.937" v="42" actId="20577"/>
        <pc:sldMkLst>
          <pc:docMk/>
          <pc:sldMk cId="583554324" sldId="8476"/>
        </pc:sldMkLst>
        <pc:spChg chg="mod">
          <ac:chgData name="Prakash, Ankur" userId="S::anprakash@deloitte.com::e5ec4ef6-a8ef-421f-ae1a-afd967453ffe" providerId="AD" clId="Web-{6680D65D-5EF6-4E3C-BD18-3BAD019C3C30}" dt="2020-07-13T12:25:03.937" v="42" actId="20577"/>
          <ac:spMkLst>
            <pc:docMk/>
            <pc:sldMk cId="583554324" sldId="8476"/>
            <ac:spMk id="4" creationId="{31D65F62-D1CC-49DC-927F-7FDE268A7286}"/>
          </ac:spMkLst>
        </pc:spChg>
      </pc:sldChg>
      <pc:sldChg chg="ord">
        <pc:chgData name="Prakash, Ankur" userId="S::anprakash@deloitte.com::e5ec4ef6-a8ef-421f-ae1a-afd967453ffe" providerId="AD" clId="Web-{6680D65D-5EF6-4E3C-BD18-3BAD019C3C30}" dt="2020-07-13T12:21:25.220" v="29"/>
        <pc:sldMkLst>
          <pc:docMk/>
          <pc:sldMk cId="2697511235" sldId="8817"/>
        </pc:sldMkLst>
      </pc:sldChg>
      <pc:sldChg chg="del">
        <pc:chgData name="Prakash, Ankur" userId="S::anprakash@deloitte.com::e5ec4ef6-a8ef-421f-ae1a-afd967453ffe" providerId="AD" clId="Web-{6680D65D-5EF6-4E3C-BD18-3BAD019C3C30}" dt="2020-07-13T12:24:34.279" v="35"/>
        <pc:sldMkLst>
          <pc:docMk/>
          <pc:sldMk cId="3277982049" sldId="8818"/>
        </pc:sldMkLst>
      </pc:sldChg>
      <pc:sldChg chg="ord">
        <pc:chgData name="Prakash, Ankur" userId="S::anprakash@deloitte.com::e5ec4ef6-a8ef-421f-ae1a-afd967453ffe" providerId="AD" clId="Web-{6680D65D-5EF6-4E3C-BD18-3BAD019C3C30}" dt="2020-07-13T12:17:30.033" v="27"/>
        <pc:sldMkLst>
          <pc:docMk/>
          <pc:sldMk cId="1085851461" sldId="8963"/>
        </pc:sldMkLst>
      </pc:sldChg>
      <pc:sldChg chg="ord">
        <pc:chgData name="Prakash, Ankur" userId="S::anprakash@deloitte.com::e5ec4ef6-a8ef-421f-ae1a-afd967453ffe" providerId="AD" clId="Web-{6680D65D-5EF6-4E3C-BD18-3BAD019C3C30}" dt="2020-07-13T12:17:26.892" v="26"/>
        <pc:sldMkLst>
          <pc:docMk/>
          <pc:sldMk cId="617162357" sldId="8972"/>
        </pc:sldMkLst>
      </pc:sldChg>
      <pc:sldChg chg="ord">
        <pc:chgData name="Prakash, Ankur" userId="S::anprakash@deloitte.com::e5ec4ef6-a8ef-421f-ae1a-afd967453ffe" providerId="AD" clId="Web-{6680D65D-5EF6-4E3C-BD18-3BAD019C3C30}" dt="2020-07-13T12:21:18.673" v="28"/>
        <pc:sldMkLst>
          <pc:docMk/>
          <pc:sldMk cId="2797225936" sldId="8974"/>
        </pc:sldMkLst>
      </pc:sldChg>
      <pc:sldChg chg="modSp ord">
        <pc:chgData name="Prakash, Ankur" userId="S::anprakash@deloitte.com::e5ec4ef6-a8ef-421f-ae1a-afd967453ffe" providerId="AD" clId="Web-{6680D65D-5EF6-4E3C-BD18-3BAD019C3C30}" dt="2020-07-13T12:16:30.232" v="24" actId="20577"/>
        <pc:sldMkLst>
          <pc:docMk/>
          <pc:sldMk cId="2296560862" sldId="8975"/>
        </pc:sldMkLst>
        <pc:spChg chg="mod">
          <ac:chgData name="Prakash, Ankur" userId="S::anprakash@deloitte.com::e5ec4ef6-a8ef-421f-ae1a-afd967453ffe" providerId="AD" clId="Web-{6680D65D-5EF6-4E3C-BD18-3BAD019C3C30}" dt="2020-07-13T12:16:30.232" v="24" actId="20577"/>
          <ac:spMkLst>
            <pc:docMk/>
            <pc:sldMk cId="2296560862" sldId="8975"/>
            <ac:spMk id="4" creationId="{7EF24648-5440-4589-919F-861A0E74EBEE}"/>
          </ac:spMkLst>
        </pc:spChg>
      </pc:sldChg>
      <pc:sldChg chg="del">
        <pc:chgData name="Prakash, Ankur" userId="S::anprakash@deloitte.com::e5ec4ef6-a8ef-421f-ae1a-afd967453ffe" providerId="AD" clId="Web-{6680D65D-5EF6-4E3C-BD18-3BAD019C3C30}" dt="2020-07-13T12:09:55.629" v="0"/>
        <pc:sldMkLst>
          <pc:docMk/>
          <pc:sldMk cId="3299632474" sldId="8976"/>
        </pc:sldMkLst>
      </pc:sldChg>
    </pc:docChg>
  </pc:docChgLst>
  <pc:docChgLst>
    <pc:chgData name="M, Shilpa Goud" userId="S::shilpam@deloitte.com::a9d4caf0-26bb-4255-ac96-11e70e69739c" providerId="AD" clId="Web-{1FC61096-A98F-4A3D-97AF-45AB47A711C6}"/>
    <pc:docChg chg="modSld">
      <pc:chgData name="M, Shilpa Goud" userId="S::shilpam@deloitte.com::a9d4caf0-26bb-4255-ac96-11e70e69739c" providerId="AD" clId="Web-{1FC61096-A98F-4A3D-97AF-45AB47A711C6}" dt="2020-12-02T07:25:19.890" v="14" actId="20577"/>
      <pc:docMkLst>
        <pc:docMk/>
      </pc:docMkLst>
      <pc:sldChg chg="modSp">
        <pc:chgData name="M, Shilpa Goud" userId="S::shilpam@deloitte.com::a9d4caf0-26bb-4255-ac96-11e70e69739c" providerId="AD" clId="Web-{1FC61096-A98F-4A3D-97AF-45AB47A711C6}" dt="2020-12-02T07:25:17.812" v="12" actId="20577"/>
        <pc:sldMkLst>
          <pc:docMk/>
          <pc:sldMk cId="960965317" sldId="8822"/>
        </pc:sldMkLst>
        <pc:spChg chg="mod">
          <ac:chgData name="M, Shilpa Goud" userId="S::shilpam@deloitte.com::a9d4caf0-26bb-4255-ac96-11e70e69739c" providerId="AD" clId="Web-{1FC61096-A98F-4A3D-97AF-45AB47A711C6}" dt="2020-12-02T07:25:17.812" v="12" actId="20577"/>
          <ac:spMkLst>
            <pc:docMk/>
            <pc:sldMk cId="960965317" sldId="8822"/>
            <ac:spMk id="2" creationId="{128AC169-3E22-4BE7-A66C-85FDCD0D9814}"/>
          </ac:spMkLst>
        </pc:spChg>
      </pc:sldChg>
    </pc:docChg>
  </pc:docChgLst>
  <pc:docChgLst>
    <pc:chgData name="Majjiga, Swetha Reddy" userId="S::smajjiga@deloitte.com::5540cba4-1ece-4c56-97c2-75b6521b9cee" providerId="AD" clId="Web-{63FFA1A3-7543-49B4-A18D-4958431A5F64}"/>
    <pc:docChg chg="modSld">
      <pc:chgData name="Majjiga, Swetha Reddy" userId="S::smajjiga@deloitte.com::5540cba4-1ece-4c56-97c2-75b6521b9cee" providerId="AD" clId="Web-{63FFA1A3-7543-49B4-A18D-4958431A5F64}" dt="2020-11-16T09:06:16.493" v="99" actId="20577"/>
      <pc:docMkLst>
        <pc:docMk/>
      </pc:docMkLst>
      <pc:sldChg chg="delSp modSp">
        <pc:chgData name="Majjiga, Swetha Reddy" userId="S::smajjiga@deloitte.com::5540cba4-1ece-4c56-97c2-75b6521b9cee" providerId="AD" clId="Web-{63FFA1A3-7543-49B4-A18D-4958431A5F64}" dt="2020-11-16T09:06:16.493" v="99" actId="20577"/>
        <pc:sldMkLst>
          <pc:docMk/>
          <pc:sldMk cId="4099786269" sldId="8812"/>
        </pc:sldMkLst>
        <pc:spChg chg="mod">
          <ac:chgData name="Majjiga, Swetha Reddy" userId="S::smajjiga@deloitte.com::5540cba4-1ece-4c56-97c2-75b6521b9cee" providerId="AD" clId="Web-{63FFA1A3-7543-49B4-A18D-4958431A5F64}" dt="2020-11-16T09:06:16.493" v="99" actId="20577"/>
          <ac:spMkLst>
            <pc:docMk/>
            <pc:sldMk cId="4099786269" sldId="8812"/>
            <ac:spMk id="4" creationId="{00000000-0000-0000-0000-000000000000}"/>
          </ac:spMkLst>
        </pc:spChg>
        <pc:spChg chg="del mod">
          <ac:chgData name="Majjiga, Swetha Reddy" userId="S::smajjiga@deloitte.com::5540cba4-1ece-4c56-97c2-75b6521b9cee" providerId="AD" clId="Web-{63FFA1A3-7543-49B4-A18D-4958431A5F64}" dt="2020-11-16T09:04:21.834" v="79"/>
          <ac:spMkLst>
            <pc:docMk/>
            <pc:sldMk cId="4099786269" sldId="8812"/>
            <ac:spMk id="6" creationId="{A42BB4E6-03A6-4905-B7B0-17CDDB106D93}"/>
          </ac:spMkLst>
        </pc:spChg>
      </pc:sldChg>
    </pc:docChg>
  </pc:docChgLst>
  <pc:docChgLst>
    <pc:chgData name="Sharma Palla, Rakesh" userId="S::rsharmapalla@deloitte.com::10f9904b-c976-486e-940c-ca5698800d24" providerId="AD" clId="Web-{4D942404-81B3-4D15-9242-527837E88413}"/>
    <pc:docChg chg="modSld">
      <pc:chgData name="Sharma Palla, Rakesh" userId="S::rsharmapalla@deloitte.com::10f9904b-c976-486e-940c-ca5698800d24" providerId="AD" clId="Web-{4D942404-81B3-4D15-9242-527837E88413}" dt="2021-03-22T18:37:38.313" v="111" actId="20577"/>
      <pc:docMkLst>
        <pc:docMk/>
      </pc:docMkLst>
      <pc:sldChg chg="modSp">
        <pc:chgData name="Sharma Palla, Rakesh" userId="S::rsharmapalla@deloitte.com::10f9904b-c976-486e-940c-ca5698800d24" providerId="AD" clId="Web-{4D942404-81B3-4D15-9242-527837E88413}" dt="2021-03-22T18:37:38.313" v="111" actId="20577"/>
        <pc:sldMkLst>
          <pc:docMk/>
          <pc:sldMk cId="1078693895" sldId="268"/>
        </pc:sldMkLst>
        <pc:spChg chg="mod">
          <ac:chgData name="Sharma Palla, Rakesh" userId="S::rsharmapalla@deloitte.com::10f9904b-c976-486e-940c-ca5698800d24" providerId="AD" clId="Web-{4D942404-81B3-4D15-9242-527837E88413}" dt="2021-03-22T18:37:38.313" v="111" actId="20577"/>
          <ac:spMkLst>
            <pc:docMk/>
            <pc:sldMk cId="1078693895" sldId="268"/>
            <ac:spMk id="20" creationId="{97F95232-FAF7-4FBD-A394-067DD3DBBE84}"/>
          </ac:spMkLst>
        </pc:spChg>
      </pc:sldChg>
      <pc:sldChg chg="modSp">
        <pc:chgData name="Sharma Palla, Rakesh" userId="S::rsharmapalla@deloitte.com::10f9904b-c976-486e-940c-ca5698800d24" providerId="AD" clId="Web-{4D942404-81B3-4D15-9242-527837E88413}" dt="2021-03-22T18:33:07.651" v="3"/>
        <pc:sldMkLst>
          <pc:docMk/>
          <pc:sldMk cId="847777020" sldId="8791"/>
        </pc:sldMkLst>
        <pc:graphicFrameChg chg="mod modGraphic">
          <ac:chgData name="Sharma Palla, Rakesh" userId="S::rsharmapalla@deloitte.com::10f9904b-c976-486e-940c-ca5698800d24" providerId="AD" clId="Web-{4D942404-81B3-4D15-9242-527837E88413}" dt="2021-03-22T18:33:07.651" v="3"/>
          <ac:graphicFrameMkLst>
            <pc:docMk/>
            <pc:sldMk cId="847777020" sldId="8791"/>
            <ac:graphicFrameMk id="2" creationId="{047A132D-3FAE-48C5-BD5F-C01213AAD2F4}"/>
          </ac:graphicFrameMkLst>
        </pc:graphicFrameChg>
      </pc:sldChg>
    </pc:docChg>
  </pc:docChgLst>
  <pc:docChgLst>
    <pc:chgData name="Jivrajani, Dharini" userId="S::djivrajani@deloitte.com::9f28c9a6-e07b-4de5-8682-ac3f5c875595" providerId="AD" clId="Web-{CD3A20C5-CEEE-42CE-8F26-5691FC637925}"/>
    <pc:docChg chg="modSld">
      <pc:chgData name="Jivrajani, Dharini" userId="S::djivrajani@deloitte.com::9f28c9a6-e07b-4de5-8682-ac3f5c875595" providerId="AD" clId="Web-{CD3A20C5-CEEE-42CE-8F26-5691FC637925}" dt="2021-06-28T11:05:30.104" v="1"/>
      <pc:docMkLst>
        <pc:docMk/>
      </pc:docMkLst>
      <pc:sldChg chg="addSp delSp">
        <pc:chgData name="Jivrajani, Dharini" userId="S::djivrajani@deloitte.com::9f28c9a6-e07b-4de5-8682-ac3f5c875595" providerId="AD" clId="Web-{CD3A20C5-CEEE-42CE-8F26-5691FC637925}" dt="2021-06-28T11:05:30.104" v="1"/>
        <pc:sldMkLst>
          <pc:docMk/>
          <pc:sldMk cId="3491360341" sldId="8786"/>
        </pc:sldMkLst>
        <pc:grpChg chg="add del">
          <ac:chgData name="Jivrajani, Dharini" userId="S::djivrajani@deloitte.com::9f28c9a6-e07b-4de5-8682-ac3f5c875595" providerId="AD" clId="Web-{CD3A20C5-CEEE-42CE-8F26-5691FC637925}" dt="2021-06-28T11:05:30.104" v="1"/>
          <ac:grpSpMkLst>
            <pc:docMk/>
            <pc:sldMk cId="3491360341" sldId="8786"/>
            <ac:grpSpMk id="39" creationId="{1031A64B-10D5-42F7-A8D2-67DF00923AEE}"/>
          </ac:grpSpMkLst>
        </pc:grpChg>
      </pc:sldChg>
    </pc:docChg>
  </pc:docChgLst>
  <pc:docChgLst>
    <pc:chgData name="Kutas-Hille, Janine" userId="S::jkutashille@deloitte.com::0788d68a-0adc-44ef-94ed-31189926cb8f" providerId="AD" clId="Web-{C235C9EB-1779-46B0-BEA7-5F87CB68DA23}"/>
    <pc:docChg chg="modSld">
      <pc:chgData name="Kutas-Hille, Janine" userId="S::jkutashille@deloitte.com::0788d68a-0adc-44ef-94ed-31189926cb8f" providerId="AD" clId="Web-{C235C9EB-1779-46B0-BEA7-5F87CB68DA23}" dt="2020-07-14T03:07:06.010" v="194" actId="20577"/>
      <pc:docMkLst>
        <pc:docMk/>
      </pc:docMkLst>
      <pc:sldChg chg="addSp modSp">
        <pc:chgData name="Kutas-Hille, Janine" userId="S::jkutashille@deloitte.com::0788d68a-0adc-44ef-94ed-31189926cb8f" providerId="AD" clId="Web-{C235C9EB-1779-46B0-BEA7-5F87CB68DA23}" dt="2020-07-14T03:05:37.600" v="192" actId="20577"/>
        <pc:sldMkLst>
          <pc:docMk/>
          <pc:sldMk cId="1180582917" sldId="8835"/>
        </pc:sldMkLst>
        <pc:spChg chg="add mod">
          <ac:chgData name="Kutas-Hille, Janine" userId="S::jkutashille@deloitte.com::0788d68a-0adc-44ef-94ed-31189926cb8f" providerId="AD" clId="Web-{C235C9EB-1779-46B0-BEA7-5F87CB68DA23}" dt="2020-07-14T03:05:37.600" v="192" actId="20577"/>
          <ac:spMkLst>
            <pc:docMk/>
            <pc:sldMk cId="1180582917" sldId="8835"/>
            <ac:spMk id="3" creationId="{21BBA9DD-83F9-4617-84E4-6CAA74E3B9FB}"/>
          </ac:spMkLst>
        </pc:spChg>
      </pc:sldChg>
    </pc:docChg>
  </pc:docChgLst>
  <pc:docChgLst>
    <pc:chgData name="Hamilton, Benedict" userId="2d0b5eb9-705c-4e00-86df-cc05939905b7" providerId="ADAL" clId="{74EBDFC3-A03B-42FB-A53F-F4E5BFAB2FF0}"/>
    <pc:docChg chg="addSld delSld modSld modSection">
      <pc:chgData name="Hamilton, Benedict" userId="2d0b5eb9-705c-4e00-86df-cc05939905b7" providerId="ADAL" clId="{74EBDFC3-A03B-42FB-A53F-F4E5BFAB2FF0}" dt="2020-12-01T13:34:58.728" v="5" actId="2696"/>
      <pc:docMkLst>
        <pc:docMk/>
      </pc:docMkLst>
      <pc:sldChg chg="add del setBg">
        <pc:chgData name="Hamilton, Benedict" userId="2d0b5eb9-705c-4e00-86df-cc05939905b7" providerId="ADAL" clId="{74EBDFC3-A03B-42FB-A53F-F4E5BFAB2FF0}" dt="2020-12-01T13:34:27.526" v="2"/>
        <pc:sldMkLst>
          <pc:docMk/>
          <pc:sldMk cId="1851280809" sldId="2427"/>
        </pc:sldMkLst>
      </pc:sldChg>
      <pc:sldChg chg="del">
        <pc:chgData name="Hamilton, Benedict" userId="2d0b5eb9-705c-4e00-86df-cc05939905b7" providerId="ADAL" clId="{74EBDFC3-A03B-42FB-A53F-F4E5BFAB2FF0}" dt="2020-12-01T13:34:44.917" v="3" actId="2696"/>
        <pc:sldMkLst>
          <pc:docMk/>
          <pc:sldMk cId="617162357" sldId="8972"/>
        </pc:sldMkLst>
      </pc:sldChg>
      <pc:sldChg chg="del">
        <pc:chgData name="Hamilton, Benedict" userId="2d0b5eb9-705c-4e00-86df-cc05939905b7" providerId="ADAL" clId="{74EBDFC3-A03B-42FB-A53F-F4E5BFAB2FF0}" dt="2020-12-01T13:34:58.728" v="5" actId="2696"/>
        <pc:sldMkLst>
          <pc:docMk/>
          <pc:sldMk cId="3771938515" sldId="9005"/>
        </pc:sldMkLst>
      </pc:sldChg>
      <pc:sldChg chg="del">
        <pc:chgData name="Hamilton, Benedict" userId="2d0b5eb9-705c-4e00-86df-cc05939905b7" providerId="ADAL" clId="{74EBDFC3-A03B-42FB-A53F-F4E5BFAB2FF0}" dt="2020-12-01T13:34:45.844" v="4" actId="2696"/>
        <pc:sldMkLst>
          <pc:docMk/>
          <pc:sldMk cId="619305992" sldId="9023"/>
        </pc:sldMkLst>
      </pc:sldChg>
    </pc:docChg>
  </pc:docChgLst>
  <pc:docChgLst>
    <pc:chgData name="Kutas-Hille, Janine" userId="S::jkutashille@deloitte.com::0788d68a-0adc-44ef-94ed-31189926cb8f" providerId="AD" clId="Web-{9ABFBCE9-C5D2-42B5-946D-50755835AFD5}"/>
    <pc:docChg chg="modSld">
      <pc:chgData name="Kutas-Hille, Janine" userId="S::jkutashille@deloitte.com::0788d68a-0adc-44ef-94ed-31189926cb8f" providerId="AD" clId="Web-{9ABFBCE9-C5D2-42B5-946D-50755835AFD5}" dt="2020-07-14T04:57:26.523" v="30" actId="20577"/>
      <pc:docMkLst>
        <pc:docMk/>
      </pc:docMkLst>
      <pc:sldChg chg="modSp">
        <pc:chgData name="Kutas-Hille, Janine" userId="S::jkutashille@deloitte.com::0788d68a-0adc-44ef-94ed-31189926cb8f" providerId="AD" clId="Web-{9ABFBCE9-C5D2-42B5-946D-50755835AFD5}" dt="2020-07-14T04:57:19.242" v="28" actId="20577"/>
        <pc:sldMkLst>
          <pc:docMk/>
          <pc:sldMk cId="1180582917" sldId="8835"/>
        </pc:sldMkLst>
        <pc:spChg chg="mod">
          <ac:chgData name="Kutas-Hille, Janine" userId="S::jkutashille@deloitte.com::0788d68a-0adc-44ef-94ed-31189926cb8f" providerId="AD" clId="Web-{9ABFBCE9-C5D2-42B5-946D-50755835AFD5}" dt="2020-07-14T04:57:19.242" v="28" actId="20577"/>
          <ac:spMkLst>
            <pc:docMk/>
            <pc:sldMk cId="1180582917" sldId="8835"/>
            <ac:spMk id="3" creationId="{21BBA9DD-83F9-4617-84E4-6CAA74E3B9FB}"/>
          </ac:spMkLst>
        </pc:spChg>
      </pc:sldChg>
    </pc:docChg>
  </pc:docChgLst>
  <pc:docChgLst>
    <pc:chgData name="Mukherjee, Krishnendu" userId="8df999e8-a9d6-4973-bdc2-708772ae3d9d" providerId="ADAL" clId="{98F00585-DD0A-448E-9D44-9D5EEEAF84F8}"/>
    <pc:docChg chg="modSld">
      <pc:chgData name="Mukherjee, Krishnendu" userId="8df999e8-a9d6-4973-bdc2-708772ae3d9d" providerId="ADAL" clId="{98F00585-DD0A-448E-9D44-9D5EEEAF84F8}" dt="2021-05-26T09:46:53.061" v="42" actId="20577"/>
      <pc:docMkLst>
        <pc:docMk/>
      </pc:docMkLst>
      <pc:sldChg chg="addSp modSp">
        <pc:chgData name="Mukherjee, Krishnendu" userId="8df999e8-a9d6-4973-bdc2-708772ae3d9d" providerId="ADAL" clId="{98F00585-DD0A-448E-9D44-9D5EEEAF84F8}" dt="2021-05-26T09:46:53.061" v="42" actId="20577"/>
        <pc:sldMkLst>
          <pc:docMk/>
          <pc:sldMk cId="2838729022" sldId="273"/>
        </pc:sldMkLst>
        <pc:spChg chg="mod">
          <ac:chgData name="Mukherjee, Krishnendu" userId="8df999e8-a9d6-4973-bdc2-708772ae3d9d" providerId="ADAL" clId="{98F00585-DD0A-448E-9D44-9D5EEEAF84F8}" dt="2021-05-25T14:09:04.368" v="6" actId="14100"/>
          <ac:spMkLst>
            <pc:docMk/>
            <pc:sldMk cId="2838729022" sldId="273"/>
            <ac:spMk id="8" creationId="{D575AE6A-333D-411A-B04C-ACACD067D7F1}"/>
          </ac:spMkLst>
        </pc:spChg>
        <pc:spChg chg="add mod">
          <ac:chgData name="Mukherjee, Krishnendu" userId="8df999e8-a9d6-4973-bdc2-708772ae3d9d" providerId="ADAL" clId="{98F00585-DD0A-448E-9D44-9D5EEEAF84F8}" dt="2021-05-26T09:46:53.061" v="42" actId="20577"/>
          <ac:spMkLst>
            <pc:docMk/>
            <pc:sldMk cId="2838729022" sldId="273"/>
            <ac:spMk id="19" creationId="{64BD5ACF-7C7C-4E53-AB48-B6705CDBDF70}"/>
          </ac:spMkLst>
        </pc:spChg>
        <pc:picChg chg="mod">
          <ac:chgData name="Mukherjee, Krishnendu" userId="8df999e8-a9d6-4973-bdc2-708772ae3d9d" providerId="ADAL" clId="{98F00585-DD0A-448E-9D44-9D5EEEAF84F8}" dt="2021-05-26T09:44:27.065" v="33" actId="1076"/>
          <ac:picMkLst>
            <pc:docMk/>
            <pc:sldMk cId="2838729022" sldId="273"/>
            <ac:picMk id="4" creationId="{1DCF4F4E-EEE7-4D66-9823-9986E3230B82}"/>
          </ac:picMkLst>
        </pc:picChg>
        <pc:picChg chg="mod">
          <ac:chgData name="Mukherjee, Krishnendu" userId="8df999e8-a9d6-4973-bdc2-708772ae3d9d" providerId="ADAL" clId="{98F00585-DD0A-448E-9D44-9D5EEEAF84F8}" dt="2021-05-25T14:08:31.426" v="1" actId="1076"/>
          <ac:picMkLst>
            <pc:docMk/>
            <pc:sldMk cId="2838729022" sldId="273"/>
            <ac:picMk id="16" creationId="{F6C63C99-1DEC-4908-A294-FA1CE3B31AA3}"/>
          </ac:picMkLst>
        </pc:picChg>
      </pc:sldChg>
      <pc:sldChg chg="addSp modSp">
        <pc:chgData name="Mukherjee, Krishnendu" userId="8df999e8-a9d6-4973-bdc2-708772ae3d9d" providerId="ADAL" clId="{98F00585-DD0A-448E-9D44-9D5EEEAF84F8}" dt="2021-05-26T09:39:30.942" v="31" actId="1076"/>
        <pc:sldMkLst>
          <pc:docMk/>
          <pc:sldMk cId="1298414651" sldId="274"/>
        </pc:sldMkLst>
        <pc:spChg chg="mod">
          <ac:chgData name="Mukherjee, Krishnendu" userId="8df999e8-a9d6-4973-bdc2-708772ae3d9d" providerId="ADAL" clId="{98F00585-DD0A-448E-9D44-9D5EEEAF84F8}" dt="2021-05-26T09:38:29.491" v="7" actId="1076"/>
          <ac:spMkLst>
            <pc:docMk/>
            <pc:sldMk cId="1298414651" sldId="274"/>
            <ac:spMk id="6" creationId="{BAFDF251-1B3D-4FC1-A68C-2260D8AA4EF7}"/>
          </ac:spMkLst>
        </pc:spChg>
        <pc:spChg chg="add mod">
          <ac:chgData name="Mukherjee, Krishnendu" userId="8df999e8-a9d6-4973-bdc2-708772ae3d9d" providerId="ADAL" clId="{98F00585-DD0A-448E-9D44-9D5EEEAF84F8}" dt="2021-05-26T09:39:26.241" v="30" actId="20577"/>
          <ac:spMkLst>
            <pc:docMk/>
            <pc:sldMk cId="1298414651" sldId="274"/>
            <ac:spMk id="18" creationId="{7BDF55C7-39C2-4DDA-B126-A21CBE24DC6D}"/>
          </ac:spMkLst>
        </pc:spChg>
        <pc:picChg chg="mod">
          <ac:chgData name="Mukherjee, Krishnendu" userId="8df999e8-a9d6-4973-bdc2-708772ae3d9d" providerId="ADAL" clId="{98F00585-DD0A-448E-9D44-9D5EEEAF84F8}" dt="2021-05-26T09:39:30.942" v="31" actId="1076"/>
          <ac:picMkLst>
            <pc:docMk/>
            <pc:sldMk cId="1298414651" sldId="274"/>
            <ac:picMk id="15" creationId="{0E5390D4-31E4-42E1-B939-296F8108BCAB}"/>
          </ac:picMkLst>
        </pc:picChg>
      </pc:sldChg>
    </pc:docChg>
  </pc:docChgLst>
  <pc:docChgLst>
    <pc:chgData name="Jivrajani, Dharini" userId="S::djivrajani@deloitte.com::9f28c9a6-e07b-4de5-8682-ac3f5c875595" providerId="AD" clId="Web-{F9FF681E-70B7-4DAB-AD19-5EDB5BEA9FDC}"/>
    <pc:docChg chg="modSld">
      <pc:chgData name="Jivrajani, Dharini" userId="S::djivrajani@deloitte.com::9f28c9a6-e07b-4de5-8682-ac3f5c875595" providerId="AD" clId="Web-{F9FF681E-70B7-4DAB-AD19-5EDB5BEA9FDC}" dt="2021-07-12T02:10:06.806" v="378" actId="20577"/>
      <pc:docMkLst>
        <pc:docMk/>
      </pc:docMkLst>
      <pc:sldChg chg="modSp delCm">
        <pc:chgData name="Jivrajani, Dharini" userId="S::djivrajani@deloitte.com::9f28c9a6-e07b-4de5-8682-ac3f5c875595" providerId="AD" clId="Web-{F9FF681E-70B7-4DAB-AD19-5EDB5BEA9FDC}" dt="2021-07-12T01:59:05.897" v="14" actId="20577"/>
        <pc:sldMkLst>
          <pc:docMk/>
          <pc:sldMk cId="27039556" sldId="8820"/>
        </pc:sldMkLst>
        <pc:spChg chg="mod">
          <ac:chgData name="Jivrajani, Dharini" userId="S::djivrajani@deloitte.com::9f28c9a6-e07b-4de5-8682-ac3f5c875595" providerId="AD" clId="Web-{F9FF681E-70B7-4DAB-AD19-5EDB5BEA9FDC}" dt="2021-07-12T01:59:05.897" v="14" actId="20577"/>
          <ac:spMkLst>
            <pc:docMk/>
            <pc:sldMk cId="27039556" sldId="8820"/>
            <ac:spMk id="7" creationId="{5817664F-7DC8-47E5-B7B9-14F4F2B2E734}"/>
          </ac:spMkLst>
        </pc:spChg>
      </pc:sldChg>
      <pc:sldChg chg="modSp">
        <pc:chgData name="Jivrajani, Dharini" userId="S::djivrajani@deloitte.com::9f28c9a6-e07b-4de5-8682-ac3f5c875595" providerId="AD" clId="Web-{F9FF681E-70B7-4DAB-AD19-5EDB5BEA9FDC}" dt="2021-07-12T01:59:30.507" v="16" actId="20577"/>
        <pc:sldMkLst>
          <pc:docMk/>
          <pc:sldMk cId="960965317" sldId="8822"/>
        </pc:sldMkLst>
        <pc:spChg chg="mod">
          <ac:chgData name="Jivrajani, Dharini" userId="S::djivrajani@deloitte.com::9f28c9a6-e07b-4de5-8682-ac3f5c875595" providerId="AD" clId="Web-{F9FF681E-70B7-4DAB-AD19-5EDB5BEA9FDC}" dt="2021-07-12T01:59:30.507" v="16" actId="20577"/>
          <ac:spMkLst>
            <pc:docMk/>
            <pc:sldMk cId="960965317" sldId="8822"/>
            <ac:spMk id="2" creationId="{128AC169-3E22-4BE7-A66C-85FDCD0D9814}"/>
          </ac:spMkLst>
        </pc:spChg>
      </pc:sldChg>
      <pc:sldChg chg="delSp modSp">
        <pc:chgData name="Jivrajani, Dharini" userId="S::djivrajani@deloitte.com::9f28c9a6-e07b-4de5-8682-ac3f5c875595" providerId="AD" clId="Web-{F9FF681E-70B7-4DAB-AD19-5EDB5BEA9FDC}" dt="2021-07-12T02:10:06.806" v="378" actId="20577"/>
        <pc:sldMkLst>
          <pc:docMk/>
          <pc:sldMk cId="4229778780" sldId="9042"/>
        </pc:sldMkLst>
        <pc:spChg chg="mod">
          <ac:chgData name="Jivrajani, Dharini" userId="S::djivrajani@deloitte.com::9f28c9a6-e07b-4de5-8682-ac3f5c875595" providerId="AD" clId="Web-{F9FF681E-70B7-4DAB-AD19-5EDB5BEA9FDC}" dt="2021-07-12T02:10:06.806" v="378" actId="20577"/>
          <ac:spMkLst>
            <pc:docMk/>
            <pc:sldMk cId="4229778780" sldId="9042"/>
            <ac:spMk id="2" creationId="{F784B697-AB8A-478B-8CB0-D9562795C192}"/>
          </ac:spMkLst>
        </pc:spChg>
        <pc:spChg chg="mod">
          <ac:chgData name="Jivrajani, Dharini" userId="S::djivrajani@deloitte.com::9f28c9a6-e07b-4de5-8682-ac3f5c875595" providerId="AD" clId="Web-{F9FF681E-70B7-4DAB-AD19-5EDB5BEA9FDC}" dt="2021-07-12T02:10:01.228" v="375" actId="1076"/>
          <ac:spMkLst>
            <pc:docMk/>
            <pc:sldMk cId="4229778780" sldId="9042"/>
            <ac:spMk id="4" creationId="{2414D946-1652-4D8A-9BAA-018A4ACA57B3}"/>
          </ac:spMkLst>
        </pc:spChg>
        <pc:spChg chg="del mod">
          <ac:chgData name="Jivrajani, Dharini" userId="S::djivrajani@deloitte.com::9f28c9a6-e07b-4de5-8682-ac3f5c875595" providerId="AD" clId="Web-{F9FF681E-70B7-4DAB-AD19-5EDB5BEA9FDC}" dt="2021-07-12T02:00:09.446" v="18"/>
          <ac:spMkLst>
            <pc:docMk/>
            <pc:sldMk cId="4229778780" sldId="9042"/>
            <ac:spMk id="5" creationId="{FF0A6567-72DB-449A-8520-40283E54F539}"/>
          </ac:spMkLst>
        </pc:spChg>
      </pc:sldChg>
      <pc:sldChg chg="delSp modSp">
        <pc:chgData name="Jivrajani, Dharini" userId="S::djivrajani@deloitte.com::9f28c9a6-e07b-4de5-8682-ac3f5c875595" providerId="AD" clId="Web-{F9FF681E-70B7-4DAB-AD19-5EDB5BEA9FDC}" dt="2021-07-12T02:09:23.836" v="361" actId="20577"/>
        <pc:sldMkLst>
          <pc:docMk/>
          <pc:sldMk cId="400888471" sldId="9043"/>
        </pc:sldMkLst>
        <pc:spChg chg="mod">
          <ac:chgData name="Jivrajani, Dharini" userId="S::djivrajani@deloitte.com::9f28c9a6-e07b-4de5-8682-ac3f5c875595" providerId="AD" clId="Web-{F9FF681E-70B7-4DAB-AD19-5EDB5BEA9FDC}" dt="2021-07-12T02:09:23.836" v="361" actId="20577"/>
          <ac:spMkLst>
            <pc:docMk/>
            <pc:sldMk cId="400888471" sldId="9043"/>
            <ac:spMk id="3" creationId="{EA75897A-C604-461A-AEA3-93D3E8B3F628}"/>
          </ac:spMkLst>
        </pc:spChg>
        <pc:spChg chg="del">
          <ac:chgData name="Jivrajani, Dharini" userId="S::djivrajani@deloitte.com::9f28c9a6-e07b-4de5-8682-ac3f5c875595" providerId="AD" clId="Web-{F9FF681E-70B7-4DAB-AD19-5EDB5BEA9FDC}" dt="2021-07-12T02:00:14.680" v="19"/>
          <ac:spMkLst>
            <pc:docMk/>
            <pc:sldMk cId="400888471" sldId="9043"/>
            <ac:spMk id="4" creationId="{4574A883-E379-42AE-8247-71CEF1AFA831}"/>
          </ac:spMkLst>
        </pc:spChg>
      </pc:sldChg>
    </pc:docChg>
  </pc:docChgLst>
  <pc:docChgLst>
    <pc:chgData name="Ghosh, Anindya" userId="S::anighosh@deloitte.com::1c8636f3-f28e-411c-9bbf-d78a395a60f5" providerId="AD" clId="Web-{F813FE19-CA1B-4C85-B1F7-2D2A8FB673F6}"/>
    <pc:docChg chg="modSld">
      <pc:chgData name="Ghosh, Anindya" userId="S::anighosh@deloitte.com::1c8636f3-f28e-411c-9bbf-d78a395a60f5" providerId="AD" clId="Web-{F813FE19-CA1B-4C85-B1F7-2D2A8FB673F6}" dt="2021-07-07T14:00:51.889" v="108" actId="20577"/>
      <pc:docMkLst>
        <pc:docMk/>
      </pc:docMkLst>
      <pc:sldChg chg="delSp modSp">
        <pc:chgData name="Ghosh, Anindya" userId="S::anighosh@deloitte.com::1c8636f3-f28e-411c-9bbf-d78a395a60f5" providerId="AD" clId="Web-{F813FE19-CA1B-4C85-B1F7-2D2A8FB673F6}" dt="2021-07-07T14:00:51.889" v="108" actId="20577"/>
        <pc:sldMkLst>
          <pc:docMk/>
          <pc:sldMk cId="4169581344" sldId="8798"/>
        </pc:sldMkLst>
        <pc:spChg chg="mod">
          <ac:chgData name="Ghosh, Anindya" userId="S::anighosh@deloitte.com::1c8636f3-f28e-411c-9bbf-d78a395a60f5" providerId="AD" clId="Web-{F813FE19-CA1B-4C85-B1F7-2D2A8FB673F6}" dt="2021-07-07T14:00:51.889" v="108" actId="20577"/>
          <ac:spMkLst>
            <pc:docMk/>
            <pc:sldMk cId="4169581344" sldId="8798"/>
            <ac:spMk id="3" creationId="{BCEB1B60-2A70-48F8-B225-997AF7F15017}"/>
          </ac:spMkLst>
        </pc:spChg>
        <pc:spChg chg="del">
          <ac:chgData name="Ghosh, Anindya" userId="S::anighosh@deloitte.com::1c8636f3-f28e-411c-9bbf-d78a395a60f5" providerId="AD" clId="Web-{F813FE19-CA1B-4C85-B1F7-2D2A8FB673F6}" dt="2021-07-07T13:58:49.061" v="0"/>
          <ac:spMkLst>
            <pc:docMk/>
            <pc:sldMk cId="4169581344" sldId="8798"/>
            <ac:spMk id="5" creationId="{D7B203DC-82C0-4825-8C79-4C2B9DBACBA5}"/>
          </ac:spMkLst>
        </pc:spChg>
      </pc:sldChg>
    </pc:docChg>
  </pc:docChgLst>
  <pc:docChgLst>
    <pc:chgData name="Kommatreddy, Chaitanya" userId="44a1469f-b03c-453c-8c31-90f831355cdb" providerId="ADAL" clId="{7BBB3020-8827-4921-BC1C-932A2C5C9086}"/>
    <pc:docChg chg="undo custSel mod addSld delSld modSld sldOrd modSection">
      <pc:chgData name="Kommatreddy, Chaitanya" userId="44a1469f-b03c-453c-8c31-90f831355cdb" providerId="ADAL" clId="{7BBB3020-8827-4921-BC1C-932A2C5C9086}" dt="2020-12-02T15:01:17.576" v="1865" actId="14100"/>
      <pc:docMkLst>
        <pc:docMk/>
      </pc:docMkLst>
      <pc:sldChg chg="delSp">
        <pc:chgData name="Kommatreddy, Chaitanya" userId="44a1469f-b03c-453c-8c31-90f831355cdb" providerId="ADAL" clId="{7BBB3020-8827-4921-BC1C-932A2C5C9086}" dt="2020-11-30T15:42:41.831" v="1401" actId="478"/>
        <pc:sldMkLst>
          <pc:docMk/>
          <pc:sldMk cId="636999727" sldId="256"/>
        </pc:sldMkLst>
        <pc:spChg chg="del">
          <ac:chgData name="Kommatreddy, Chaitanya" userId="44a1469f-b03c-453c-8c31-90f831355cdb" providerId="ADAL" clId="{7BBB3020-8827-4921-BC1C-932A2C5C9086}" dt="2020-11-30T15:42:41.831" v="1401" actId="478"/>
          <ac:spMkLst>
            <pc:docMk/>
            <pc:sldMk cId="636999727" sldId="256"/>
            <ac:spMk id="8" creationId="{4A1CC3F3-B8AA-4BD4-AFED-1CDFBF935664}"/>
          </ac:spMkLst>
        </pc:spChg>
      </pc:sldChg>
      <pc:sldChg chg="modSp">
        <pc:chgData name="Kommatreddy, Chaitanya" userId="44a1469f-b03c-453c-8c31-90f831355cdb" providerId="ADAL" clId="{7BBB3020-8827-4921-BC1C-932A2C5C9086}" dt="2020-12-02T06:16:13.389" v="1568" actId="1037"/>
        <pc:sldMkLst>
          <pc:docMk/>
          <pc:sldMk cId="2093104445" sldId="269"/>
        </pc:sldMkLst>
        <pc:spChg chg="mod">
          <ac:chgData name="Kommatreddy, Chaitanya" userId="44a1469f-b03c-453c-8c31-90f831355cdb" providerId="ADAL" clId="{7BBB3020-8827-4921-BC1C-932A2C5C9086}" dt="2020-12-02T06:16:13.389" v="1568" actId="1037"/>
          <ac:spMkLst>
            <pc:docMk/>
            <pc:sldMk cId="2093104445" sldId="269"/>
            <ac:spMk id="169" creationId="{00000000-0000-0000-0000-000000000000}"/>
          </ac:spMkLst>
        </pc:spChg>
      </pc:sldChg>
      <pc:sldChg chg="modSp">
        <pc:chgData name="Kommatreddy, Chaitanya" userId="44a1469f-b03c-453c-8c31-90f831355cdb" providerId="ADAL" clId="{7BBB3020-8827-4921-BC1C-932A2C5C9086}" dt="2020-11-30T07:19:31.143" v="149" actId="20577"/>
        <pc:sldMkLst>
          <pc:docMk/>
          <pc:sldMk cId="2506138062" sldId="8782"/>
        </pc:sldMkLst>
        <pc:spChg chg="mod">
          <ac:chgData name="Kommatreddy, Chaitanya" userId="44a1469f-b03c-453c-8c31-90f831355cdb" providerId="ADAL" clId="{7BBB3020-8827-4921-BC1C-932A2C5C9086}" dt="2020-11-30T07:18:54.172" v="130" actId="207"/>
          <ac:spMkLst>
            <pc:docMk/>
            <pc:sldMk cId="2506138062" sldId="8782"/>
            <ac:spMk id="3" creationId="{2B44DC9A-1DE4-4B24-8493-D9073A6B5DAE}"/>
          </ac:spMkLst>
        </pc:spChg>
        <pc:spChg chg="mod">
          <ac:chgData name="Kommatreddy, Chaitanya" userId="44a1469f-b03c-453c-8c31-90f831355cdb" providerId="ADAL" clId="{7BBB3020-8827-4921-BC1C-932A2C5C9086}" dt="2020-11-30T07:19:19.117" v="133" actId="207"/>
          <ac:spMkLst>
            <pc:docMk/>
            <pc:sldMk cId="2506138062" sldId="8782"/>
            <ac:spMk id="4" creationId="{3FAEEAA9-008B-43F6-BAE2-39F36A6706FE}"/>
          </ac:spMkLst>
        </pc:spChg>
        <pc:spChg chg="mod">
          <ac:chgData name="Kommatreddy, Chaitanya" userId="44a1469f-b03c-453c-8c31-90f831355cdb" providerId="ADAL" clId="{7BBB3020-8827-4921-BC1C-932A2C5C9086}" dt="2020-11-30T07:19:31.143" v="149" actId="20577"/>
          <ac:spMkLst>
            <pc:docMk/>
            <pc:sldMk cId="2506138062" sldId="8782"/>
            <ac:spMk id="5" creationId="{8004D1AB-63D8-4594-9D2A-CEEFDE0FE440}"/>
          </ac:spMkLst>
        </pc:spChg>
      </pc:sldChg>
      <pc:sldChg chg="modSp">
        <pc:chgData name="Kommatreddy, Chaitanya" userId="44a1469f-b03c-453c-8c31-90f831355cdb" providerId="ADAL" clId="{7BBB3020-8827-4921-BC1C-932A2C5C9086}" dt="2020-11-30T07:20:21.036" v="183" actId="20577"/>
        <pc:sldMkLst>
          <pc:docMk/>
          <pc:sldMk cId="1709308679" sldId="8783"/>
        </pc:sldMkLst>
        <pc:spChg chg="mod">
          <ac:chgData name="Kommatreddy, Chaitanya" userId="44a1469f-b03c-453c-8c31-90f831355cdb" providerId="ADAL" clId="{7BBB3020-8827-4921-BC1C-932A2C5C9086}" dt="2020-11-30T07:20:21.036" v="183" actId="20577"/>
          <ac:spMkLst>
            <pc:docMk/>
            <pc:sldMk cId="1709308679" sldId="8783"/>
            <ac:spMk id="13" creationId="{EF8A928F-790F-4408-9D94-F7104E6CE2DC}"/>
          </ac:spMkLst>
        </pc:spChg>
      </pc:sldChg>
      <pc:sldChg chg="modSp">
        <pc:chgData name="Kommatreddy, Chaitanya" userId="44a1469f-b03c-453c-8c31-90f831355cdb" providerId="ADAL" clId="{7BBB3020-8827-4921-BC1C-932A2C5C9086}" dt="2020-11-30T07:21:58.228" v="224" actId="20577"/>
        <pc:sldMkLst>
          <pc:docMk/>
          <pc:sldMk cId="3924100793" sldId="8832"/>
        </pc:sldMkLst>
        <pc:spChg chg="mod">
          <ac:chgData name="Kommatreddy, Chaitanya" userId="44a1469f-b03c-453c-8c31-90f831355cdb" providerId="ADAL" clId="{7BBB3020-8827-4921-BC1C-932A2C5C9086}" dt="2020-11-30T07:21:58.228" v="224" actId="20577"/>
          <ac:spMkLst>
            <pc:docMk/>
            <pc:sldMk cId="3924100793" sldId="8832"/>
            <ac:spMk id="4" creationId="{DA74E4A6-3B76-4E6E-8D06-3104FCD110F4}"/>
          </ac:spMkLst>
        </pc:spChg>
      </pc:sldChg>
      <pc:sldChg chg="delSp modSp">
        <pc:chgData name="Kommatreddy, Chaitanya" userId="44a1469f-b03c-453c-8c31-90f831355cdb" providerId="ADAL" clId="{7BBB3020-8827-4921-BC1C-932A2C5C9086}" dt="2020-11-30T15:42:32.369" v="1400" actId="6549"/>
        <pc:sldMkLst>
          <pc:docMk/>
          <pc:sldMk cId="2725184318" sldId="8836"/>
        </pc:sldMkLst>
        <pc:spChg chg="del">
          <ac:chgData name="Kommatreddy, Chaitanya" userId="44a1469f-b03c-453c-8c31-90f831355cdb" providerId="ADAL" clId="{7BBB3020-8827-4921-BC1C-932A2C5C9086}" dt="2020-11-30T15:42:14.518" v="1398" actId="478"/>
          <ac:spMkLst>
            <pc:docMk/>
            <pc:sldMk cId="2725184318" sldId="8836"/>
            <ac:spMk id="4" creationId="{C676C181-32FC-49A3-B41E-9812E455596B}"/>
          </ac:spMkLst>
        </pc:spChg>
        <pc:spChg chg="mod">
          <ac:chgData name="Kommatreddy, Chaitanya" userId="44a1469f-b03c-453c-8c31-90f831355cdb" providerId="ADAL" clId="{7BBB3020-8827-4921-BC1C-932A2C5C9086}" dt="2020-11-30T15:42:32.369" v="1400" actId="6549"/>
          <ac:spMkLst>
            <pc:docMk/>
            <pc:sldMk cId="2725184318" sldId="8836"/>
            <ac:spMk id="13" creationId="{00000000-0000-0000-0000-000000000000}"/>
          </ac:spMkLst>
        </pc:spChg>
      </pc:sldChg>
      <pc:sldChg chg="modSp del">
        <pc:chgData name="Kommatreddy, Chaitanya" userId="44a1469f-b03c-453c-8c31-90f831355cdb" providerId="ADAL" clId="{7BBB3020-8827-4921-BC1C-932A2C5C9086}" dt="2020-11-30T16:26:54.308" v="1551" actId="2696"/>
        <pc:sldMkLst>
          <pc:docMk/>
          <pc:sldMk cId="208755446" sldId="8837"/>
        </pc:sldMkLst>
        <pc:spChg chg="mod">
          <ac:chgData name="Kommatreddy, Chaitanya" userId="44a1469f-b03c-453c-8c31-90f831355cdb" providerId="ADAL" clId="{7BBB3020-8827-4921-BC1C-932A2C5C9086}" dt="2020-11-30T07:30:29.026" v="253" actId="1076"/>
          <ac:spMkLst>
            <pc:docMk/>
            <pc:sldMk cId="208755446" sldId="8837"/>
            <ac:spMk id="7" creationId="{6B5B980A-D249-4682-BD97-0E22696D8193}"/>
          </ac:spMkLst>
        </pc:spChg>
      </pc:sldChg>
      <pc:sldChg chg="delSp modSp del ord">
        <pc:chgData name="Kommatreddy, Chaitanya" userId="44a1469f-b03c-453c-8c31-90f831355cdb" providerId="ADAL" clId="{7BBB3020-8827-4921-BC1C-932A2C5C9086}" dt="2020-11-30T15:46:28.879" v="1406" actId="2696"/>
        <pc:sldMkLst>
          <pc:docMk/>
          <pc:sldMk cId="3472853465" sldId="8838"/>
        </pc:sldMkLst>
        <pc:spChg chg="del">
          <ac:chgData name="Kommatreddy, Chaitanya" userId="44a1469f-b03c-453c-8c31-90f831355cdb" providerId="ADAL" clId="{7BBB3020-8827-4921-BC1C-932A2C5C9086}" dt="2020-11-30T07:26:02.483" v="234" actId="478"/>
          <ac:spMkLst>
            <pc:docMk/>
            <pc:sldMk cId="3472853465" sldId="8838"/>
            <ac:spMk id="6" creationId="{7F8CB397-C422-4E09-913D-3D2F9E65BAD9}"/>
          </ac:spMkLst>
        </pc:spChg>
        <pc:spChg chg="mod">
          <ac:chgData name="Kommatreddy, Chaitanya" userId="44a1469f-b03c-453c-8c31-90f831355cdb" providerId="ADAL" clId="{7BBB3020-8827-4921-BC1C-932A2C5C9086}" dt="2020-11-30T15:46:19.633" v="1402"/>
          <ac:spMkLst>
            <pc:docMk/>
            <pc:sldMk cId="3472853465" sldId="8838"/>
            <ac:spMk id="13" creationId="{00000000-0000-0000-0000-000000000000}"/>
          </ac:spMkLst>
        </pc:spChg>
      </pc:sldChg>
      <pc:sldChg chg="delSp modSp">
        <pc:chgData name="Kommatreddy, Chaitanya" userId="44a1469f-b03c-453c-8c31-90f831355cdb" providerId="ADAL" clId="{7BBB3020-8827-4921-BC1C-932A2C5C9086}" dt="2020-11-30T16:19:49.595" v="1545" actId="6549"/>
        <pc:sldMkLst>
          <pc:docMk/>
          <pc:sldMk cId="3148283714" sldId="8987"/>
        </pc:sldMkLst>
        <pc:spChg chg="del">
          <ac:chgData name="Kommatreddy, Chaitanya" userId="44a1469f-b03c-453c-8c31-90f831355cdb" providerId="ADAL" clId="{7BBB3020-8827-4921-BC1C-932A2C5C9086}" dt="2020-11-30T07:24:58.100" v="228" actId="478"/>
          <ac:spMkLst>
            <pc:docMk/>
            <pc:sldMk cId="3148283714" sldId="8987"/>
            <ac:spMk id="6" creationId="{1C3B9623-E13A-4B2B-B2EF-D2C05FC325F8}"/>
          </ac:spMkLst>
        </pc:spChg>
        <pc:spChg chg="mod">
          <ac:chgData name="Kommatreddy, Chaitanya" userId="44a1469f-b03c-453c-8c31-90f831355cdb" providerId="ADAL" clId="{7BBB3020-8827-4921-BC1C-932A2C5C9086}" dt="2020-11-30T16:19:49.595" v="1545" actId="6549"/>
          <ac:spMkLst>
            <pc:docMk/>
            <pc:sldMk cId="3148283714" sldId="8987"/>
            <ac:spMk id="13" creationId="{00000000-0000-0000-0000-000000000000}"/>
          </ac:spMkLst>
        </pc:spChg>
      </pc:sldChg>
      <pc:sldChg chg="addSp delSp modSp mod modAnim setClrOvrMap">
        <pc:chgData name="Kommatreddy, Chaitanya" userId="44a1469f-b03c-453c-8c31-90f831355cdb" providerId="ADAL" clId="{7BBB3020-8827-4921-BC1C-932A2C5C9086}" dt="2020-12-02T15:01:17.576" v="1865" actId="14100"/>
        <pc:sldMkLst>
          <pc:docMk/>
          <pc:sldMk cId="883180132" sldId="8992"/>
        </pc:sldMkLst>
        <pc:spChg chg="mod">
          <ac:chgData name="Kommatreddy, Chaitanya" userId="44a1469f-b03c-453c-8c31-90f831355cdb" providerId="ADAL" clId="{7BBB3020-8827-4921-BC1C-932A2C5C9086}" dt="2020-11-30T11:37:47.953" v="895" actId="26606"/>
          <ac:spMkLst>
            <pc:docMk/>
            <pc:sldMk cId="883180132" sldId="8992"/>
            <ac:spMk id="4" creationId="{28070241-8247-4E57-B680-44534908C9ED}"/>
          </ac:spMkLst>
        </pc:spChg>
        <pc:spChg chg="del">
          <ac:chgData name="Kommatreddy, Chaitanya" userId="44a1469f-b03c-453c-8c31-90f831355cdb" providerId="ADAL" clId="{7BBB3020-8827-4921-BC1C-932A2C5C9086}" dt="2020-11-30T07:29:37.458" v="238" actId="478"/>
          <ac:spMkLst>
            <pc:docMk/>
            <pc:sldMk cId="883180132" sldId="8992"/>
            <ac:spMk id="6" creationId="{B9E607AF-8EAE-412D-A440-0B4C36FF269A}"/>
          </ac:spMkLst>
        </pc:spChg>
        <pc:spChg chg="add del">
          <ac:chgData name="Kommatreddy, Chaitanya" userId="44a1469f-b03c-453c-8c31-90f831355cdb" providerId="ADAL" clId="{7BBB3020-8827-4921-BC1C-932A2C5C9086}" dt="2020-11-30T07:30:53.659" v="255"/>
          <ac:spMkLst>
            <pc:docMk/>
            <pc:sldMk cId="883180132" sldId="8992"/>
            <ac:spMk id="7" creationId="{2F64FC2D-8413-46F1-96AD-26EF0970D5AC}"/>
          </ac:spMkLst>
        </pc:spChg>
        <pc:spChg chg="add del mod">
          <ac:chgData name="Kommatreddy, Chaitanya" userId="44a1469f-b03c-453c-8c31-90f831355cdb" providerId="ADAL" clId="{7BBB3020-8827-4921-BC1C-932A2C5C9086}" dt="2020-11-30T11:04:59.427" v="730"/>
          <ac:spMkLst>
            <pc:docMk/>
            <pc:sldMk cId="883180132" sldId="8992"/>
            <ac:spMk id="7" creationId="{808A8A0A-AFE9-4C7E-B2A5-7E7E344305CA}"/>
          </ac:spMkLst>
        </pc:spChg>
        <pc:spChg chg="add del mod">
          <ac:chgData name="Kommatreddy, Chaitanya" userId="44a1469f-b03c-453c-8c31-90f831355cdb" providerId="ADAL" clId="{7BBB3020-8827-4921-BC1C-932A2C5C9086}" dt="2020-11-30T07:30:07.979" v="250" actId="478"/>
          <ac:spMkLst>
            <pc:docMk/>
            <pc:sldMk cId="883180132" sldId="8992"/>
            <ac:spMk id="17" creationId="{B061AAEF-0280-4785-AD59-FB4EB77007CA}"/>
          </ac:spMkLst>
        </pc:spChg>
        <pc:spChg chg="mod">
          <ac:chgData name="Kommatreddy, Chaitanya" userId="44a1469f-b03c-453c-8c31-90f831355cdb" providerId="ADAL" clId="{7BBB3020-8827-4921-BC1C-932A2C5C9086}" dt="2020-11-30T11:06:37.442" v="740" actId="1076"/>
          <ac:spMkLst>
            <pc:docMk/>
            <pc:sldMk cId="883180132" sldId="8992"/>
            <ac:spMk id="30" creationId="{21BEC922-B52B-4B60-96BD-9DE01ABB9C89}"/>
          </ac:spMkLst>
        </pc:spChg>
        <pc:spChg chg="add del">
          <ac:chgData name="Kommatreddy, Chaitanya" userId="44a1469f-b03c-453c-8c31-90f831355cdb" providerId="ADAL" clId="{7BBB3020-8827-4921-BC1C-932A2C5C9086}" dt="2020-11-30T11:37:47.953" v="895" actId="26606"/>
          <ac:spMkLst>
            <pc:docMk/>
            <pc:sldMk cId="883180132" sldId="8992"/>
            <ac:spMk id="34" creationId="{CEEF22E7-C7EB-4303-91B7-B38A2A46C2B4}"/>
          </ac:spMkLst>
        </pc:spChg>
        <pc:spChg chg="mod">
          <ac:chgData name="Kommatreddy, Chaitanya" userId="44a1469f-b03c-453c-8c31-90f831355cdb" providerId="ADAL" clId="{7BBB3020-8827-4921-BC1C-932A2C5C9086}" dt="2020-11-30T11:12:06.734" v="757" actId="404"/>
          <ac:spMkLst>
            <pc:docMk/>
            <pc:sldMk cId="883180132" sldId="8992"/>
            <ac:spMk id="37" creationId="{EFE0F76B-3AFB-40A9-81F5-2A15EA5B2AB9}"/>
          </ac:spMkLst>
        </pc:spChg>
        <pc:spChg chg="mod">
          <ac:chgData name="Kommatreddy, Chaitanya" userId="44a1469f-b03c-453c-8c31-90f831355cdb" providerId="ADAL" clId="{7BBB3020-8827-4921-BC1C-932A2C5C9086}" dt="2020-11-30T11:12:12.813" v="758" actId="1076"/>
          <ac:spMkLst>
            <pc:docMk/>
            <pc:sldMk cId="883180132" sldId="8992"/>
            <ac:spMk id="38" creationId="{80ACD1F5-9D5D-4B79-828B-1B7FF60FFC2B}"/>
          </ac:spMkLst>
        </pc:spChg>
        <pc:spChg chg="add del mod ord">
          <ac:chgData name="Kommatreddy, Chaitanya" userId="44a1469f-b03c-453c-8c31-90f831355cdb" providerId="ADAL" clId="{7BBB3020-8827-4921-BC1C-932A2C5C9086}" dt="2020-11-30T11:37:18.576" v="886" actId="478"/>
          <ac:spMkLst>
            <pc:docMk/>
            <pc:sldMk cId="883180132" sldId="8992"/>
            <ac:spMk id="40" creationId="{589AE437-525A-48D9-A916-6580A96726AE}"/>
          </ac:spMkLst>
        </pc:spChg>
        <pc:spChg chg="add mod">
          <ac:chgData name="Kommatreddy, Chaitanya" userId="44a1469f-b03c-453c-8c31-90f831355cdb" providerId="ADAL" clId="{7BBB3020-8827-4921-BC1C-932A2C5C9086}" dt="2020-11-30T11:52:01.204" v="1393" actId="1076"/>
          <ac:spMkLst>
            <pc:docMk/>
            <pc:sldMk cId="883180132" sldId="8992"/>
            <ac:spMk id="41" creationId="{0E27FB64-65B9-46A7-AED9-4A092C0E6FD9}"/>
          </ac:spMkLst>
        </pc:spChg>
        <pc:spChg chg="add del">
          <ac:chgData name="Kommatreddy, Chaitanya" userId="44a1469f-b03c-453c-8c31-90f831355cdb" providerId="ADAL" clId="{7BBB3020-8827-4921-BC1C-932A2C5C9086}" dt="2020-11-30T11:37:47.172" v="893" actId="26606"/>
          <ac:spMkLst>
            <pc:docMk/>
            <pc:sldMk cId="883180132" sldId="8992"/>
            <ac:spMk id="44" creationId="{823AC064-BC96-4F32-8AE1-B2FD38754823}"/>
          </ac:spMkLst>
        </pc:spChg>
        <pc:spChg chg="add del">
          <ac:chgData name="Kommatreddy, Chaitanya" userId="44a1469f-b03c-453c-8c31-90f831355cdb" providerId="ADAL" clId="{7BBB3020-8827-4921-BC1C-932A2C5C9086}" dt="2020-11-30T11:36:36.959" v="877" actId="26606"/>
          <ac:spMkLst>
            <pc:docMk/>
            <pc:sldMk cId="883180132" sldId="8992"/>
            <ac:spMk id="45" creationId="{D052D0E8-5725-42F1-BA8A-2E793289AB6A}"/>
          </ac:spMkLst>
        </pc:spChg>
        <pc:spChg chg="add del">
          <ac:chgData name="Kommatreddy, Chaitanya" userId="44a1469f-b03c-453c-8c31-90f831355cdb" providerId="ADAL" clId="{7BBB3020-8827-4921-BC1C-932A2C5C9086}" dt="2020-11-30T11:36:36.959" v="877" actId="26606"/>
          <ac:spMkLst>
            <pc:docMk/>
            <pc:sldMk cId="883180132" sldId="8992"/>
            <ac:spMk id="47" creationId="{31C81BFC-A665-4DFF-AFE8-B85ACB3E04B0}"/>
          </ac:spMkLst>
        </pc:spChg>
        <pc:spChg chg="add del">
          <ac:chgData name="Kommatreddy, Chaitanya" userId="44a1469f-b03c-453c-8c31-90f831355cdb" providerId="ADAL" clId="{7BBB3020-8827-4921-BC1C-932A2C5C9086}" dt="2020-11-30T11:36:38.518" v="879" actId="26606"/>
          <ac:spMkLst>
            <pc:docMk/>
            <pc:sldMk cId="883180132" sldId="8992"/>
            <ac:spMk id="49" creationId="{99899462-FC16-43B0-966B-FCA263450716}"/>
          </ac:spMkLst>
        </pc:spChg>
        <pc:spChg chg="add del">
          <ac:chgData name="Kommatreddy, Chaitanya" userId="44a1469f-b03c-453c-8c31-90f831355cdb" providerId="ADAL" clId="{7BBB3020-8827-4921-BC1C-932A2C5C9086}" dt="2020-11-30T11:37:47.953" v="895" actId="26606"/>
          <ac:spMkLst>
            <pc:docMk/>
            <pc:sldMk cId="883180132" sldId="8992"/>
            <ac:spMk id="51" creationId="{0DE6A193-4755-479A-BC6F-A7EBCA73BE1A}"/>
          </ac:spMkLst>
        </pc:spChg>
        <pc:spChg chg="add del">
          <ac:chgData name="Kommatreddy, Chaitanya" userId="44a1469f-b03c-453c-8c31-90f831355cdb" providerId="ADAL" clId="{7BBB3020-8827-4921-BC1C-932A2C5C9086}" dt="2020-11-30T11:36:42.590" v="881" actId="26606"/>
          <ac:spMkLst>
            <pc:docMk/>
            <pc:sldMk cId="883180132" sldId="8992"/>
            <ac:spMk id="52" creationId="{C95B82D5-A8BB-45BF-BED8-C7B206892100}"/>
          </ac:spMkLst>
        </pc:spChg>
        <pc:spChg chg="add del">
          <ac:chgData name="Kommatreddy, Chaitanya" userId="44a1469f-b03c-453c-8c31-90f831355cdb" providerId="ADAL" clId="{7BBB3020-8827-4921-BC1C-932A2C5C9086}" dt="2020-11-30T11:36:42.590" v="881" actId="26606"/>
          <ac:spMkLst>
            <pc:docMk/>
            <pc:sldMk cId="883180132" sldId="8992"/>
            <ac:spMk id="53" creationId="{296C61EC-FBF4-4216-BE67-6C864D30A01C}"/>
          </ac:spMkLst>
        </pc:spChg>
        <pc:spChg chg="add del">
          <ac:chgData name="Kommatreddy, Chaitanya" userId="44a1469f-b03c-453c-8c31-90f831355cdb" providerId="ADAL" clId="{7BBB3020-8827-4921-BC1C-932A2C5C9086}" dt="2020-11-30T11:37:47.953" v="895" actId="26606"/>
          <ac:spMkLst>
            <pc:docMk/>
            <pc:sldMk cId="883180132" sldId="8992"/>
            <ac:spMk id="54" creationId="{5A55B759-31A7-423C-9BC2-A8BC09FE98B9}"/>
          </ac:spMkLst>
        </pc:spChg>
        <pc:spChg chg="add del">
          <ac:chgData name="Kommatreddy, Chaitanya" userId="44a1469f-b03c-453c-8c31-90f831355cdb" providerId="ADAL" clId="{7BBB3020-8827-4921-BC1C-932A2C5C9086}" dt="2020-11-30T11:36:49.698" v="883" actId="26606"/>
          <ac:spMkLst>
            <pc:docMk/>
            <pc:sldMk cId="883180132" sldId="8992"/>
            <ac:spMk id="55" creationId="{5AAE9118-0436-4488-AC4A-C14DF6A7B6B1}"/>
          </ac:spMkLst>
        </pc:spChg>
        <pc:spChg chg="add del">
          <ac:chgData name="Kommatreddy, Chaitanya" userId="44a1469f-b03c-453c-8c31-90f831355cdb" providerId="ADAL" clId="{7BBB3020-8827-4921-BC1C-932A2C5C9086}" dt="2020-11-30T11:36:49.698" v="883" actId="26606"/>
          <ac:spMkLst>
            <pc:docMk/>
            <pc:sldMk cId="883180132" sldId="8992"/>
            <ac:spMk id="56" creationId="{1B10F861-B8F1-49C7-BD58-EAB20CEE7F93}"/>
          </ac:spMkLst>
        </pc:spChg>
        <pc:spChg chg="add del">
          <ac:chgData name="Kommatreddy, Chaitanya" userId="44a1469f-b03c-453c-8c31-90f831355cdb" providerId="ADAL" clId="{7BBB3020-8827-4921-BC1C-932A2C5C9086}" dt="2020-11-30T11:36:49.698" v="883" actId="26606"/>
          <ac:spMkLst>
            <pc:docMk/>
            <pc:sldMk cId="883180132" sldId="8992"/>
            <ac:spMk id="57" creationId="{61F6E425-22AB-4DA2-8FAC-58ADB58EF6C3}"/>
          </ac:spMkLst>
        </pc:spChg>
        <pc:spChg chg="add del">
          <ac:chgData name="Kommatreddy, Chaitanya" userId="44a1469f-b03c-453c-8c31-90f831355cdb" providerId="ADAL" clId="{7BBB3020-8827-4921-BC1C-932A2C5C9086}" dt="2020-11-30T11:37:47.953" v="895" actId="26606"/>
          <ac:spMkLst>
            <pc:docMk/>
            <pc:sldMk cId="883180132" sldId="8992"/>
            <ac:spMk id="58" creationId="{F78796AF-79A0-47AC-BEFD-BFFC00F968C4}"/>
          </ac:spMkLst>
        </pc:spChg>
        <pc:spChg chg="add del">
          <ac:chgData name="Kommatreddy, Chaitanya" userId="44a1469f-b03c-453c-8c31-90f831355cdb" providerId="ADAL" clId="{7BBB3020-8827-4921-BC1C-932A2C5C9086}" dt="2020-11-30T11:37:14.715" v="885" actId="26606"/>
          <ac:spMkLst>
            <pc:docMk/>
            <pc:sldMk cId="883180132" sldId="8992"/>
            <ac:spMk id="59" creationId="{D052D0E8-5725-42F1-BA8A-2E793289AB6A}"/>
          </ac:spMkLst>
        </pc:spChg>
        <pc:spChg chg="add del">
          <ac:chgData name="Kommatreddy, Chaitanya" userId="44a1469f-b03c-453c-8c31-90f831355cdb" providerId="ADAL" clId="{7BBB3020-8827-4921-BC1C-932A2C5C9086}" dt="2020-11-30T11:37:14.715" v="885" actId="26606"/>
          <ac:spMkLst>
            <pc:docMk/>
            <pc:sldMk cId="883180132" sldId="8992"/>
            <ac:spMk id="60" creationId="{31C81BFC-A665-4DFF-AFE8-B85ACB3E04B0}"/>
          </ac:spMkLst>
        </pc:spChg>
        <pc:grpChg chg="mod">
          <ac:chgData name="Kommatreddy, Chaitanya" userId="44a1469f-b03c-453c-8c31-90f831355cdb" providerId="ADAL" clId="{7BBB3020-8827-4921-BC1C-932A2C5C9086}" dt="2020-11-30T11:06:38.477" v="742" actId="18245"/>
          <ac:grpSpMkLst>
            <pc:docMk/>
            <pc:sldMk cId="883180132" sldId="8992"/>
            <ac:grpSpMk id="6" creationId="{DDF2E675-489B-43E2-8174-BF8A08D32E61}"/>
          </ac:grpSpMkLst>
        </pc:grpChg>
        <pc:grpChg chg="add del mod">
          <ac:chgData name="Kommatreddy, Chaitanya" userId="44a1469f-b03c-453c-8c31-90f831355cdb" providerId="ADAL" clId="{7BBB3020-8827-4921-BC1C-932A2C5C9086}" dt="2020-11-30T11:04:59.427" v="730"/>
          <ac:grpSpMkLst>
            <pc:docMk/>
            <pc:sldMk cId="883180132" sldId="8992"/>
            <ac:grpSpMk id="8" creationId="{894E6512-FF83-4CC9-B2A4-656A203F1542}"/>
          </ac:grpSpMkLst>
        </pc:grpChg>
        <pc:grpChg chg="add del mod">
          <ac:chgData name="Kommatreddy, Chaitanya" userId="44a1469f-b03c-453c-8c31-90f831355cdb" providerId="ADAL" clId="{7BBB3020-8827-4921-BC1C-932A2C5C9086}" dt="2020-11-30T11:04:59.427" v="730"/>
          <ac:grpSpMkLst>
            <pc:docMk/>
            <pc:sldMk cId="883180132" sldId="8992"/>
            <ac:grpSpMk id="15" creationId="{41578EDC-B49F-4C1F-A0DB-E697F6E6456A}"/>
          </ac:grpSpMkLst>
        </pc:grpChg>
        <pc:grpChg chg="add del mod">
          <ac:chgData name="Kommatreddy, Chaitanya" userId="44a1469f-b03c-453c-8c31-90f831355cdb" providerId="ADAL" clId="{7BBB3020-8827-4921-BC1C-932A2C5C9086}" dt="2020-11-30T11:04:59.427" v="730"/>
          <ac:grpSpMkLst>
            <pc:docMk/>
            <pc:sldMk cId="883180132" sldId="8992"/>
            <ac:grpSpMk id="20" creationId="{B18692B6-5E1F-4C7E-BEC5-90F26ED343BA}"/>
          </ac:grpSpMkLst>
        </pc:grpChg>
        <pc:grpChg chg="mod">
          <ac:chgData name="Kommatreddy, Chaitanya" userId="44a1469f-b03c-453c-8c31-90f831355cdb" providerId="ADAL" clId="{7BBB3020-8827-4921-BC1C-932A2C5C9086}" dt="2020-11-30T11:04:58.882" v="729" actId="14100"/>
          <ac:grpSpMkLst>
            <pc:docMk/>
            <pc:sldMk cId="883180132" sldId="8992"/>
            <ac:grpSpMk id="23" creationId="{7294A7DF-58C7-49F8-9FE0-6DA8F2BF28C9}"/>
          </ac:grpSpMkLst>
        </pc:grpChg>
        <pc:grpChg chg="add del mod">
          <ac:chgData name="Kommatreddy, Chaitanya" userId="44a1469f-b03c-453c-8c31-90f831355cdb" providerId="ADAL" clId="{7BBB3020-8827-4921-BC1C-932A2C5C9086}" dt="2020-11-30T11:12:42.401" v="762" actId="478"/>
          <ac:grpSpMkLst>
            <pc:docMk/>
            <pc:sldMk cId="883180132" sldId="8992"/>
            <ac:grpSpMk id="33" creationId="{6C361D3B-7719-4558-A3C2-45A59615E255}"/>
          </ac:grpSpMkLst>
        </pc:grpChg>
        <pc:graphicFrameChg chg="add del mod">
          <ac:chgData name="Kommatreddy, Chaitanya" userId="44a1469f-b03c-453c-8c31-90f831355cdb" providerId="ADAL" clId="{7BBB3020-8827-4921-BC1C-932A2C5C9086}" dt="2020-11-30T07:42:01.875" v="581" actId="478"/>
          <ac:graphicFrameMkLst>
            <pc:docMk/>
            <pc:sldMk cId="883180132" sldId="8992"/>
            <ac:graphicFrameMk id="8" creationId="{3EFF09A9-334C-4E6B-8B5C-D3EDF6C2AAB4}"/>
          </ac:graphicFrameMkLst>
        </pc:graphicFrameChg>
        <pc:graphicFrameChg chg="add del mod">
          <ac:chgData name="Kommatreddy, Chaitanya" userId="44a1469f-b03c-453c-8c31-90f831355cdb" providerId="ADAL" clId="{7BBB3020-8827-4921-BC1C-932A2C5C9086}" dt="2020-11-30T11:06:54.873" v="748" actId="478"/>
          <ac:graphicFrameMkLst>
            <pc:docMk/>
            <pc:sldMk cId="883180132" sldId="8992"/>
            <ac:graphicFrameMk id="10" creationId="{BD485CF5-410F-4986-8A89-B642202038EB}"/>
          </ac:graphicFrameMkLst>
        </pc:graphicFrameChg>
        <pc:picChg chg="ord">
          <ac:chgData name="Kommatreddy, Chaitanya" userId="44a1469f-b03c-453c-8c31-90f831355cdb" providerId="ADAL" clId="{7BBB3020-8827-4921-BC1C-932A2C5C9086}" dt="2020-11-30T11:37:47.953" v="895" actId="26606"/>
          <ac:picMkLst>
            <pc:docMk/>
            <pc:sldMk cId="883180132" sldId="8992"/>
            <ac:picMk id="2" creationId="{00000000-0000-0000-0000-000000000000}"/>
          </ac:picMkLst>
        </pc:picChg>
        <pc:picChg chg="add del mod">
          <ac:chgData name="Kommatreddy, Chaitanya" userId="44a1469f-b03c-453c-8c31-90f831355cdb" providerId="ADAL" clId="{7BBB3020-8827-4921-BC1C-932A2C5C9086}" dt="2020-11-30T09:33:52.036" v="651" actId="478"/>
          <ac:picMkLst>
            <pc:docMk/>
            <pc:sldMk cId="883180132" sldId="8992"/>
            <ac:picMk id="5" creationId="{C5E56BCB-D996-4F2C-B63B-DBCBAF2876CE}"/>
          </ac:picMkLst>
        </pc:picChg>
        <pc:picChg chg="add del mod">
          <ac:chgData name="Kommatreddy, Chaitanya" userId="44a1469f-b03c-453c-8c31-90f831355cdb" providerId="ADAL" clId="{7BBB3020-8827-4921-BC1C-932A2C5C9086}" dt="2020-12-02T09:07:41.219" v="1580" actId="478"/>
          <ac:picMkLst>
            <pc:docMk/>
            <pc:sldMk cId="883180132" sldId="8992"/>
            <ac:picMk id="5" creationId="{D486CB7D-404F-4FF4-9948-4641CDFF8D1B}"/>
          </ac:picMkLst>
        </pc:picChg>
        <pc:picChg chg="add del mod">
          <ac:chgData name="Kommatreddy, Chaitanya" userId="44a1469f-b03c-453c-8c31-90f831355cdb" providerId="ADAL" clId="{7BBB3020-8827-4921-BC1C-932A2C5C9086}" dt="2020-11-30T11:05:27.645" v="731" actId="478"/>
          <ac:picMkLst>
            <pc:docMk/>
            <pc:sldMk cId="883180132" sldId="8992"/>
            <ac:picMk id="11" creationId="{3B4C1B10-435E-43F9-A4F9-4ACF4BFE9F59}"/>
          </ac:picMkLst>
        </pc:picChg>
        <pc:picChg chg="add mod">
          <ac:chgData name="Kommatreddy, Chaitanya" userId="44a1469f-b03c-453c-8c31-90f831355cdb" providerId="ADAL" clId="{7BBB3020-8827-4921-BC1C-932A2C5C9086}" dt="2020-11-30T11:37:47.953" v="895" actId="26606"/>
          <ac:picMkLst>
            <pc:docMk/>
            <pc:sldMk cId="883180132" sldId="8992"/>
            <ac:picMk id="39" creationId="{A515FD44-F4C3-48ED-85A2-33C024E519A5}"/>
          </ac:picMkLst>
        </pc:picChg>
        <pc:picChg chg="add del mod">
          <ac:chgData name="Kommatreddy, Chaitanya" userId="44a1469f-b03c-453c-8c31-90f831355cdb" providerId="ADAL" clId="{7BBB3020-8827-4921-BC1C-932A2C5C9086}" dt="2020-12-02T13:27:55.260" v="1856" actId="478"/>
          <ac:picMkLst>
            <pc:docMk/>
            <pc:sldMk cId="883180132" sldId="8992"/>
            <ac:picMk id="43" creationId="{E8A84BD1-0B5A-428F-9970-8C6D2B0CD07D}"/>
          </ac:picMkLst>
        </pc:picChg>
        <pc:picChg chg="add mod">
          <ac:chgData name="Kommatreddy, Chaitanya" userId="44a1469f-b03c-453c-8c31-90f831355cdb" providerId="ADAL" clId="{7BBB3020-8827-4921-BC1C-932A2C5C9086}" dt="2020-12-02T15:01:17.576" v="1865" actId="14100"/>
          <ac:picMkLst>
            <pc:docMk/>
            <pc:sldMk cId="883180132" sldId="8992"/>
            <ac:picMk id="62" creationId="{885E10D0-6208-4AC2-B09C-8BBF63F93B31}"/>
          </ac:picMkLst>
        </pc:picChg>
        <pc:cxnChg chg="add del">
          <ac:chgData name="Kommatreddy, Chaitanya" userId="44a1469f-b03c-453c-8c31-90f831355cdb" providerId="ADAL" clId="{7BBB3020-8827-4921-BC1C-932A2C5C9086}" dt="2020-11-30T11:37:47.172" v="893" actId="26606"/>
          <ac:cxnSpMkLst>
            <pc:docMk/>
            <pc:sldMk cId="883180132" sldId="8992"/>
            <ac:cxnSpMk id="46" creationId="{7E7C77BC-7138-40B1-A15B-20F57A494629}"/>
          </ac:cxnSpMkLst>
        </pc:cxnChg>
        <pc:cxnChg chg="add del">
          <ac:chgData name="Kommatreddy, Chaitanya" userId="44a1469f-b03c-453c-8c31-90f831355cdb" providerId="ADAL" clId="{7BBB3020-8827-4921-BC1C-932A2C5C9086}" dt="2020-11-30T11:37:47.172" v="893" actId="26606"/>
          <ac:cxnSpMkLst>
            <pc:docMk/>
            <pc:sldMk cId="883180132" sldId="8992"/>
            <ac:cxnSpMk id="48" creationId="{DB146403-F3D6-484B-B2ED-97F9565D0370}"/>
          </ac:cxnSpMkLst>
        </pc:cxnChg>
        <pc:cxnChg chg="add del">
          <ac:chgData name="Kommatreddy, Chaitanya" userId="44a1469f-b03c-453c-8c31-90f831355cdb" providerId="ADAL" clId="{7BBB3020-8827-4921-BC1C-932A2C5C9086}" dt="2020-11-30T11:36:38.518" v="879" actId="26606"/>
          <ac:cxnSpMkLst>
            <pc:docMk/>
            <pc:sldMk cId="883180132" sldId="8992"/>
            <ac:cxnSpMk id="50" creationId="{AAFEA932-2DF1-410C-A00A-7A1E7DBF7511}"/>
          </ac:cxnSpMkLst>
        </pc:cxnChg>
      </pc:sldChg>
      <pc:sldChg chg="del">
        <pc:chgData name="Kommatreddy, Chaitanya" userId="44a1469f-b03c-453c-8c31-90f831355cdb" providerId="ADAL" clId="{7BBB3020-8827-4921-BC1C-932A2C5C9086}" dt="2020-11-30T16:26:50.399" v="1550" actId="2696"/>
        <pc:sldMkLst>
          <pc:docMk/>
          <pc:sldMk cId="2311481195" sldId="8999"/>
        </pc:sldMkLst>
      </pc:sldChg>
      <pc:sldChg chg="del">
        <pc:chgData name="Kommatreddy, Chaitanya" userId="44a1469f-b03c-453c-8c31-90f831355cdb" providerId="ADAL" clId="{7BBB3020-8827-4921-BC1C-932A2C5C9086}" dt="2020-11-30T16:26:50.390" v="1549" actId="2696"/>
        <pc:sldMkLst>
          <pc:docMk/>
          <pc:sldMk cId="477347674" sldId="9000"/>
        </pc:sldMkLst>
      </pc:sldChg>
      <pc:sldChg chg="addSp delSp modSp addCm delCm">
        <pc:chgData name="Kommatreddy, Chaitanya" userId="44a1469f-b03c-453c-8c31-90f831355cdb" providerId="ADAL" clId="{7BBB3020-8827-4921-BC1C-932A2C5C9086}" dt="2020-12-02T12:42:22.552" v="1855" actId="1076"/>
        <pc:sldMkLst>
          <pc:docMk/>
          <pc:sldMk cId="3424447147" sldId="9001"/>
        </pc:sldMkLst>
        <pc:spChg chg="del">
          <ac:chgData name="Kommatreddy, Chaitanya" userId="44a1469f-b03c-453c-8c31-90f831355cdb" providerId="ADAL" clId="{7BBB3020-8827-4921-BC1C-932A2C5C9086}" dt="2020-11-30T16:20:29.263" v="1546" actId="478"/>
          <ac:spMkLst>
            <pc:docMk/>
            <pc:sldMk cId="3424447147" sldId="9001"/>
            <ac:spMk id="17" creationId="{C1D5551F-E05A-4B75-89CB-C0DFC3CB983D}"/>
          </ac:spMkLst>
        </pc:spChg>
        <pc:picChg chg="del">
          <ac:chgData name="Kommatreddy, Chaitanya" userId="44a1469f-b03c-453c-8c31-90f831355cdb" providerId="ADAL" clId="{7BBB3020-8827-4921-BC1C-932A2C5C9086}" dt="2020-11-30T15:46:44.026" v="1407" actId="478"/>
          <ac:picMkLst>
            <pc:docMk/>
            <pc:sldMk cId="3424447147" sldId="9001"/>
            <ac:picMk id="3" creationId="{00000000-0000-0000-0000-000000000000}"/>
          </ac:picMkLst>
        </pc:picChg>
        <pc:picChg chg="add del mod">
          <ac:chgData name="Kommatreddy, Chaitanya" userId="44a1469f-b03c-453c-8c31-90f831355cdb" providerId="ADAL" clId="{7BBB3020-8827-4921-BC1C-932A2C5C9086}" dt="2020-12-02T11:40:24.424" v="1828" actId="478"/>
          <ac:picMkLst>
            <pc:docMk/>
            <pc:sldMk cId="3424447147" sldId="9001"/>
            <ac:picMk id="6" creationId="{1813D1DB-2D51-4567-8A41-08B11DE8D67D}"/>
          </ac:picMkLst>
        </pc:picChg>
        <pc:picChg chg="add del mod">
          <ac:chgData name="Kommatreddy, Chaitanya" userId="44a1469f-b03c-453c-8c31-90f831355cdb" providerId="ADAL" clId="{7BBB3020-8827-4921-BC1C-932A2C5C9086}" dt="2020-12-02T11:40:26.102" v="1830"/>
          <ac:picMkLst>
            <pc:docMk/>
            <pc:sldMk cId="3424447147" sldId="9001"/>
            <ac:picMk id="13" creationId="{ACE6FFB1-238B-472A-A9D8-0CD74611018A}"/>
          </ac:picMkLst>
        </pc:picChg>
        <pc:picChg chg="add del ord">
          <ac:chgData name="Kommatreddy, Chaitanya" userId="44a1469f-b03c-453c-8c31-90f831355cdb" providerId="ADAL" clId="{7BBB3020-8827-4921-BC1C-932A2C5C9086}" dt="2020-12-02T09:04:22.107" v="1571" actId="478"/>
          <ac:picMkLst>
            <pc:docMk/>
            <pc:sldMk cId="3424447147" sldId="9001"/>
            <ac:picMk id="18" creationId="{A018D34E-1196-49FF-B132-8F4A3774BBE7}"/>
          </ac:picMkLst>
        </pc:picChg>
        <pc:picChg chg="add del mod">
          <ac:chgData name="Kommatreddy, Chaitanya" userId="44a1469f-b03c-453c-8c31-90f831355cdb" providerId="ADAL" clId="{7BBB3020-8827-4921-BC1C-932A2C5C9086}" dt="2020-12-02T12:34:49.676" v="1836" actId="478"/>
          <ac:picMkLst>
            <pc:docMk/>
            <pc:sldMk cId="3424447147" sldId="9001"/>
            <ac:picMk id="20" creationId="{76E46622-82A7-4888-9F02-D749977404D4}"/>
          </ac:picMkLst>
        </pc:picChg>
        <pc:picChg chg="add del mod">
          <ac:chgData name="Kommatreddy, Chaitanya" userId="44a1469f-b03c-453c-8c31-90f831355cdb" providerId="ADAL" clId="{7BBB3020-8827-4921-BC1C-932A2C5C9086}" dt="2020-12-02T12:40:52.851" v="1844" actId="478"/>
          <ac:picMkLst>
            <pc:docMk/>
            <pc:sldMk cId="3424447147" sldId="9001"/>
            <ac:picMk id="22" creationId="{84A86865-1174-4478-AF56-DFC63F0771E1}"/>
          </ac:picMkLst>
        </pc:picChg>
        <pc:picChg chg="add del mod">
          <ac:chgData name="Kommatreddy, Chaitanya" userId="44a1469f-b03c-453c-8c31-90f831355cdb" providerId="ADAL" clId="{7BBB3020-8827-4921-BC1C-932A2C5C9086}" dt="2020-12-02T12:42:15.401" v="1850" actId="478"/>
          <ac:picMkLst>
            <pc:docMk/>
            <pc:sldMk cId="3424447147" sldId="9001"/>
            <ac:picMk id="24" creationId="{B8D0AFC8-BCFE-4A24-A9B3-5CC655B84409}"/>
          </ac:picMkLst>
        </pc:picChg>
        <pc:picChg chg="add mod">
          <ac:chgData name="Kommatreddy, Chaitanya" userId="44a1469f-b03c-453c-8c31-90f831355cdb" providerId="ADAL" clId="{7BBB3020-8827-4921-BC1C-932A2C5C9086}" dt="2020-12-02T12:42:22.552" v="1855" actId="1076"/>
          <ac:picMkLst>
            <pc:docMk/>
            <pc:sldMk cId="3424447147" sldId="9001"/>
            <ac:picMk id="26" creationId="{F0C3B2EC-1428-4CD8-A95C-489B086EB384}"/>
          </ac:picMkLst>
        </pc:picChg>
      </pc:sldChg>
      <pc:sldChg chg="del">
        <pc:chgData name="Kommatreddy, Chaitanya" userId="44a1469f-b03c-453c-8c31-90f831355cdb" providerId="ADAL" clId="{7BBB3020-8827-4921-BC1C-932A2C5C9086}" dt="2020-11-30T16:26:50.200" v="1548" actId="2696"/>
        <pc:sldMkLst>
          <pc:docMk/>
          <pc:sldMk cId="2494993325" sldId="9004"/>
        </pc:sldMkLst>
      </pc:sldChg>
      <pc:sldChg chg="modSp modAnim">
        <pc:chgData name="Kommatreddy, Chaitanya" userId="44a1469f-b03c-453c-8c31-90f831355cdb" providerId="ADAL" clId="{7BBB3020-8827-4921-BC1C-932A2C5C9086}" dt="2020-12-02T11:26:16.505" v="1827" actId="14100"/>
        <pc:sldMkLst>
          <pc:docMk/>
          <pc:sldMk cId="795272350" sldId="9010"/>
        </pc:sldMkLst>
        <pc:spChg chg="mod">
          <ac:chgData name="Kommatreddy, Chaitanya" userId="44a1469f-b03c-453c-8c31-90f831355cdb" providerId="ADAL" clId="{7BBB3020-8827-4921-BC1C-932A2C5C9086}" dt="2020-12-02T11:24:28.061" v="1685" actId="20577"/>
          <ac:spMkLst>
            <pc:docMk/>
            <pc:sldMk cId="795272350" sldId="9010"/>
            <ac:spMk id="18" creationId="{E4EEB0BB-CEA4-435D-930A-B95795FCC5A9}"/>
          </ac:spMkLst>
        </pc:spChg>
        <pc:spChg chg="mod">
          <ac:chgData name="Kommatreddy, Chaitanya" userId="44a1469f-b03c-453c-8c31-90f831355cdb" providerId="ADAL" clId="{7BBB3020-8827-4921-BC1C-932A2C5C9086}" dt="2020-12-02T11:26:16.505" v="1827" actId="14100"/>
          <ac:spMkLst>
            <pc:docMk/>
            <pc:sldMk cId="795272350" sldId="9010"/>
            <ac:spMk id="20" creationId="{97F95232-FAF7-4FBD-A394-067DD3DBBE84}"/>
          </ac:spMkLst>
        </pc:spChg>
        <pc:spChg chg="mod">
          <ac:chgData name="Kommatreddy, Chaitanya" userId="44a1469f-b03c-453c-8c31-90f831355cdb" providerId="ADAL" clId="{7BBB3020-8827-4921-BC1C-932A2C5C9086}" dt="2020-12-02T11:23:58.995" v="1649" actId="6549"/>
          <ac:spMkLst>
            <pc:docMk/>
            <pc:sldMk cId="795272350" sldId="9010"/>
            <ac:spMk id="22" creationId="{E4EEB0BB-CEA4-435D-930A-B95795FCC5A9}"/>
          </ac:spMkLst>
        </pc:spChg>
      </pc:sldChg>
      <pc:sldChg chg="add">
        <pc:chgData name="Kommatreddy, Chaitanya" userId="44a1469f-b03c-453c-8c31-90f831355cdb" providerId="ADAL" clId="{7BBB3020-8827-4921-BC1C-932A2C5C9086}" dt="2020-11-30T16:23:20.663" v="1547"/>
        <pc:sldMkLst>
          <pc:docMk/>
          <pc:sldMk cId="857631512" sldId="9022"/>
        </pc:sldMkLst>
      </pc:sldChg>
      <pc:sldChg chg="modSp">
        <pc:chgData name="Kommatreddy, Chaitanya" userId="44a1469f-b03c-453c-8c31-90f831355cdb" providerId="ADAL" clId="{7BBB3020-8827-4921-BC1C-932A2C5C9086}" dt="2020-12-02T15:01:17.245" v="1864" actId="14734"/>
        <pc:sldMkLst>
          <pc:docMk/>
          <pc:sldMk cId="473660456" sldId="9024"/>
        </pc:sldMkLst>
        <pc:graphicFrameChg chg="modGraphic">
          <ac:chgData name="Kommatreddy, Chaitanya" userId="44a1469f-b03c-453c-8c31-90f831355cdb" providerId="ADAL" clId="{7BBB3020-8827-4921-BC1C-932A2C5C9086}" dt="2020-12-02T15:01:17.245" v="1864" actId="14734"/>
          <ac:graphicFrameMkLst>
            <pc:docMk/>
            <pc:sldMk cId="473660456" sldId="9024"/>
            <ac:graphicFrameMk id="3" creationId="{52A01B89-C80C-4A73-99F5-B9725D6DA2FC}"/>
          </ac:graphicFrameMkLst>
        </pc:graphicFrameChg>
      </pc:sldChg>
    </pc:docChg>
  </pc:docChgLst>
  <pc:docChgLst>
    <pc:chgData name="Kommatreddy, Chaitanya" userId="S::ckommatreddy@deloitte.com::44a1469f-b03c-453c-8c31-90f831355cdb" providerId="AD" clId="Web-{CB60F82F-9D0D-428C-97D6-844254954985}"/>
    <pc:docChg chg="delSld modSld modSection">
      <pc:chgData name="Kommatreddy, Chaitanya" userId="S::ckommatreddy@deloitte.com::44a1469f-b03c-453c-8c31-90f831355cdb" providerId="AD" clId="Web-{CB60F82F-9D0D-428C-97D6-844254954985}" dt="2020-07-03T07:50:32.642" v="1"/>
      <pc:docMkLst>
        <pc:docMk/>
      </pc:docMkLst>
      <pc:sldChg chg="addSp modSp">
        <pc:chgData name="Kommatreddy, Chaitanya" userId="S::ckommatreddy@deloitte.com::44a1469f-b03c-453c-8c31-90f831355cdb" providerId="AD" clId="Web-{CB60F82F-9D0D-428C-97D6-844254954985}" dt="2020-07-03T07:50:32.642" v="1"/>
        <pc:sldMkLst>
          <pc:docMk/>
          <pc:sldMk cId="3493385288" sldId="8816"/>
        </pc:sldMkLst>
        <pc:picChg chg="add mod">
          <ac:chgData name="Kommatreddy, Chaitanya" userId="S::ckommatreddy@deloitte.com::44a1469f-b03c-453c-8c31-90f831355cdb" providerId="AD" clId="Web-{CB60F82F-9D0D-428C-97D6-844254954985}" dt="2020-07-03T07:50:32.642" v="1"/>
          <ac:picMkLst>
            <pc:docMk/>
            <pc:sldMk cId="3493385288" sldId="8816"/>
            <ac:picMk id="3" creationId="{4260965D-B779-4D8C-AB2C-506EAABA69B4}"/>
          </ac:picMkLst>
        </pc:picChg>
      </pc:sldChg>
      <pc:sldChg chg="del">
        <pc:chgData name="Kommatreddy, Chaitanya" userId="S::ckommatreddy@deloitte.com::44a1469f-b03c-453c-8c31-90f831355cdb" providerId="AD" clId="Web-{CB60F82F-9D0D-428C-97D6-844254954985}" dt="2020-07-03T07:50:19.079" v="0"/>
        <pc:sldMkLst>
          <pc:docMk/>
          <pc:sldMk cId="2725184318" sldId="8836"/>
        </pc:sldMkLst>
      </pc:sldChg>
    </pc:docChg>
  </pc:docChgLst>
  <pc:docChgLst>
    <pc:chgData name="Rudraraju, Vijaya" userId="S::vijrudraraju@deloitte.com::106f6c26-77b2-4e0c-8472-1c142b7002a0" providerId="AD" clId="Web-{A19E1DA3-EB0A-46CF-84D3-CB99F80397BB}"/>
    <pc:docChg chg="modSld">
      <pc:chgData name="Rudraraju, Vijaya" userId="S::vijrudraraju@deloitte.com::106f6c26-77b2-4e0c-8472-1c142b7002a0" providerId="AD" clId="Web-{A19E1DA3-EB0A-46CF-84D3-CB99F80397BB}" dt="2021-03-18T17:37:53.671" v="50"/>
      <pc:docMkLst>
        <pc:docMk/>
      </pc:docMkLst>
      <pc:sldChg chg="modSp">
        <pc:chgData name="Rudraraju, Vijaya" userId="S::vijrudraraju@deloitte.com::106f6c26-77b2-4e0c-8472-1c142b7002a0" providerId="AD" clId="Web-{A19E1DA3-EB0A-46CF-84D3-CB99F80397BB}" dt="2021-03-18T17:37:53.671" v="50"/>
        <pc:sldMkLst>
          <pc:docMk/>
          <pc:sldMk cId="3491360341" sldId="8786"/>
        </pc:sldMkLst>
        <pc:graphicFrameChg chg="mod modGraphic">
          <ac:chgData name="Rudraraju, Vijaya" userId="S::vijrudraraju@deloitte.com::106f6c26-77b2-4e0c-8472-1c142b7002a0" providerId="AD" clId="Web-{A19E1DA3-EB0A-46CF-84D3-CB99F80397BB}" dt="2021-03-18T17:37:53.671" v="50"/>
          <ac:graphicFrameMkLst>
            <pc:docMk/>
            <pc:sldMk cId="3491360341" sldId="8786"/>
            <ac:graphicFrameMk id="4" creationId="{FE664A44-2B52-48E1-842B-86373307A2AD}"/>
          </ac:graphicFrameMkLst>
        </pc:graphicFrameChg>
      </pc:sldChg>
      <pc:sldChg chg="modSp">
        <pc:chgData name="Rudraraju, Vijaya" userId="S::vijrudraraju@deloitte.com::106f6c26-77b2-4e0c-8472-1c142b7002a0" providerId="AD" clId="Web-{A19E1DA3-EB0A-46CF-84D3-CB99F80397BB}" dt="2021-03-18T17:35:24.855" v="24" actId="20577"/>
        <pc:sldMkLst>
          <pc:docMk/>
          <pc:sldMk cId="1686814665" sldId="9034"/>
        </pc:sldMkLst>
        <pc:spChg chg="mod">
          <ac:chgData name="Rudraraju, Vijaya" userId="S::vijrudraraju@deloitte.com::106f6c26-77b2-4e0c-8472-1c142b7002a0" providerId="AD" clId="Web-{A19E1DA3-EB0A-46CF-84D3-CB99F80397BB}" dt="2021-03-18T17:35:24.855" v="24" actId="20577"/>
          <ac:spMkLst>
            <pc:docMk/>
            <pc:sldMk cId="1686814665" sldId="9034"/>
            <ac:spMk id="8" creationId="{3AD73DD1-CA9D-43A7-AE40-783F13202818}"/>
          </ac:spMkLst>
        </pc:spChg>
        <pc:spChg chg="mod">
          <ac:chgData name="Rudraraju, Vijaya" userId="S::vijrudraraju@deloitte.com::106f6c26-77b2-4e0c-8472-1c142b7002a0" providerId="AD" clId="Web-{A19E1DA3-EB0A-46CF-84D3-CB99F80397BB}" dt="2021-03-18T17:35:24.699" v="22" actId="20577"/>
          <ac:spMkLst>
            <pc:docMk/>
            <pc:sldMk cId="1686814665" sldId="9034"/>
            <ac:spMk id="10" creationId="{63C4D4D1-A06E-4F86-8E1F-FBE3DBFA51E8}"/>
          </ac:spMkLst>
        </pc:spChg>
      </pc:sldChg>
      <pc:sldChg chg="modSp">
        <pc:chgData name="Rudraraju, Vijaya" userId="S::vijrudraraju@deloitte.com::106f6c26-77b2-4e0c-8472-1c142b7002a0" providerId="AD" clId="Web-{A19E1DA3-EB0A-46CF-84D3-CB99F80397BB}" dt="2021-03-18T17:36:47.607" v="30" actId="20577"/>
        <pc:sldMkLst>
          <pc:docMk/>
          <pc:sldMk cId="945405844" sldId="9037"/>
        </pc:sldMkLst>
        <pc:spChg chg="mod">
          <ac:chgData name="Rudraraju, Vijaya" userId="S::vijrudraraju@deloitte.com::106f6c26-77b2-4e0c-8472-1c142b7002a0" providerId="AD" clId="Web-{A19E1DA3-EB0A-46CF-84D3-CB99F80397BB}" dt="2021-03-18T17:36:47.607" v="30" actId="20577"/>
          <ac:spMkLst>
            <pc:docMk/>
            <pc:sldMk cId="945405844" sldId="9037"/>
            <ac:spMk id="11" creationId="{60128E79-A065-4A34-9474-CCB7BA7EA8A9}"/>
          </ac:spMkLst>
        </pc:spChg>
      </pc:sldChg>
    </pc:docChg>
  </pc:docChgLst>
  <pc:docChgLst>
    <pc:chgData name="Kutas-Hille, Janine" userId="S::jkutashille@deloitte.com::0788d68a-0adc-44ef-94ed-31189926cb8f" providerId="AD" clId="Web-{44AF8DD3-A799-465B-98A9-E01F05FF8CF3}"/>
    <pc:docChg chg="modSld">
      <pc:chgData name="Kutas-Hille, Janine" userId="S::jkutashille@deloitte.com::0788d68a-0adc-44ef-94ed-31189926cb8f" providerId="AD" clId="Web-{44AF8DD3-A799-465B-98A9-E01F05FF8CF3}" dt="2020-07-14T01:02:18.754" v="2" actId="20577"/>
      <pc:docMkLst>
        <pc:docMk/>
      </pc:docMkLst>
      <pc:sldChg chg="modSp">
        <pc:chgData name="Kutas-Hille, Janine" userId="S::jkutashille@deloitte.com::0788d68a-0adc-44ef-94ed-31189926cb8f" providerId="AD" clId="Web-{44AF8DD3-A799-465B-98A9-E01F05FF8CF3}" dt="2020-07-14T01:02:15.175" v="1" actId="20577"/>
        <pc:sldMkLst>
          <pc:docMk/>
          <pc:sldMk cId="1180582917" sldId="8835"/>
        </pc:sldMkLst>
        <pc:spChg chg="mod">
          <ac:chgData name="Kutas-Hille, Janine" userId="S::jkutashille@deloitte.com::0788d68a-0adc-44ef-94ed-31189926cb8f" providerId="AD" clId="Web-{44AF8DD3-A799-465B-98A9-E01F05FF8CF3}" dt="2020-07-14T01:02:15.175" v="1" actId="20577"/>
          <ac:spMkLst>
            <pc:docMk/>
            <pc:sldMk cId="1180582917" sldId="8835"/>
            <ac:spMk id="2" creationId="{1A51A402-BA6D-4A31-A2B7-EF0A3A404269}"/>
          </ac:spMkLst>
        </pc:spChg>
      </pc:sldChg>
    </pc:docChg>
  </pc:docChgLst>
  <pc:docChgLst>
    <pc:chgData name="Thilakan, Andrew" userId="1f143052-8546-4a36-b467-ac96e3b8e64e" providerId="ADAL" clId="{50C76BC3-942B-47CB-BD38-9EF3CEC3285D}"/>
    <pc:docChg chg="undo custSel addSld delSld modSld sldOrd modSection">
      <pc:chgData name="Thilakan, Andrew" userId="1f143052-8546-4a36-b467-ac96e3b8e64e" providerId="ADAL" clId="{50C76BC3-942B-47CB-BD38-9EF3CEC3285D}" dt="2020-12-01T19:55:29.430" v="1853" actId="207"/>
      <pc:docMkLst>
        <pc:docMk/>
      </pc:docMkLst>
      <pc:sldChg chg="modSp">
        <pc:chgData name="Thilakan, Andrew" userId="1f143052-8546-4a36-b467-ac96e3b8e64e" providerId="ADAL" clId="{50C76BC3-942B-47CB-BD38-9EF3CEC3285D}" dt="2020-12-01T13:27:27.172" v="1195" actId="20577"/>
        <pc:sldMkLst>
          <pc:docMk/>
          <pc:sldMk cId="1369081146" sldId="8773"/>
        </pc:sldMkLst>
        <pc:graphicFrameChg chg="modGraphic">
          <ac:chgData name="Thilakan, Andrew" userId="1f143052-8546-4a36-b467-ac96e3b8e64e" providerId="ADAL" clId="{50C76BC3-942B-47CB-BD38-9EF3CEC3285D}" dt="2020-12-01T13:27:27.172" v="1195" actId="20577"/>
          <ac:graphicFrameMkLst>
            <pc:docMk/>
            <pc:sldMk cId="1369081146" sldId="8773"/>
            <ac:graphicFrameMk id="4" creationId="{2AAAC88F-F4B4-4FE3-956E-C3F806D71324}"/>
          </ac:graphicFrameMkLst>
        </pc:graphicFrameChg>
      </pc:sldChg>
      <pc:sldChg chg="addSp modSp">
        <pc:chgData name="Thilakan, Andrew" userId="1f143052-8546-4a36-b467-ac96e3b8e64e" providerId="ADAL" clId="{50C76BC3-942B-47CB-BD38-9EF3CEC3285D}" dt="2020-12-01T19:55:29.430" v="1853" actId="207"/>
        <pc:sldMkLst>
          <pc:docMk/>
          <pc:sldMk cId="1709308679" sldId="8783"/>
        </pc:sldMkLst>
        <pc:spChg chg="mod">
          <ac:chgData name="Thilakan, Andrew" userId="1f143052-8546-4a36-b467-ac96e3b8e64e" providerId="ADAL" clId="{50C76BC3-942B-47CB-BD38-9EF3CEC3285D}" dt="2020-12-01T19:52:52.321" v="1740" actId="1038"/>
          <ac:spMkLst>
            <pc:docMk/>
            <pc:sldMk cId="1709308679" sldId="8783"/>
            <ac:spMk id="6" creationId="{9C163676-2CF3-4FA5-9828-5A9969A379CA}"/>
          </ac:spMkLst>
        </pc:spChg>
        <pc:spChg chg="mod">
          <ac:chgData name="Thilakan, Andrew" userId="1f143052-8546-4a36-b467-ac96e3b8e64e" providerId="ADAL" clId="{50C76BC3-942B-47CB-BD38-9EF3CEC3285D}" dt="2020-12-01T19:52:52.321" v="1740" actId="1038"/>
          <ac:spMkLst>
            <pc:docMk/>
            <pc:sldMk cId="1709308679" sldId="8783"/>
            <ac:spMk id="7" creationId="{2FF7FA96-5460-41BF-B646-00CA733C67C0}"/>
          </ac:spMkLst>
        </pc:spChg>
        <pc:spChg chg="mod">
          <ac:chgData name="Thilakan, Andrew" userId="1f143052-8546-4a36-b467-ac96e3b8e64e" providerId="ADAL" clId="{50C76BC3-942B-47CB-BD38-9EF3CEC3285D}" dt="2020-12-01T19:52:52.321" v="1740" actId="1038"/>
          <ac:spMkLst>
            <pc:docMk/>
            <pc:sldMk cId="1709308679" sldId="8783"/>
            <ac:spMk id="9" creationId="{F0F99DC0-F3CE-4F26-B75F-AE975B313665}"/>
          </ac:spMkLst>
        </pc:spChg>
        <pc:spChg chg="mod">
          <ac:chgData name="Thilakan, Andrew" userId="1f143052-8546-4a36-b467-ac96e3b8e64e" providerId="ADAL" clId="{50C76BC3-942B-47CB-BD38-9EF3CEC3285D}" dt="2020-12-01T19:55:29.430" v="1853" actId="207"/>
          <ac:spMkLst>
            <pc:docMk/>
            <pc:sldMk cId="1709308679" sldId="8783"/>
            <ac:spMk id="14" creationId="{E000F57D-05FA-4E5A-8E44-848A42C21BE2}"/>
          </ac:spMkLst>
        </pc:spChg>
        <pc:spChg chg="add mod">
          <ac:chgData name="Thilakan, Andrew" userId="1f143052-8546-4a36-b467-ac96e3b8e64e" providerId="ADAL" clId="{50C76BC3-942B-47CB-BD38-9EF3CEC3285D}" dt="2020-12-01T19:55:18.094" v="1850" actId="20577"/>
          <ac:spMkLst>
            <pc:docMk/>
            <pc:sldMk cId="1709308679" sldId="8783"/>
            <ac:spMk id="15" creationId="{7904DCF5-C920-467A-A15D-3875ACAF4B62}"/>
          </ac:spMkLst>
        </pc:spChg>
        <pc:spChg chg="add mod">
          <ac:chgData name="Thilakan, Andrew" userId="1f143052-8546-4a36-b467-ac96e3b8e64e" providerId="ADAL" clId="{50C76BC3-942B-47CB-BD38-9EF3CEC3285D}" dt="2020-12-01T19:53:30.298" v="1763" actId="1076"/>
          <ac:spMkLst>
            <pc:docMk/>
            <pc:sldMk cId="1709308679" sldId="8783"/>
            <ac:spMk id="20" creationId="{2C1350E3-D3F8-4164-9EFF-8A3E53991852}"/>
          </ac:spMkLst>
        </pc:spChg>
      </pc:sldChg>
      <pc:sldChg chg="modSp">
        <pc:chgData name="Thilakan, Andrew" userId="1f143052-8546-4a36-b467-ac96e3b8e64e" providerId="ADAL" clId="{50C76BC3-942B-47CB-BD38-9EF3CEC3285D}" dt="2020-11-19T17:14:19.566" v="10" actId="20577"/>
        <pc:sldMkLst>
          <pc:docMk/>
          <pc:sldMk cId="3491360341" sldId="8786"/>
        </pc:sldMkLst>
        <pc:spChg chg="mod">
          <ac:chgData name="Thilakan, Andrew" userId="1f143052-8546-4a36-b467-ac96e3b8e64e" providerId="ADAL" clId="{50C76BC3-942B-47CB-BD38-9EF3CEC3285D}" dt="2020-11-19T17:14:19.566" v="10" actId="20577"/>
          <ac:spMkLst>
            <pc:docMk/>
            <pc:sldMk cId="3491360341" sldId="8786"/>
            <ac:spMk id="40" creationId="{121719F8-2A26-490B-BE98-0511C598856F}"/>
          </ac:spMkLst>
        </pc:spChg>
      </pc:sldChg>
      <pc:sldChg chg="delSp modSp">
        <pc:chgData name="Thilakan, Andrew" userId="1f143052-8546-4a36-b467-ac96e3b8e64e" providerId="ADAL" clId="{50C76BC3-942B-47CB-BD38-9EF3CEC3285D}" dt="2020-11-30T14:02:26.675" v="1161" actId="478"/>
        <pc:sldMkLst>
          <pc:docMk/>
          <pc:sldMk cId="2246163936" sldId="8788"/>
        </pc:sldMkLst>
        <pc:spChg chg="del mod">
          <ac:chgData name="Thilakan, Andrew" userId="1f143052-8546-4a36-b467-ac96e3b8e64e" providerId="ADAL" clId="{50C76BC3-942B-47CB-BD38-9EF3CEC3285D}" dt="2020-11-30T14:02:26.675" v="1161" actId="478"/>
          <ac:spMkLst>
            <pc:docMk/>
            <pc:sldMk cId="2246163936" sldId="8788"/>
            <ac:spMk id="5" creationId="{BE0A39A7-2E3D-401A-99A1-E8CC511E793E}"/>
          </ac:spMkLst>
        </pc:spChg>
        <pc:graphicFrameChg chg="mod modGraphic">
          <ac:chgData name="Thilakan, Andrew" userId="1f143052-8546-4a36-b467-ac96e3b8e64e" providerId="ADAL" clId="{50C76BC3-942B-47CB-BD38-9EF3CEC3285D}" dt="2020-11-20T19:13:22.644" v="779" actId="20577"/>
          <ac:graphicFrameMkLst>
            <pc:docMk/>
            <pc:sldMk cId="2246163936" sldId="8788"/>
            <ac:graphicFrameMk id="2" creationId="{DBFB0C01-4024-4DDF-BB08-6AA678F60360}"/>
          </ac:graphicFrameMkLst>
        </pc:graphicFrameChg>
      </pc:sldChg>
      <pc:sldChg chg="delSp modSp">
        <pc:chgData name="Thilakan, Andrew" userId="1f143052-8546-4a36-b467-ac96e3b8e64e" providerId="ADAL" clId="{50C76BC3-942B-47CB-BD38-9EF3CEC3285D}" dt="2020-12-01T19:51:09.968" v="1710" actId="113"/>
        <pc:sldMkLst>
          <pc:docMk/>
          <pc:sldMk cId="1867916483" sldId="8795"/>
        </pc:sldMkLst>
        <pc:spChg chg="mod">
          <ac:chgData name="Thilakan, Andrew" userId="1f143052-8546-4a36-b467-ac96e3b8e64e" providerId="ADAL" clId="{50C76BC3-942B-47CB-BD38-9EF3CEC3285D}" dt="2020-11-20T18:20:17.260" v="83" actId="20577"/>
          <ac:spMkLst>
            <pc:docMk/>
            <pc:sldMk cId="1867916483" sldId="8795"/>
            <ac:spMk id="4" creationId="{30EF7E5B-7924-4E05-B8AA-489BA066B7A0}"/>
          </ac:spMkLst>
        </pc:spChg>
        <pc:spChg chg="del mod">
          <ac:chgData name="Thilakan, Andrew" userId="1f143052-8546-4a36-b467-ac96e3b8e64e" providerId="ADAL" clId="{50C76BC3-942B-47CB-BD38-9EF3CEC3285D}" dt="2020-11-30T14:02:32.878" v="1162" actId="478"/>
          <ac:spMkLst>
            <pc:docMk/>
            <pc:sldMk cId="1867916483" sldId="8795"/>
            <ac:spMk id="5" creationId="{90A3A2B5-0462-47C9-AE5D-CC31D8415F44}"/>
          </ac:spMkLst>
        </pc:spChg>
        <pc:graphicFrameChg chg="mod modGraphic">
          <ac:chgData name="Thilakan, Andrew" userId="1f143052-8546-4a36-b467-ac96e3b8e64e" providerId="ADAL" clId="{50C76BC3-942B-47CB-BD38-9EF3CEC3285D}" dt="2020-12-01T19:51:09.968" v="1710" actId="113"/>
          <ac:graphicFrameMkLst>
            <pc:docMk/>
            <pc:sldMk cId="1867916483" sldId="8795"/>
            <ac:graphicFrameMk id="2" creationId="{DBFB0C01-4024-4DDF-BB08-6AA678F60360}"/>
          </ac:graphicFrameMkLst>
        </pc:graphicFrameChg>
      </pc:sldChg>
      <pc:sldChg chg="del">
        <pc:chgData name="Thilakan, Andrew" userId="1f143052-8546-4a36-b467-ac96e3b8e64e" providerId="ADAL" clId="{50C76BC3-942B-47CB-BD38-9EF3CEC3285D}" dt="2020-11-20T19:13:31.942" v="781" actId="2696"/>
        <pc:sldMkLst>
          <pc:docMk/>
          <pc:sldMk cId="3593577048" sldId="8993"/>
        </pc:sldMkLst>
      </pc:sldChg>
      <pc:sldChg chg="del">
        <pc:chgData name="Thilakan, Andrew" userId="1f143052-8546-4a36-b467-ac96e3b8e64e" providerId="ADAL" clId="{50C76BC3-942B-47CB-BD38-9EF3CEC3285D}" dt="2020-11-20T19:13:31.934" v="780" actId="2696"/>
        <pc:sldMkLst>
          <pc:docMk/>
          <pc:sldMk cId="212171083" sldId="8995"/>
        </pc:sldMkLst>
      </pc:sldChg>
      <pc:sldChg chg="addSp delSp modSp ord">
        <pc:chgData name="Thilakan, Andrew" userId="1f143052-8546-4a36-b467-ac96e3b8e64e" providerId="ADAL" clId="{50C76BC3-942B-47CB-BD38-9EF3CEC3285D}" dt="2020-11-30T14:02:39.870" v="1163" actId="478"/>
        <pc:sldMkLst>
          <pc:docMk/>
          <pc:sldMk cId="1957478734" sldId="8996"/>
        </pc:sldMkLst>
        <pc:spChg chg="mod topLvl">
          <ac:chgData name="Thilakan, Andrew" userId="1f143052-8546-4a36-b467-ac96e3b8e64e" providerId="ADAL" clId="{50C76BC3-942B-47CB-BD38-9EF3CEC3285D}" dt="2020-11-20T18:28:21.338" v="502" actId="1076"/>
          <ac:spMkLst>
            <pc:docMk/>
            <pc:sldMk cId="1957478734" sldId="8996"/>
            <ac:spMk id="4" creationId="{D09318D6-01C4-49EF-9DA3-27C308C707B6}"/>
          </ac:spMkLst>
        </pc:spChg>
        <pc:spChg chg="del mod">
          <ac:chgData name="Thilakan, Andrew" userId="1f143052-8546-4a36-b467-ac96e3b8e64e" providerId="ADAL" clId="{50C76BC3-942B-47CB-BD38-9EF3CEC3285D}" dt="2020-11-20T18:26:58.502" v="449" actId="478"/>
          <ac:spMkLst>
            <pc:docMk/>
            <pc:sldMk cId="1957478734" sldId="8996"/>
            <ac:spMk id="5" creationId="{DF293E16-7170-445C-9199-7212FAD6D058}"/>
          </ac:spMkLst>
        </pc:spChg>
        <pc:spChg chg="del mod">
          <ac:chgData name="Thilakan, Andrew" userId="1f143052-8546-4a36-b467-ac96e3b8e64e" providerId="ADAL" clId="{50C76BC3-942B-47CB-BD38-9EF3CEC3285D}" dt="2020-11-30T14:02:39.870" v="1163" actId="478"/>
          <ac:spMkLst>
            <pc:docMk/>
            <pc:sldMk cId="1957478734" sldId="8996"/>
            <ac:spMk id="8" creationId="{489EB390-C267-49AA-B72C-5E20EAD48375}"/>
          </ac:spMkLst>
        </pc:spChg>
        <pc:spChg chg="add del">
          <ac:chgData name="Thilakan, Andrew" userId="1f143052-8546-4a36-b467-ac96e3b8e64e" providerId="ADAL" clId="{50C76BC3-942B-47CB-BD38-9EF3CEC3285D}" dt="2020-11-20T18:28:12.580" v="501" actId="478"/>
          <ac:spMkLst>
            <pc:docMk/>
            <pc:sldMk cId="1957478734" sldId="8996"/>
            <ac:spMk id="9" creationId="{93231D78-95B0-409B-9460-4B79D7F0F54B}"/>
          </ac:spMkLst>
        </pc:spChg>
        <pc:grpChg chg="del">
          <ac:chgData name="Thilakan, Andrew" userId="1f143052-8546-4a36-b467-ac96e3b8e64e" providerId="ADAL" clId="{50C76BC3-942B-47CB-BD38-9EF3CEC3285D}" dt="2020-11-20T18:27:15.879" v="451" actId="478"/>
          <ac:grpSpMkLst>
            <pc:docMk/>
            <pc:sldMk cId="1957478734" sldId="8996"/>
            <ac:grpSpMk id="2" creationId="{72615CD5-F7B8-4194-9435-D6614F007E59}"/>
          </ac:grpSpMkLst>
        </pc:grpChg>
        <pc:picChg chg="del">
          <ac:chgData name="Thilakan, Andrew" userId="1f143052-8546-4a36-b467-ac96e3b8e64e" providerId="ADAL" clId="{50C76BC3-942B-47CB-BD38-9EF3CEC3285D}" dt="2020-11-20T18:27:15.879" v="451" actId="478"/>
          <ac:picMkLst>
            <pc:docMk/>
            <pc:sldMk cId="1957478734" sldId="8996"/>
            <ac:picMk id="3" creationId="{BD658C79-1AE8-4DDB-BEDD-C4ED4C2517F7}"/>
          </ac:picMkLst>
        </pc:picChg>
        <pc:picChg chg="del topLvl">
          <ac:chgData name="Thilakan, Andrew" userId="1f143052-8546-4a36-b467-ac96e3b8e64e" providerId="ADAL" clId="{50C76BC3-942B-47CB-BD38-9EF3CEC3285D}" dt="2020-11-20T18:27:15.879" v="451" actId="478"/>
          <ac:picMkLst>
            <pc:docMk/>
            <pc:sldMk cId="1957478734" sldId="8996"/>
            <ac:picMk id="6" creationId="{4FC6BC80-75C7-45A9-9B19-DAF625FF9B84}"/>
          </ac:picMkLst>
        </pc:picChg>
        <pc:picChg chg="del">
          <ac:chgData name="Thilakan, Andrew" userId="1f143052-8546-4a36-b467-ac96e3b8e64e" providerId="ADAL" clId="{50C76BC3-942B-47CB-BD38-9EF3CEC3285D}" dt="2020-11-20T18:27:08.002" v="450" actId="478"/>
          <ac:picMkLst>
            <pc:docMk/>
            <pc:sldMk cId="1957478734" sldId="8996"/>
            <ac:picMk id="7" creationId="{776F9B99-567D-41A1-9146-28AEDAE1AC89}"/>
          </ac:picMkLst>
        </pc:picChg>
        <pc:picChg chg="add mod">
          <ac:chgData name="Thilakan, Andrew" userId="1f143052-8546-4a36-b467-ac96e3b8e64e" providerId="ADAL" clId="{50C76BC3-942B-47CB-BD38-9EF3CEC3285D}" dt="2020-11-20T18:30:17.724" v="507" actId="1076"/>
          <ac:picMkLst>
            <pc:docMk/>
            <pc:sldMk cId="1957478734" sldId="8996"/>
            <ac:picMk id="11" creationId="{241550DC-84B7-4626-9918-4A20499A0370}"/>
          </ac:picMkLst>
        </pc:picChg>
      </pc:sldChg>
      <pc:sldChg chg="modSp">
        <pc:chgData name="Thilakan, Andrew" userId="1f143052-8546-4a36-b467-ac96e3b8e64e" providerId="ADAL" clId="{50C76BC3-942B-47CB-BD38-9EF3CEC3285D}" dt="2020-12-01T13:46:34.077" v="1692" actId="20577"/>
        <pc:sldMkLst>
          <pc:docMk/>
          <pc:sldMk cId="795272350" sldId="9010"/>
        </pc:sldMkLst>
        <pc:spChg chg="mod">
          <ac:chgData name="Thilakan, Andrew" userId="1f143052-8546-4a36-b467-ac96e3b8e64e" providerId="ADAL" clId="{50C76BC3-942B-47CB-BD38-9EF3CEC3285D}" dt="2020-12-01T13:46:34.077" v="1692" actId="20577"/>
          <ac:spMkLst>
            <pc:docMk/>
            <pc:sldMk cId="795272350" sldId="9010"/>
            <ac:spMk id="18" creationId="{E4EEB0BB-CEA4-435D-930A-B95795FCC5A9}"/>
          </ac:spMkLst>
        </pc:spChg>
        <pc:spChg chg="mod">
          <ac:chgData name="Thilakan, Andrew" userId="1f143052-8546-4a36-b467-ac96e3b8e64e" providerId="ADAL" clId="{50C76BC3-942B-47CB-BD38-9EF3CEC3285D}" dt="2020-12-01T13:33:09.673" v="1435" actId="20577"/>
          <ac:spMkLst>
            <pc:docMk/>
            <pc:sldMk cId="795272350" sldId="9010"/>
            <ac:spMk id="20" creationId="{97F95232-FAF7-4FBD-A394-067DD3DBBE84}"/>
          </ac:spMkLst>
        </pc:spChg>
        <pc:spChg chg="mod">
          <ac:chgData name="Thilakan, Andrew" userId="1f143052-8546-4a36-b467-ac96e3b8e64e" providerId="ADAL" clId="{50C76BC3-942B-47CB-BD38-9EF3CEC3285D}" dt="2020-12-01T13:44:52.961" v="1682" actId="20577"/>
          <ac:spMkLst>
            <pc:docMk/>
            <pc:sldMk cId="795272350" sldId="9010"/>
            <ac:spMk id="22" creationId="{E4EEB0BB-CEA4-435D-930A-B95795FCC5A9}"/>
          </ac:spMkLst>
        </pc:spChg>
      </pc:sldChg>
      <pc:sldChg chg="delSp modSp add">
        <pc:chgData name="Thilakan, Andrew" userId="1f143052-8546-4a36-b467-ac96e3b8e64e" providerId="ADAL" clId="{50C76BC3-942B-47CB-BD38-9EF3CEC3285D}" dt="2020-12-01T13:50:35.708" v="1707" actId="20577"/>
        <pc:sldMkLst>
          <pc:docMk/>
          <pc:sldMk cId="1917742098" sldId="9021"/>
        </pc:sldMkLst>
        <pc:spChg chg="del">
          <ac:chgData name="Thilakan, Andrew" userId="1f143052-8546-4a36-b467-ac96e3b8e64e" providerId="ADAL" clId="{50C76BC3-942B-47CB-BD38-9EF3CEC3285D}" dt="2020-11-30T14:02:44.820" v="1164" actId="478"/>
          <ac:spMkLst>
            <pc:docMk/>
            <pc:sldMk cId="1917742098" sldId="9021"/>
            <ac:spMk id="5" creationId="{90A3A2B5-0462-47C9-AE5D-CC31D8415F44}"/>
          </ac:spMkLst>
        </pc:spChg>
        <pc:graphicFrameChg chg="modGraphic">
          <ac:chgData name="Thilakan, Andrew" userId="1f143052-8546-4a36-b467-ac96e3b8e64e" providerId="ADAL" clId="{50C76BC3-942B-47CB-BD38-9EF3CEC3285D}" dt="2020-12-01T13:50:35.708" v="1707" actId="20577"/>
          <ac:graphicFrameMkLst>
            <pc:docMk/>
            <pc:sldMk cId="1917742098" sldId="9021"/>
            <ac:graphicFrameMk id="2" creationId="{DBFB0C01-4024-4DDF-BB08-6AA678F60360}"/>
          </ac:graphicFrameMkLst>
        </pc:graphicFrameChg>
      </pc:sldChg>
    </pc:docChg>
  </pc:docChgLst>
  <pc:docChgLst>
    <pc:chgData name="Majjiga, Swetha Reddy" userId="S::smajjiga@deloitte.com::5540cba4-1ece-4c56-97c2-75b6521b9cee" providerId="AD" clId="Web-{53BF1DF9-472D-416C-99CA-CF7498E18E96}"/>
    <pc:docChg chg="modSld">
      <pc:chgData name="Majjiga, Swetha Reddy" userId="S::smajjiga@deloitte.com::5540cba4-1ece-4c56-97c2-75b6521b9cee" providerId="AD" clId="Web-{53BF1DF9-472D-416C-99CA-CF7498E18E96}" dt="2021-07-07T09:53:57.056" v="65"/>
      <pc:docMkLst>
        <pc:docMk/>
      </pc:docMkLst>
      <pc:sldChg chg="modSp">
        <pc:chgData name="Majjiga, Swetha Reddy" userId="S::smajjiga@deloitte.com::5540cba4-1ece-4c56-97c2-75b6521b9cee" providerId="AD" clId="Web-{53BF1DF9-472D-416C-99CA-CF7498E18E96}" dt="2021-07-07T09:53:57.056" v="65"/>
        <pc:sldMkLst>
          <pc:docMk/>
          <pc:sldMk cId="847777020" sldId="8791"/>
        </pc:sldMkLst>
        <pc:graphicFrameChg chg="mod modGraphic">
          <ac:chgData name="Majjiga, Swetha Reddy" userId="S::smajjiga@deloitte.com::5540cba4-1ece-4c56-97c2-75b6521b9cee" providerId="AD" clId="Web-{53BF1DF9-472D-416C-99CA-CF7498E18E96}" dt="2021-07-07T09:53:57.056" v="65"/>
          <ac:graphicFrameMkLst>
            <pc:docMk/>
            <pc:sldMk cId="847777020" sldId="8791"/>
            <ac:graphicFrameMk id="2" creationId="{047A132D-3FAE-48C5-BD5F-C01213AAD2F4}"/>
          </ac:graphicFrameMkLst>
        </pc:graphicFrameChg>
      </pc:sldChg>
    </pc:docChg>
  </pc:docChgLst>
  <pc:docChgLst>
    <pc:chgData name="Khisty, Mukund" userId="S::mkhisty@deloitte.com::97a787a6-0eca-4f26-b388-c38696e1afb6" providerId="AD" clId="Web-{5DFF5000-86FD-47F5-807E-EEB5DD0393B1}"/>
    <pc:docChg chg="addSld delSld modSection">
      <pc:chgData name="Khisty, Mukund" userId="S::mkhisty@deloitte.com::97a787a6-0eca-4f26-b388-c38696e1afb6" providerId="AD" clId="Web-{5DFF5000-86FD-47F5-807E-EEB5DD0393B1}" dt="2020-07-09T13:07:43.207" v="1"/>
      <pc:docMkLst>
        <pc:docMk/>
      </pc:docMkLst>
      <pc:sldChg chg="add del">
        <pc:chgData name="Khisty, Mukund" userId="S::mkhisty@deloitte.com::97a787a6-0eca-4f26-b388-c38696e1afb6" providerId="AD" clId="Web-{5DFF5000-86FD-47F5-807E-EEB5DD0393B1}" dt="2020-07-09T13:07:43.207" v="1"/>
        <pc:sldMkLst>
          <pc:docMk/>
          <pc:sldMk cId="568126937" sldId="8777"/>
        </pc:sldMkLst>
      </pc:sldChg>
    </pc:docChg>
  </pc:docChgLst>
  <pc:docChgLst>
    <pc:chgData name="Dhruvarao, Lakshmi" userId="b75a9b00-dffc-4afc-8108-6bf6b4cc69f5" providerId="ADAL" clId="{65B20ECD-D41D-4DD4-9532-8E31E76E97B0}"/>
    <pc:docChg chg="undo custSel modSld">
      <pc:chgData name="Dhruvarao, Lakshmi" userId="b75a9b00-dffc-4afc-8108-6bf6b4cc69f5" providerId="ADAL" clId="{65B20ECD-D41D-4DD4-9532-8E31E76E97B0}" dt="2021-07-13T10:15:01.961" v="21" actId="6549"/>
      <pc:docMkLst>
        <pc:docMk/>
      </pc:docMkLst>
      <pc:sldChg chg="modSp">
        <pc:chgData name="Dhruvarao, Lakshmi" userId="b75a9b00-dffc-4afc-8108-6bf6b4cc69f5" providerId="ADAL" clId="{65B20ECD-D41D-4DD4-9532-8E31E76E97B0}" dt="2021-07-13T10:12:15.306" v="0"/>
        <pc:sldMkLst>
          <pc:docMk/>
          <pc:sldMk cId="2138715199" sldId="8833"/>
        </pc:sldMkLst>
        <pc:graphicFrameChg chg="mod">
          <ac:chgData name="Dhruvarao, Lakshmi" userId="b75a9b00-dffc-4afc-8108-6bf6b4cc69f5" providerId="ADAL" clId="{65B20ECD-D41D-4DD4-9532-8E31E76E97B0}" dt="2021-07-13T10:12:15.306" v="0"/>
          <ac:graphicFrameMkLst>
            <pc:docMk/>
            <pc:sldMk cId="2138715199" sldId="8833"/>
            <ac:graphicFrameMk id="2" creationId="{DBFB0C01-4024-4DDF-BB08-6AA678F60360}"/>
          </ac:graphicFrameMkLst>
        </pc:graphicFrameChg>
      </pc:sldChg>
      <pc:sldChg chg="addSp delSp modSp mod">
        <pc:chgData name="Dhruvarao, Lakshmi" userId="b75a9b00-dffc-4afc-8108-6bf6b4cc69f5" providerId="ADAL" clId="{65B20ECD-D41D-4DD4-9532-8E31E76E97B0}" dt="2021-07-13T10:13:17.546" v="5"/>
        <pc:sldMkLst>
          <pc:docMk/>
          <pc:sldMk cId="3038467007" sldId="9071"/>
        </pc:sldMkLst>
        <pc:graphicFrameChg chg="add mod">
          <ac:chgData name="Dhruvarao, Lakshmi" userId="b75a9b00-dffc-4afc-8108-6bf6b4cc69f5" providerId="ADAL" clId="{65B20ECD-D41D-4DD4-9532-8E31E76E97B0}" dt="2021-07-13T10:13:17.546" v="5"/>
          <ac:graphicFrameMkLst>
            <pc:docMk/>
            <pc:sldMk cId="3038467007" sldId="9071"/>
            <ac:graphicFrameMk id="5" creationId="{144D22B2-3396-435D-97F1-6D524E441013}"/>
          </ac:graphicFrameMkLst>
        </pc:graphicFrameChg>
        <pc:graphicFrameChg chg="del modGraphic">
          <ac:chgData name="Dhruvarao, Lakshmi" userId="b75a9b00-dffc-4afc-8108-6bf6b4cc69f5" providerId="ADAL" clId="{65B20ECD-D41D-4DD4-9532-8E31E76E97B0}" dt="2021-07-13T10:13:00.909" v="4" actId="478"/>
          <ac:graphicFrameMkLst>
            <pc:docMk/>
            <pc:sldMk cId="3038467007" sldId="9071"/>
            <ac:graphicFrameMk id="6" creationId="{F4CF8105-A30D-4E17-82FB-87C429670364}"/>
          </ac:graphicFrameMkLst>
        </pc:graphicFrameChg>
      </pc:sldChg>
      <pc:sldChg chg="addSp delSp modSp mod">
        <pc:chgData name="Dhruvarao, Lakshmi" userId="b75a9b00-dffc-4afc-8108-6bf6b4cc69f5" providerId="ADAL" clId="{65B20ECD-D41D-4DD4-9532-8E31E76E97B0}" dt="2021-07-13T10:15:01.961" v="21" actId="6549"/>
        <pc:sldMkLst>
          <pc:docMk/>
          <pc:sldMk cId="1234521308" sldId="9072"/>
        </pc:sldMkLst>
        <pc:spChg chg="add mod">
          <ac:chgData name="Dhruvarao, Lakshmi" userId="b75a9b00-dffc-4afc-8108-6bf6b4cc69f5" providerId="ADAL" clId="{65B20ECD-D41D-4DD4-9532-8E31E76E97B0}" dt="2021-07-13T10:15:01.961" v="21" actId="6549"/>
          <ac:spMkLst>
            <pc:docMk/>
            <pc:sldMk cId="1234521308" sldId="9072"/>
            <ac:spMk id="2" creationId="{B16F6C75-611A-4FFE-BCE1-B40696D42D38}"/>
          </ac:spMkLst>
        </pc:spChg>
        <pc:spChg chg="del mod">
          <ac:chgData name="Dhruvarao, Lakshmi" userId="b75a9b00-dffc-4afc-8108-6bf6b4cc69f5" providerId="ADAL" clId="{65B20ECD-D41D-4DD4-9532-8E31E76E97B0}" dt="2021-07-13T10:13:29.323" v="7" actId="478"/>
          <ac:spMkLst>
            <pc:docMk/>
            <pc:sldMk cId="1234521308" sldId="9072"/>
            <ac:spMk id="7" creationId="{23BFA5EA-56E0-451D-8744-A431A8B9C40E}"/>
          </ac:spMkLst>
        </pc:spChg>
        <pc:spChg chg="del">
          <ac:chgData name="Dhruvarao, Lakshmi" userId="b75a9b00-dffc-4afc-8108-6bf6b4cc69f5" providerId="ADAL" clId="{65B20ECD-D41D-4DD4-9532-8E31E76E97B0}" dt="2021-07-13T10:13:32.808" v="8" actId="478"/>
          <ac:spMkLst>
            <pc:docMk/>
            <pc:sldMk cId="1234521308" sldId="9072"/>
            <ac:spMk id="18" creationId="{00E1A6FC-8DC2-4DB2-93B9-9A445B18F06F}"/>
          </ac:spMkLst>
        </pc:spChg>
      </pc:sldChg>
    </pc:docChg>
  </pc:docChgLst>
  <pc:docChgLst>
    <pc:chgData name="Kutas-Hille, Janine" userId="S::jkutashille@deloitte.com::0788d68a-0adc-44ef-94ed-31189926cb8f" providerId="AD" clId="Web-{58EA42EA-6C59-491E-95B8-28CEF4F1056D}"/>
    <pc:docChg chg="modSld">
      <pc:chgData name="Kutas-Hille, Janine" userId="S::jkutashille@deloitte.com::0788d68a-0adc-44ef-94ed-31189926cb8f" providerId="AD" clId="Web-{58EA42EA-6C59-491E-95B8-28CEF4F1056D}" dt="2021-03-22T15:10:03.306" v="300" actId="20577"/>
      <pc:docMkLst>
        <pc:docMk/>
      </pc:docMkLst>
      <pc:sldChg chg="delSp modSp">
        <pc:chgData name="Kutas-Hille, Janine" userId="S::jkutashille@deloitte.com::0788d68a-0adc-44ef-94ed-31189926cb8f" providerId="AD" clId="Web-{58EA42EA-6C59-491E-95B8-28CEF4F1056D}" dt="2021-03-22T15:10:03.306" v="300" actId="20577"/>
        <pc:sldMkLst>
          <pc:docMk/>
          <pc:sldMk cId="3148283714" sldId="8987"/>
        </pc:sldMkLst>
        <pc:spChg chg="del mod">
          <ac:chgData name="Kutas-Hille, Janine" userId="S::jkutashille@deloitte.com::0788d68a-0adc-44ef-94ed-31189926cb8f" providerId="AD" clId="Web-{58EA42EA-6C59-491E-95B8-28CEF4F1056D}" dt="2021-03-22T14:47:39.786" v="1"/>
          <ac:spMkLst>
            <pc:docMk/>
            <pc:sldMk cId="3148283714" sldId="8987"/>
            <ac:spMk id="5" creationId="{EFCAC371-12B1-4B78-8B46-BFDBBC19A1B2}"/>
          </ac:spMkLst>
        </pc:spChg>
        <pc:spChg chg="mod">
          <ac:chgData name="Kutas-Hille, Janine" userId="S::jkutashille@deloitte.com::0788d68a-0adc-44ef-94ed-31189926cb8f" providerId="AD" clId="Web-{58EA42EA-6C59-491E-95B8-28CEF4F1056D}" dt="2021-03-22T15:10:03.306" v="300" actId="20577"/>
          <ac:spMkLst>
            <pc:docMk/>
            <pc:sldMk cId="3148283714" sldId="8987"/>
            <ac:spMk id="13" creationId="{00000000-0000-0000-0000-000000000000}"/>
          </ac:spMkLst>
        </pc:spChg>
      </pc:sldChg>
    </pc:docChg>
  </pc:docChgLst>
  <pc:docChgLst>
    <pc:chgData name="Jivrajani, Dharini" userId="S::djivrajani@deloitte.com::9f28c9a6-e07b-4de5-8682-ac3f5c875595" providerId="AD" clId="Web-{430D03C0-78A6-4C25-A728-7168B06515C7}"/>
    <pc:docChg chg="modSld">
      <pc:chgData name="Jivrajani, Dharini" userId="S::djivrajani@deloitte.com::9f28c9a6-e07b-4de5-8682-ac3f5c875595" providerId="AD" clId="Web-{430D03C0-78A6-4C25-A728-7168B06515C7}" dt="2020-07-14T12:57:33.460" v="22" actId="20577"/>
      <pc:docMkLst>
        <pc:docMk/>
      </pc:docMkLst>
      <pc:sldChg chg="modSp">
        <pc:chgData name="Jivrajani, Dharini" userId="S::djivrajani@deloitte.com::9f28c9a6-e07b-4de5-8682-ac3f5c875595" providerId="AD" clId="Web-{430D03C0-78A6-4C25-A728-7168B06515C7}" dt="2020-07-14T12:57:25.944" v="20" actId="20577"/>
        <pc:sldMkLst>
          <pc:docMk/>
          <pc:sldMk cId="2663242362" sldId="8823"/>
        </pc:sldMkLst>
        <pc:spChg chg="mod">
          <ac:chgData name="Jivrajani, Dharini" userId="S::djivrajani@deloitte.com::9f28c9a6-e07b-4de5-8682-ac3f5c875595" providerId="AD" clId="Web-{430D03C0-78A6-4C25-A728-7168B06515C7}" dt="2020-07-14T12:57:25.944" v="20" actId="20577"/>
          <ac:spMkLst>
            <pc:docMk/>
            <pc:sldMk cId="2663242362" sldId="8823"/>
            <ac:spMk id="4" creationId="{7A9DFF01-0B03-48E4-B42D-F011C5ECF119}"/>
          </ac:spMkLst>
        </pc:spChg>
      </pc:sldChg>
    </pc:docChg>
  </pc:docChgLst>
  <pc:docChgLst>
    <pc:chgData name="Majjiga, Swetha Reddy" userId="S::smajjiga@deloitte.com::5540cba4-1ece-4c56-97c2-75b6521b9cee" providerId="AD" clId="Web-{63402BB1-2373-48D6-A1EC-5CB2EBA3301F}"/>
    <pc:docChg chg="modSld">
      <pc:chgData name="Majjiga, Swetha Reddy" userId="S::smajjiga@deloitte.com::5540cba4-1ece-4c56-97c2-75b6521b9cee" providerId="AD" clId="Web-{63402BB1-2373-48D6-A1EC-5CB2EBA3301F}" dt="2020-11-10T08:55:15.354" v="26"/>
      <pc:docMkLst>
        <pc:docMk/>
      </pc:docMkLst>
      <pc:sldChg chg="modSp">
        <pc:chgData name="Majjiga, Swetha Reddy" userId="S::smajjiga@deloitte.com::5540cba4-1ece-4c56-97c2-75b6521b9cee" providerId="AD" clId="Web-{63402BB1-2373-48D6-A1EC-5CB2EBA3301F}" dt="2020-11-10T08:55:15.354" v="26"/>
        <pc:sldMkLst>
          <pc:docMk/>
          <pc:sldMk cId="847777020" sldId="8791"/>
        </pc:sldMkLst>
        <pc:graphicFrameChg chg="mod modGraphic">
          <ac:chgData name="Majjiga, Swetha Reddy" userId="S::smajjiga@deloitte.com::5540cba4-1ece-4c56-97c2-75b6521b9cee" providerId="AD" clId="Web-{63402BB1-2373-48D6-A1EC-5CB2EBA3301F}" dt="2020-11-10T08:55:15.354" v="26"/>
          <ac:graphicFrameMkLst>
            <pc:docMk/>
            <pc:sldMk cId="847777020" sldId="8791"/>
            <ac:graphicFrameMk id="2" creationId="{047A132D-3FAE-48C5-BD5F-C01213AAD2F4}"/>
          </ac:graphicFrameMkLst>
        </pc:graphicFrameChg>
      </pc:sldChg>
    </pc:docChg>
  </pc:docChgLst>
  <pc:docChgLst>
    <pc:chgData name="Sharma Palla, Rakesh" userId="S::rsharmapalla@deloitte.com::10f9904b-c976-486e-940c-ca5698800d24" providerId="AD" clId="Web-{A8908E3A-1AA0-480B-9D62-6926F6887C33}"/>
    <pc:docChg chg="modSld">
      <pc:chgData name="Sharma Palla, Rakesh" userId="S::rsharmapalla@deloitte.com::10f9904b-c976-486e-940c-ca5698800d24" providerId="AD" clId="Web-{A8908E3A-1AA0-480B-9D62-6926F6887C33}" dt="2020-07-14T12:45:23.851" v="63"/>
      <pc:docMkLst>
        <pc:docMk/>
      </pc:docMkLst>
      <pc:sldChg chg="modSp">
        <pc:chgData name="Sharma Palla, Rakesh" userId="S::rsharmapalla@deloitte.com::10f9904b-c976-486e-940c-ca5698800d24" providerId="AD" clId="Web-{A8908E3A-1AA0-480B-9D62-6926F6887C33}" dt="2020-07-14T12:45:23.851" v="63"/>
        <pc:sldMkLst>
          <pc:docMk/>
          <pc:sldMk cId="847777020" sldId="8791"/>
        </pc:sldMkLst>
        <pc:graphicFrameChg chg="mod modGraphic">
          <ac:chgData name="Sharma Palla, Rakesh" userId="S::rsharmapalla@deloitte.com::10f9904b-c976-486e-940c-ca5698800d24" providerId="AD" clId="Web-{A8908E3A-1AA0-480B-9D62-6926F6887C33}" dt="2020-07-14T12:45:23.851" v="63"/>
          <ac:graphicFrameMkLst>
            <pc:docMk/>
            <pc:sldMk cId="847777020" sldId="8791"/>
            <ac:graphicFrameMk id="2" creationId="{047A132D-3FAE-48C5-BD5F-C01213AAD2F4}"/>
          </ac:graphicFrameMkLst>
        </pc:graphicFrameChg>
      </pc:sldChg>
    </pc:docChg>
  </pc:docChgLst>
  <pc:docChgLst>
    <pc:chgData name="Prakash, Ankur" userId="S::anprakash@deloitte.com::e5ec4ef6-a8ef-421f-ae1a-afd967453ffe" providerId="AD" clId="Web-{E71BD414-548C-4482-880A-81F59E656D0E}"/>
    <pc:docChg chg="modSld">
      <pc:chgData name="Prakash, Ankur" userId="S::anprakash@deloitte.com::e5ec4ef6-a8ef-421f-ae1a-afd967453ffe" providerId="AD" clId="Web-{E71BD414-548C-4482-880A-81F59E656D0E}" dt="2020-06-25T12:16:21.075" v="40" actId="20577"/>
      <pc:docMkLst>
        <pc:docMk/>
      </pc:docMkLst>
      <pc:sldChg chg="modSp">
        <pc:chgData name="Prakash, Ankur" userId="S::anprakash@deloitte.com::e5ec4ef6-a8ef-421f-ae1a-afd967453ffe" providerId="AD" clId="Web-{E71BD414-548C-4482-880A-81F59E656D0E}" dt="2020-06-25T12:16:18.185" v="38" actId="20577"/>
        <pc:sldMkLst>
          <pc:docMk/>
          <pc:sldMk cId="3491360341" sldId="8786"/>
        </pc:sldMkLst>
        <pc:spChg chg="mod">
          <ac:chgData name="Prakash, Ankur" userId="S::anprakash@deloitte.com::e5ec4ef6-a8ef-421f-ae1a-afd967453ffe" providerId="AD" clId="Web-{E71BD414-548C-4482-880A-81F59E656D0E}" dt="2020-06-25T12:13:53.013" v="5" actId="20577"/>
          <ac:spMkLst>
            <pc:docMk/>
            <pc:sldMk cId="3491360341" sldId="8786"/>
            <ac:spMk id="2" creationId="{88F2756D-BFEC-4C0E-A280-EEE3D75C996A}"/>
          </ac:spMkLst>
        </pc:spChg>
        <pc:spChg chg="mod">
          <ac:chgData name="Prakash, Ankur" userId="S::anprakash@deloitte.com::e5ec4ef6-a8ef-421f-ae1a-afd967453ffe" providerId="AD" clId="Web-{E71BD414-548C-4482-880A-81F59E656D0E}" dt="2020-06-25T12:14:29.654" v="35" actId="20577"/>
          <ac:spMkLst>
            <pc:docMk/>
            <pc:sldMk cId="3491360341" sldId="8786"/>
            <ac:spMk id="3" creationId="{221918E3-ABCE-4B86-AAE5-097AF77F6E06}"/>
          </ac:spMkLst>
        </pc:spChg>
        <pc:spChg chg="mod">
          <ac:chgData name="Prakash, Ankur" userId="S::anprakash@deloitte.com::e5ec4ef6-a8ef-421f-ae1a-afd967453ffe" providerId="AD" clId="Web-{E71BD414-548C-4482-880A-81F59E656D0E}" dt="2020-06-25T12:16:18.185" v="38" actId="20577"/>
          <ac:spMkLst>
            <pc:docMk/>
            <pc:sldMk cId="3491360341" sldId="8786"/>
            <ac:spMk id="5" creationId="{02DEB1AA-D738-40F6-A7DD-D454C53CCBCE}"/>
          </ac:spMkLst>
        </pc:spChg>
      </pc:sldChg>
    </pc:docChg>
  </pc:docChgLst>
  <pc:docChgLst>
    <pc:chgData name="Berkhout, Arnold" userId="0ca40ea5-eff1-45d8-a898-ae6e843d717d" providerId="ADAL" clId="{8C384905-E62D-4F2F-9896-BC4F4D2E22FE}"/>
    <pc:docChg chg="custSel addSld delSld modSld">
      <pc:chgData name="Berkhout, Arnold" userId="0ca40ea5-eff1-45d8-a898-ae6e843d717d" providerId="ADAL" clId="{8C384905-E62D-4F2F-9896-BC4F4D2E22FE}" dt="2021-03-16T19:25:24.787" v="115" actId="20577"/>
      <pc:docMkLst>
        <pc:docMk/>
      </pc:docMkLst>
      <pc:sldChg chg="delSp modSp add del setBg">
        <pc:chgData name="Berkhout, Arnold" userId="0ca40ea5-eff1-45d8-a898-ae6e843d717d" providerId="ADAL" clId="{8C384905-E62D-4F2F-9896-BC4F4D2E22FE}" dt="2021-03-16T19:08:24.878" v="73" actId="20577"/>
        <pc:sldMkLst>
          <pc:docMk/>
          <pc:sldMk cId="2134256953" sldId="457"/>
        </pc:sldMkLst>
        <pc:spChg chg="mod">
          <ac:chgData name="Berkhout, Arnold" userId="0ca40ea5-eff1-45d8-a898-ae6e843d717d" providerId="ADAL" clId="{8C384905-E62D-4F2F-9896-BC4F4D2E22FE}" dt="2021-03-16T19:05:44.252" v="8" actId="20577"/>
          <ac:spMkLst>
            <pc:docMk/>
            <pc:sldMk cId="2134256953" sldId="457"/>
            <ac:spMk id="3" creationId="{00000000-0000-0000-0000-000000000000}"/>
          </ac:spMkLst>
        </pc:spChg>
        <pc:graphicFrameChg chg="modGraphic">
          <ac:chgData name="Berkhout, Arnold" userId="0ca40ea5-eff1-45d8-a898-ae6e843d717d" providerId="ADAL" clId="{8C384905-E62D-4F2F-9896-BC4F4D2E22FE}" dt="2021-03-16T19:08:24.878" v="73" actId="20577"/>
          <ac:graphicFrameMkLst>
            <pc:docMk/>
            <pc:sldMk cId="2134256953" sldId="457"/>
            <ac:graphicFrameMk id="2" creationId="{00000000-0000-0000-0000-000000000000}"/>
          </ac:graphicFrameMkLst>
        </pc:graphicFrameChg>
        <pc:graphicFrameChg chg="del">
          <ac:chgData name="Berkhout, Arnold" userId="0ca40ea5-eff1-45d8-a898-ae6e843d717d" providerId="ADAL" clId="{8C384905-E62D-4F2F-9896-BC4F4D2E22FE}" dt="2021-03-16T19:06:12.884" v="9" actId="478"/>
          <ac:graphicFrameMkLst>
            <pc:docMk/>
            <pc:sldMk cId="2134256953" sldId="457"/>
            <ac:graphicFrameMk id="9" creationId="{00000000-0000-0000-0000-000000000000}"/>
          </ac:graphicFrameMkLst>
        </pc:graphicFrameChg>
      </pc:sldChg>
      <pc:sldChg chg="delSp modSp">
        <pc:chgData name="Berkhout, Arnold" userId="0ca40ea5-eff1-45d8-a898-ae6e843d717d" providerId="ADAL" clId="{8C384905-E62D-4F2F-9896-BC4F4D2E22FE}" dt="2021-03-16T19:25:24.787" v="115" actId="20577"/>
        <pc:sldMkLst>
          <pc:docMk/>
          <pc:sldMk cId="2545999528" sldId="2078"/>
        </pc:sldMkLst>
        <pc:spChg chg="del">
          <ac:chgData name="Berkhout, Arnold" userId="0ca40ea5-eff1-45d8-a898-ae6e843d717d" providerId="ADAL" clId="{8C384905-E62D-4F2F-9896-BC4F4D2E22FE}" dt="2021-03-16T19:24:17.279" v="76" actId="478"/>
          <ac:spMkLst>
            <pc:docMk/>
            <pc:sldMk cId="2545999528" sldId="2078"/>
            <ac:spMk id="2" creationId="{4EC48594-500D-448A-9640-345E05D6BDC5}"/>
          </ac:spMkLst>
        </pc:spChg>
        <pc:spChg chg="mod">
          <ac:chgData name="Berkhout, Arnold" userId="0ca40ea5-eff1-45d8-a898-ae6e843d717d" providerId="ADAL" clId="{8C384905-E62D-4F2F-9896-BC4F4D2E22FE}" dt="2021-03-16T19:25:24.787" v="115" actId="20577"/>
          <ac:spMkLst>
            <pc:docMk/>
            <pc:sldMk cId="2545999528" sldId="2078"/>
            <ac:spMk id="11" creationId="{D81E90CF-FE2B-4EF2-AE01-6B8C8331CB34}"/>
          </ac:spMkLst>
        </pc:spChg>
      </pc:sldChg>
    </pc:docChg>
  </pc:docChgLst>
  <pc:docChgLst>
    <pc:chgData name="Sidipohu, Abhilash" userId="S::asidipohu@deloitte.com::1ff5d5b4-687c-427e-b924-f7401cd2c844" providerId="AD" clId="Web-{CDEFBBE8-A2E7-4283-90EE-13EE52EFCDC9}"/>
    <pc:docChg chg="modSld">
      <pc:chgData name="Sidipohu, Abhilash" userId="S::asidipohu@deloitte.com::1ff5d5b4-687c-427e-b924-f7401cd2c844" providerId="AD" clId="Web-{CDEFBBE8-A2E7-4283-90EE-13EE52EFCDC9}" dt="2020-11-30T07:19:35.611" v="17"/>
      <pc:docMkLst>
        <pc:docMk/>
      </pc:docMkLst>
      <pc:sldChg chg="addSp delSp modSp">
        <pc:chgData name="Sidipohu, Abhilash" userId="S::asidipohu@deloitte.com::1ff5d5b4-687c-427e-b924-f7401cd2c844" providerId="AD" clId="Web-{CDEFBBE8-A2E7-4283-90EE-13EE52EFCDC9}" dt="2020-11-30T07:19:35.611" v="17"/>
        <pc:sldMkLst>
          <pc:docMk/>
          <pc:sldMk cId="860965959" sldId="8839"/>
        </pc:sldMkLst>
        <pc:spChg chg="del">
          <ac:chgData name="Sidipohu, Abhilash" userId="S::asidipohu@deloitte.com::1ff5d5b4-687c-427e-b924-f7401cd2c844" providerId="AD" clId="Web-{CDEFBBE8-A2E7-4283-90EE-13EE52EFCDC9}" dt="2020-11-30T07:18:25.549" v="2"/>
          <ac:spMkLst>
            <pc:docMk/>
            <pc:sldMk cId="860965959" sldId="8839"/>
            <ac:spMk id="5" creationId="{EC32FE00-BE74-44DF-A048-939A0227B2B8}"/>
          </ac:spMkLst>
        </pc:spChg>
        <pc:spChg chg="add del mod">
          <ac:chgData name="Sidipohu, Abhilash" userId="S::asidipohu@deloitte.com::1ff5d5b4-687c-427e-b924-f7401cd2c844" providerId="AD" clId="Web-{CDEFBBE8-A2E7-4283-90EE-13EE52EFCDC9}" dt="2020-11-30T07:19:35.611" v="17"/>
          <ac:spMkLst>
            <pc:docMk/>
            <pc:sldMk cId="860965959" sldId="8839"/>
            <ac:spMk id="6" creationId="{BDABA8D6-0094-4B60-88C3-EF39E711B4D7}"/>
          </ac:spMkLst>
        </pc:spChg>
        <pc:spChg chg="del mod">
          <ac:chgData name="Sidipohu, Abhilash" userId="S::asidipohu@deloitte.com::1ff5d5b4-687c-427e-b924-f7401cd2c844" providerId="AD" clId="Web-{CDEFBBE8-A2E7-4283-90EE-13EE52EFCDC9}" dt="2020-11-30T07:18:58.049" v="5"/>
          <ac:spMkLst>
            <pc:docMk/>
            <pc:sldMk cId="860965959" sldId="8839"/>
            <ac:spMk id="13" creationId="{00000000-0000-0000-0000-000000000000}"/>
          </ac:spMkLst>
        </pc:spChg>
        <pc:picChg chg="add del mod">
          <ac:chgData name="Sidipohu, Abhilash" userId="S::asidipohu@deloitte.com::1ff5d5b4-687c-427e-b924-f7401cd2c844" providerId="AD" clId="Web-{CDEFBBE8-A2E7-4283-90EE-13EE52EFCDC9}" dt="2020-11-30T07:18:03.034" v="1"/>
          <ac:picMkLst>
            <pc:docMk/>
            <pc:sldMk cId="860965959" sldId="8839"/>
            <ac:picMk id="2" creationId="{7C30A1D9-91A6-4386-ABF0-6E5D762711A4}"/>
          </ac:picMkLst>
        </pc:picChg>
        <pc:picChg chg="add del mod">
          <ac:chgData name="Sidipohu, Abhilash" userId="S::asidipohu@deloitte.com::1ff5d5b4-687c-427e-b924-f7401cd2c844" providerId="AD" clId="Web-{CDEFBBE8-A2E7-4283-90EE-13EE52EFCDC9}" dt="2020-11-30T07:19:14.721" v="13"/>
          <ac:picMkLst>
            <pc:docMk/>
            <pc:sldMk cId="860965959" sldId="8839"/>
            <ac:picMk id="3" creationId="{654BACFA-9CF3-4D31-AFE1-E3FF7884B1B6}"/>
          </ac:picMkLst>
        </pc:picChg>
      </pc:sldChg>
    </pc:docChg>
  </pc:docChgLst>
  <pc:docChgLst>
    <pc:chgData name="Kandula, Sowmya" userId="S::skandula@deloitte.com::1b9a64a6-a227-4856-95ee-482c206ded6a" providerId="AD" clId="Web-{1E02BCC2-390C-46BD-AC3D-AEC09DFEE639}"/>
    <pc:docChg chg="modSld">
      <pc:chgData name="Kandula, Sowmya" userId="S::skandula@deloitte.com::1b9a64a6-a227-4856-95ee-482c206ded6a" providerId="AD" clId="Web-{1E02BCC2-390C-46BD-AC3D-AEC09DFEE639}" dt="2020-12-02T05:17:33.132" v="15" actId="20577"/>
      <pc:docMkLst>
        <pc:docMk/>
      </pc:docMkLst>
      <pc:sldChg chg="modSp">
        <pc:chgData name="Kandula, Sowmya" userId="S::skandula@deloitte.com::1b9a64a6-a227-4856-95ee-482c206ded6a" providerId="AD" clId="Web-{1E02BCC2-390C-46BD-AC3D-AEC09DFEE639}" dt="2020-12-02T05:17:33.132" v="15" actId="20577"/>
        <pc:sldMkLst>
          <pc:docMk/>
          <pc:sldMk cId="1709308679" sldId="8783"/>
        </pc:sldMkLst>
        <pc:spChg chg="mod">
          <ac:chgData name="Kandula, Sowmya" userId="S::skandula@deloitte.com::1b9a64a6-a227-4856-95ee-482c206ded6a" providerId="AD" clId="Web-{1E02BCC2-390C-46BD-AC3D-AEC09DFEE639}" dt="2020-12-02T05:17:33.132" v="15" actId="20577"/>
          <ac:spMkLst>
            <pc:docMk/>
            <pc:sldMk cId="1709308679" sldId="8783"/>
            <ac:spMk id="15" creationId="{7904DCF5-C920-467A-A15D-3875ACAF4B62}"/>
          </ac:spMkLst>
        </pc:spChg>
      </pc:sldChg>
    </pc:docChg>
  </pc:docChgLst>
  <pc:docChgLst>
    <pc:chgData name="Jackman, Lauren" userId="S::ljackman@deloitte.com::ef96ab20-fb12-476c-a3e0-14bd051fc290" providerId="AD" clId="Web-{1A6B4B49-1E40-4BD0-800C-5A440960A545}"/>
    <pc:docChg chg="modSld">
      <pc:chgData name="Jackman, Lauren" userId="S::ljackman@deloitte.com::ef96ab20-fb12-476c-a3e0-14bd051fc290" providerId="AD" clId="Web-{1A6B4B49-1E40-4BD0-800C-5A440960A545}" dt="2020-08-10T19:56:03.919" v="180" actId="20577"/>
      <pc:docMkLst>
        <pc:docMk/>
      </pc:docMkLst>
      <pc:sldChg chg="addSp delSp modSp">
        <pc:chgData name="Jackman, Lauren" userId="S::ljackman@deloitte.com::ef96ab20-fb12-476c-a3e0-14bd051fc290" providerId="AD" clId="Web-{1A6B4B49-1E40-4BD0-800C-5A440960A545}" dt="2020-08-10T19:56:03.919" v="180" actId="20577"/>
        <pc:sldMkLst>
          <pc:docMk/>
          <pc:sldMk cId="1978270760" sldId="1111"/>
        </pc:sldMkLst>
        <pc:spChg chg="add mod">
          <ac:chgData name="Jackman, Lauren" userId="S::ljackman@deloitte.com::ef96ab20-fb12-476c-a3e0-14bd051fc290" providerId="AD" clId="Web-{1A6B4B49-1E40-4BD0-800C-5A440960A545}" dt="2020-08-10T19:50:32.504" v="132" actId="14100"/>
          <ac:spMkLst>
            <pc:docMk/>
            <pc:sldMk cId="1978270760" sldId="1111"/>
            <ac:spMk id="4" creationId="{F05AFE26-3FDE-40FA-BD03-7BE43CDC0154}"/>
          </ac:spMkLst>
        </pc:spChg>
        <pc:spChg chg="add del mod">
          <ac:chgData name="Jackman, Lauren" userId="S::ljackman@deloitte.com::ef96ab20-fb12-476c-a3e0-14bd051fc290" providerId="AD" clId="Web-{1A6B4B49-1E40-4BD0-800C-5A440960A545}" dt="2020-08-10T19:49:01.888" v="113"/>
          <ac:spMkLst>
            <pc:docMk/>
            <pc:sldMk cId="1978270760" sldId="1111"/>
            <ac:spMk id="5" creationId="{B15DAC34-77CB-47AF-AF0C-91E9EAC96645}"/>
          </ac:spMkLst>
        </pc:spChg>
        <pc:spChg chg="mod">
          <ac:chgData name="Jackman, Lauren" userId="S::ljackman@deloitte.com::ef96ab20-fb12-476c-a3e0-14bd051fc290" providerId="AD" clId="Web-{1A6B4B49-1E40-4BD0-800C-5A440960A545}" dt="2020-08-10T19:48:15.588" v="101" actId="1076"/>
          <ac:spMkLst>
            <pc:docMk/>
            <pc:sldMk cId="1978270760" sldId="1111"/>
            <ac:spMk id="8" creationId="{DE2F1E47-71DF-40D9-BEE8-668CE2C0817D}"/>
          </ac:spMkLst>
        </pc:spChg>
        <pc:spChg chg="add mod">
          <ac:chgData name="Jackman, Lauren" userId="S::ljackman@deloitte.com::ef96ab20-fb12-476c-a3e0-14bd051fc290" providerId="AD" clId="Web-{1A6B4B49-1E40-4BD0-800C-5A440960A545}" dt="2020-08-10T19:50:25.472" v="130" actId="14100"/>
          <ac:spMkLst>
            <pc:docMk/>
            <pc:sldMk cId="1978270760" sldId="1111"/>
            <ac:spMk id="12" creationId="{9F493675-EFCA-419F-BDC2-7998DCA24F3C}"/>
          </ac:spMkLst>
        </pc:spChg>
        <pc:spChg chg="mod">
          <ac:chgData name="Jackman, Lauren" userId="S::ljackman@deloitte.com::ef96ab20-fb12-476c-a3e0-14bd051fc290" providerId="AD" clId="Web-{1A6B4B49-1E40-4BD0-800C-5A440960A545}" dt="2020-08-10T19:55:36.402" v="177" actId="20577"/>
          <ac:spMkLst>
            <pc:docMk/>
            <pc:sldMk cId="1978270760" sldId="1111"/>
            <ac:spMk id="43" creationId="{0AC3BA20-D8E1-477E-B053-A14ECEBD7AD3}"/>
          </ac:spMkLst>
        </pc:spChg>
        <pc:spChg chg="mod">
          <ac:chgData name="Jackman, Lauren" userId="S::ljackman@deloitte.com::ef96ab20-fb12-476c-a3e0-14bd051fc290" providerId="AD" clId="Web-{1A6B4B49-1E40-4BD0-800C-5A440960A545}" dt="2020-08-10T19:51:09.882" v="139" actId="20577"/>
          <ac:spMkLst>
            <pc:docMk/>
            <pc:sldMk cId="1978270760" sldId="1111"/>
            <ac:spMk id="46" creationId="{41C854F4-7C58-4ECF-AD6E-C39E69BAD256}"/>
          </ac:spMkLst>
        </pc:spChg>
        <pc:spChg chg="mod">
          <ac:chgData name="Jackman, Lauren" userId="S::ljackman@deloitte.com::ef96ab20-fb12-476c-a3e0-14bd051fc290" providerId="AD" clId="Web-{1A6B4B49-1E40-4BD0-800C-5A440960A545}" dt="2020-08-10T19:56:03.919" v="180" actId="20577"/>
          <ac:spMkLst>
            <pc:docMk/>
            <pc:sldMk cId="1978270760" sldId="1111"/>
            <ac:spMk id="61" creationId="{88A0BF57-2E6E-4A28-B29C-492E98A85122}"/>
          </ac:spMkLst>
        </pc:spChg>
        <pc:spChg chg="add mod ord">
          <ac:chgData name="Jackman, Lauren" userId="S::ljackman@deloitte.com::ef96ab20-fb12-476c-a3e0-14bd051fc290" providerId="AD" clId="Web-{1A6B4B49-1E40-4BD0-800C-5A440960A545}" dt="2020-08-10T19:47:26.178" v="91" actId="1076"/>
          <ac:spMkLst>
            <pc:docMk/>
            <pc:sldMk cId="1978270760" sldId="1111"/>
            <ac:spMk id="62" creationId="{598156A1-B7DB-436C-811E-E1F9DD94265C}"/>
          </ac:spMkLst>
        </pc:spChg>
        <pc:spChg chg="del mod">
          <ac:chgData name="Jackman, Lauren" userId="S::ljackman@deloitte.com::ef96ab20-fb12-476c-a3e0-14bd051fc290" providerId="AD" clId="Web-{1A6B4B49-1E40-4BD0-800C-5A440960A545}" dt="2020-08-10T19:47:01.113" v="87"/>
          <ac:spMkLst>
            <pc:docMk/>
            <pc:sldMk cId="1978270760" sldId="1111"/>
            <ac:spMk id="63" creationId="{EF03D05C-912A-4C69-9676-73B172DD91FD}"/>
          </ac:spMkLst>
        </pc:spChg>
        <pc:spChg chg="del mod">
          <ac:chgData name="Jackman, Lauren" userId="S::ljackman@deloitte.com::ef96ab20-fb12-476c-a3e0-14bd051fc290" providerId="AD" clId="Web-{1A6B4B49-1E40-4BD0-800C-5A440960A545}" dt="2020-08-10T19:49:29.984" v="119"/>
          <ac:spMkLst>
            <pc:docMk/>
            <pc:sldMk cId="1978270760" sldId="1111"/>
            <ac:spMk id="65" creationId="{DC4E178D-7D20-4319-91C4-30CE1FFB7279}"/>
          </ac:spMkLst>
        </pc:spChg>
        <pc:spChg chg="mod">
          <ac:chgData name="Jackman, Lauren" userId="S::ljackman@deloitte.com::ef96ab20-fb12-476c-a3e0-14bd051fc290" providerId="AD" clId="Web-{1A6B4B49-1E40-4BD0-800C-5A440960A545}" dt="2020-08-10T19:50:22.206" v="129" actId="14100"/>
          <ac:spMkLst>
            <pc:docMk/>
            <pc:sldMk cId="1978270760" sldId="1111"/>
            <ac:spMk id="66" creationId="{D1CD1B17-7D40-48D4-A6A5-71D72B3B8165}"/>
          </ac:spMkLst>
        </pc:spChg>
        <pc:spChg chg="add del mod">
          <ac:chgData name="Jackman, Lauren" userId="S::ljackman@deloitte.com::ef96ab20-fb12-476c-a3e0-14bd051fc290" providerId="AD" clId="Web-{1A6B4B49-1E40-4BD0-800C-5A440960A545}" dt="2020-08-10T19:48:19.776" v="103"/>
          <ac:spMkLst>
            <pc:docMk/>
            <pc:sldMk cId="1978270760" sldId="1111"/>
            <ac:spMk id="67" creationId="{2FD55466-5F1C-4B2D-9DA6-F78CAC28CD7B}"/>
          </ac:spMkLst>
        </pc:spChg>
        <pc:spChg chg="add mod">
          <ac:chgData name="Jackman, Lauren" userId="S::ljackman@deloitte.com::ef96ab20-fb12-476c-a3e0-14bd051fc290" providerId="AD" clId="Web-{1A6B4B49-1E40-4BD0-800C-5A440960A545}" dt="2020-08-10T19:50:50.412" v="137" actId="1076"/>
          <ac:spMkLst>
            <pc:docMk/>
            <pc:sldMk cId="1978270760" sldId="1111"/>
            <ac:spMk id="68" creationId="{98259EE2-C171-44C0-B62B-966132E46FF1}"/>
          </ac:spMkLst>
        </pc:spChg>
        <pc:grpChg chg="mod">
          <ac:chgData name="Jackman, Lauren" userId="S::ljackman@deloitte.com::ef96ab20-fb12-476c-a3e0-14bd051fc290" providerId="AD" clId="Web-{1A6B4B49-1E40-4BD0-800C-5A440960A545}" dt="2020-08-10T19:51:45.385" v="141" actId="1076"/>
          <ac:grpSpMkLst>
            <pc:docMk/>
            <pc:sldMk cId="1978270760" sldId="1111"/>
            <ac:grpSpMk id="49" creationId="{3FBAA62F-3F09-4044-BB7F-D30590BAE799}"/>
          </ac:grpSpMkLst>
        </pc:grpChg>
        <pc:picChg chg="del">
          <ac:chgData name="Jackman, Lauren" userId="S::ljackman@deloitte.com::ef96ab20-fb12-476c-a3e0-14bd051fc290" providerId="AD" clId="Web-{1A6B4B49-1E40-4BD0-800C-5A440960A545}" dt="2020-08-10T19:45:36.607" v="1"/>
          <ac:picMkLst>
            <pc:docMk/>
            <pc:sldMk cId="1978270760" sldId="1111"/>
            <ac:picMk id="48" creationId="{BC0F570B-D7E4-4E38-BC71-A9B742BE4442}"/>
          </ac:picMkLst>
        </pc:picChg>
      </pc:sldChg>
    </pc:docChg>
  </pc:docChgLst>
  <pc:docChgLst>
    <pc:chgData name="Garugu, Ramana Murthy" userId="4d25478e-3d85-4655-8913-d8fa8988088b" providerId="ADAL" clId="{5AB08EA1-0569-4D1C-BC7E-12DC6EFC7660}"/>
    <pc:docChg chg="custSel modSld">
      <pc:chgData name="Garugu, Ramana Murthy" userId="4d25478e-3d85-4655-8913-d8fa8988088b" providerId="ADAL" clId="{5AB08EA1-0569-4D1C-BC7E-12DC6EFC7660}" dt="2021-03-23T13:25:32.376" v="12" actId="6549"/>
      <pc:docMkLst>
        <pc:docMk/>
      </pc:docMkLst>
      <pc:sldChg chg="modSp">
        <pc:chgData name="Garugu, Ramana Murthy" userId="4d25478e-3d85-4655-8913-d8fa8988088b" providerId="ADAL" clId="{5AB08EA1-0569-4D1C-BC7E-12DC6EFC7660}" dt="2021-03-23T13:25:32.376" v="12" actId="6549"/>
        <pc:sldMkLst>
          <pc:docMk/>
          <pc:sldMk cId="302263831" sldId="9048"/>
        </pc:sldMkLst>
        <pc:spChg chg="mod">
          <ac:chgData name="Garugu, Ramana Murthy" userId="4d25478e-3d85-4655-8913-d8fa8988088b" providerId="ADAL" clId="{5AB08EA1-0569-4D1C-BC7E-12DC6EFC7660}" dt="2021-03-23T13:25:32.376" v="12" actId="6549"/>
          <ac:spMkLst>
            <pc:docMk/>
            <pc:sldMk cId="302263831" sldId="9048"/>
            <ac:spMk id="3" creationId="{2B44DC9A-1DE4-4B24-8493-D9073A6B5DAE}"/>
          </ac:spMkLst>
        </pc:spChg>
        <pc:spChg chg="mod">
          <ac:chgData name="Garugu, Ramana Murthy" userId="4d25478e-3d85-4655-8913-d8fa8988088b" providerId="ADAL" clId="{5AB08EA1-0569-4D1C-BC7E-12DC6EFC7660}" dt="2021-03-23T13:25:12.109" v="5" actId="20577"/>
          <ac:spMkLst>
            <pc:docMk/>
            <pc:sldMk cId="302263831" sldId="9048"/>
            <ac:spMk id="4" creationId="{3FAEEAA9-008B-43F6-BAE2-39F36A6706FE}"/>
          </ac:spMkLst>
        </pc:spChg>
      </pc:sldChg>
    </pc:docChg>
  </pc:docChgLst>
  <pc:docChgLst>
    <pc:chgData name="M, Shilpa Goud" userId="a9d4caf0-26bb-4255-ac96-11e70e69739c" providerId="ADAL" clId="{A716212F-5409-4463-AE5C-547C1519A054}"/>
    <pc:docChg chg="modSld">
      <pc:chgData name="M, Shilpa Goud" userId="a9d4caf0-26bb-4255-ac96-11e70e69739c" providerId="ADAL" clId="{A716212F-5409-4463-AE5C-547C1519A054}" dt="2020-06-22T06:59:09.525" v="0" actId="14734"/>
      <pc:docMkLst>
        <pc:docMk/>
      </pc:docMkLst>
      <pc:sldChg chg="modSp">
        <pc:chgData name="M, Shilpa Goud" userId="a9d4caf0-26bb-4255-ac96-11e70e69739c" providerId="ADAL" clId="{A716212F-5409-4463-AE5C-547C1519A054}" dt="2020-06-22T06:59:09.525" v="0" actId="14734"/>
        <pc:sldMkLst>
          <pc:docMk/>
          <pc:sldMk cId="1369081146" sldId="8773"/>
        </pc:sldMkLst>
        <pc:graphicFrameChg chg="modGraphic">
          <ac:chgData name="M, Shilpa Goud" userId="a9d4caf0-26bb-4255-ac96-11e70e69739c" providerId="ADAL" clId="{A716212F-5409-4463-AE5C-547C1519A054}" dt="2020-06-22T06:59:09.525" v="0" actId="14734"/>
          <ac:graphicFrameMkLst>
            <pc:docMk/>
            <pc:sldMk cId="1369081146" sldId="8773"/>
            <ac:graphicFrameMk id="4" creationId="{2AAAC88F-F4B4-4FE3-956E-C3F806D71324}"/>
          </ac:graphicFrameMkLst>
        </pc:graphicFrameChg>
      </pc:sldChg>
    </pc:docChg>
  </pc:docChgLst>
  <pc:docChgLst>
    <pc:chgData name="Sharma Palla, Rakesh" userId="10f9904b-c976-486e-940c-ca5698800d24" providerId="ADAL" clId="{AEC8CEB3-381D-4FF0-BE82-47394F738BAA}"/>
    <pc:docChg chg="undo custSel modSld">
      <pc:chgData name="Sharma Palla, Rakesh" userId="10f9904b-c976-486e-940c-ca5698800d24" providerId="ADAL" clId="{AEC8CEB3-381D-4FF0-BE82-47394F738BAA}" dt="2020-12-01T17:15:42.639" v="202" actId="1589"/>
      <pc:docMkLst>
        <pc:docMk/>
      </pc:docMkLst>
      <pc:sldChg chg="addSp delSp modSp addCm">
        <pc:chgData name="Sharma Palla, Rakesh" userId="10f9904b-c976-486e-940c-ca5698800d24" providerId="ADAL" clId="{AEC8CEB3-381D-4FF0-BE82-47394F738BAA}" dt="2020-12-01T17:15:42.639" v="202" actId="1589"/>
        <pc:sldMkLst>
          <pc:docMk/>
          <pc:sldMk cId="847777020" sldId="8791"/>
        </pc:sldMkLst>
        <pc:spChg chg="add del">
          <ac:chgData name="Sharma Palla, Rakesh" userId="10f9904b-c976-486e-940c-ca5698800d24" providerId="ADAL" clId="{AEC8CEB3-381D-4FF0-BE82-47394F738BAA}" dt="2020-12-01T17:07:37.541" v="134" actId="478"/>
          <ac:spMkLst>
            <pc:docMk/>
            <pc:sldMk cId="847777020" sldId="8791"/>
            <ac:spMk id="4" creationId="{6769BA6E-3315-4710-AB32-5C404A5A982C}"/>
          </ac:spMkLst>
        </pc:spChg>
        <pc:graphicFrameChg chg="modGraphic">
          <ac:chgData name="Sharma Palla, Rakesh" userId="10f9904b-c976-486e-940c-ca5698800d24" providerId="ADAL" clId="{AEC8CEB3-381D-4FF0-BE82-47394F738BAA}" dt="2020-12-01T17:11:39.412" v="201" actId="20577"/>
          <ac:graphicFrameMkLst>
            <pc:docMk/>
            <pc:sldMk cId="847777020" sldId="8791"/>
            <ac:graphicFrameMk id="2" creationId="{047A132D-3FAE-48C5-BD5F-C01213AAD2F4}"/>
          </ac:graphicFrameMkLst>
        </pc:graphicFrameChg>
      </pc:sldChg>
    </pc:docChg>
  </pc:docChgLst>
  <pc:docChgLst>
    <pc:chgData name="Prakash, Ankur" userId="S::anprakash@deloitte.com::e5ec4ef6-a8ef-421f-ae1a-afd967453ffe" providerId="AD" clId="Web-{BC0B09B9-6610-6AD4-BEFC-D0D26F383180}"/>
    <pc:docChg chg="delSld modSld modSection">
      <pc:chgData name="Prakash, Ankur" userId="S::anprakash@deloitte.com::e5ec4ef6-a8ef-421f-ae1a-afd967453ffe" providerId="AD" clId="Web-{BC0B09B9-6610-6AD4-BEFC-D0D26F383180}" dt="2020-06-01T13:29:03.617" v="1638"/>
      <pc:docMkLst>
        <pc:docMk/>
      </pc:docMkLst>
      <pc:sldChg chg="modSp">
        <pc:chgData name="Prakash, Ankur" userId="S::anprakash@deloitte.com::e5ec4ef6-a8ef-421f-ae1a-afd967453ffe" providerId="AD" clId="Web-{BC0B09B9-6610-6AD4-BEFC-D0D26F383180}" dt="2020-06-01T12:45:15.277" v="20" actId="20577"/>
        <pc:sldMkLst>
          <pc:docMk/>
          <pc:sldMk cId="3661564267" sldId="257"/>
        </pc:sldMkLst>
        <pc:spChg chg="mod">
          <ac:chgData name="Prakash, Ankur" userId="S::anprakash@deloitte.com::e5ec4ef6-a8ef-421f-ae1a-afd967453ffe" providerId="AD" clId="Web-{BC0B09B9-6610-6AD4-BEFC-D0D26F383180}" dt="2020-06-01T12:45:15.277" v="20" actId="20577"/>
          <ac:spMkLst>
            <pc:docMk/>
            <pc:sldMk cId="3661564267" sldId="257"/>
            <ac:spMk id="4" creationId="{00000000-0000-0000-0000-000000000000}"/>
          </ac:spMkLst>
        </pc:spChg>
      </pc:sldChg>
      <pc:sldChg chg="addSp">
        <pc:chgData name="Prakash, Ankur" userId="S::anprakash@deloitte.com::e5ec4ef6-a8ef-421f-ae1a-afd967453ffe" providerId="AD" clId="Web-{BC0B09B9-6610-6AD4-BEFC-D0D26F383180}" dt="2020-06-01T13:25:35.538" v="1557"/>
        <pc:sldMkLst>
          <pc:docMk/>
          <pc:sldMk cId="1804393562" sldId="263"/>
        </pc:sldMkLst>
        <pc:spChg chg="add">
          <ac:chgData name="Prakash, Ankur" userId="S::anprakash@deloitte.com::e5ec4ef6-a8ef-421f-ae1a-afd967453ffe" providerId="AD" clId="Web-{BC0B09B9-6610-6AD4-BEFC-D0D26F383180}" dt="2020-06-01T13:25:35.538" v="1557"/>
          <ac:spMkLst>
            <pc:docMk/>
            <pc:sldMk cId="1804393562" sldId="263"/>
            <ac:spMk id="2" creationId="{B805821A-9A98-4D31-BC1C-53D2804AD7D4}"/>
          </ac:spMkLst>
        </pc:spChg>
      </pc:sldChg>
      <pc:sldChg chg="addSp modSp">
        <pc:chgData name="Prakash, Ankur" userId="S::anprakash@deloitte.com::e5ec4ef6-a8ef-421f-ae1a-afd967453ffe" providerId="AD" clId="Web-{BC0B09B9-6610-6AD4-BEFC-D0D26F383180}" dt="2020-06-01T13:25:05.101" v="1547" actId="20577"/>
        <pc:sldMkLst>
          <pc:docMk/>
          <pc:sldMk cId="3958539675" sldId="264"/>
        </pc:sldMkLst>
        <pc:spChg chg="add mod">
          <ac:chgData name="Prakash, Ankur" userId="S::anprakash@deloitte.com::e5ec4ef6-a8ef-421f-ae1a-afd967453ffe" providerId="AD" clId="Web-{BC0B09B9-6610-6AD4-BEFC-D0D26F383180}" dt="2020-06-01T13:25:05.101" v="1547" actId="20577"/>
          <ac:spMkLst>
            <pc:docMk/>
            <pc:sldMk cId="3958539675" sldId="264"/>
            <ac:spMk id="2" creationId="{2C097F19-CD90-46C7-9FA9-4B752F587780}"/>
          </ac:spMkLst>
        </pc:spChg>
      </pc:sldChg>
      <pc:sldChg chg="addSp">
        <pc:chgData name="Prakash, Ankur" userId="S::anprakash@deloitte.com::e5ec4ef6-a8ef-421f-ae1a-afd967453ffe" providerId="AD" clId="Web-{BC0B09B9-6610-6AD4-BEFC-D0D26F383180}" dt="2020-06-01T13:25:12.273" v="1550"/>
        <pc:sldMkLst>
          <pc:docMk/>
          <pc:sldMk cId="389545387" sldId="267"/>
        </pc:sldMkLst>
        <pc:spChg chg="add">
          <ac:chgData name="Prakash, Ankur" userId="S::anprakash@deloitte.com::e5ec4ef6-a8ef-421f-ae1a-afd967453ffe" providerId="AD" clId="Web-{BC0B09B9-6610-6AD4-BEFC-D0D26F383180}" dt="2020-06-01T13:25:12.273" v="1550"/>
          <ac:spMkLst>
            <pc:docMk/>
            <pc:sldMk cId="389545387" sldId="267"/>
            <ac:spMk id="2" creationId="{7D88083F-6D52-4F9D-B30E-1EBC12764224}"/>
          </ac:spMkLst>
        </pc:spChg>
      </pc:sldChg>
      <pc:sldChg chg="addSp delSp">
        <pc:chgData name="Prakash, Ankur" userId="S::anprakash@deloitte.com::e5ec4ef6-a8ef-421f-ae1a-afd967453ffe" providerId="AD" clId="Web-{BC0B09B9-6610-6AD4-BEFC-D0D26F383180}" dt="2020-06-01T13:19:58.459" v="1395"/>
        <pc:sldMkLst>
          <pc:docMk/>
          <pc:sldMk cId="3637683004" sldId="350"/>
        </pc:sldMkLst>
        <pc:spChg chg="add">
          <ac:chgData name="Prakash, Ankur" userId="S::anprakash@deloitte.com::e5ec4ef6-a8ef-421f-ae1a-afd967453ffe" providerId="AD" clId="Web-{BC0B09B9-6610-6AD4-BEFC-D0D26F383180}" dt="2020-06-01T13:19:54.880" v="1393"/>
          <ac:spMkLst>
            <pc:docMk/>
            <pc:sldMk cId="3637683004" sldId="350"/>
            <ac:spMk id="3" creationId="{B03C3185-184F-4057-8E5C-A0C2D679BA41}"/>
          </ac:spMkLst>
        </pc:spChg>
        <pc:spChg chg="add del">
          <ac:chgData name="Prakash, Ankur" userId="S::anprakash@deloitte.com::e5ec4ef6-a8ef-421f-ae1a-afd967453ffe" providerId="AD" clId="Web-{BC0B09B9-6610-6AD4-BEFC-D0D26F383180}" dt="2020-06-01T13:19:58.459" v="1395"/>
          <ac:spMkLst>
            <pc:docMk/>
            <pc:sldMk cId="3637683004" sldId="350"/>
            <ac:spMk id="4" creationId="{F5C58D49-2FBA-4901-8973-70E66F6CECA2}"/>
          </ac:spMkLst>
        </pc:spChg>
      </pc:sldChg>
      <pc:sldChg chg="addSp modSp">
        <pc:chgData name="Prakash, Ankur" userId="S::anprakash@deloitte.com::e5ec4ef6-a8ef-421f-ae1a-afd967453ffe" providerId="AD" clId="Web-{BC0B09B9-6610-6AD4-BEFC-D0D26F383180}" dt="2020-06-01T13:19:24.896" v="1391" actId="20577"/>
        <pc:sldMkLst>
          <pc:docMk/>
          <pc:sldMk cId="2772070313" sldId="456"/>
        </pc:sldMkLst>
        <pc:spChg chg="add mod">
          <ac:chgData name="Prakash, Ankur" userId="S::anprakash@deloitte.com::e5ec4ef6-a8ef-421f-ae1a-afd967453ffe" providerId="AD" clId="Web-{BC0B09B9-6610-6AD4-BEFC-D0D26F383180}" dt="2020-06-01T13:19:24.896" v="1391" actId="20577"/>
          <ac:spMkLst>
            <pc:docMk/>
            <pc:sldMk cId="2772070313" sldId="456"/>
            <ac:spMk id="2" creationId="{3609E2D9-8569-4608-ABDF-763AA537C28D}"/>
          </ac:spMkLst>
        </pc:spChg>
      </pc:sldChg>
      <pc:sldChg chg="addSp">
        <pc:chgData name="Prakash, Ankur" userId="S::anprakash@deloitte.com::e5ec4ef6-a8ef-421f-ae1a-afd967453ffe" providerId="AD" clId="Web-{BC0B09B9-6610-6AD4-BEFC-D0D26F383180}" dt="2020-06-01T13:20:31.787" v="1400"/>
        <pc:sldMkLst>
          <pc:docMk/>
          <pc:sldMk cId="1978270760" sldId="1111"/>
        </pc:sldMkLst>
        <pc:spChg chg="add">
          <ac:chgData name="Prakash, Ankur" userId="S::anprakash@deloitte.com::e5ec4ef6-a8ef-421f-ae1a-afd967453ffe" providerId="AD" clId="Web-{BC0B09B9-6610-6AD4-BEFC-D0D26F383180}" dt="2020-06-01T13:20:31.787" v="1400"/>
          <ac:spMkLst>
            <pc:docMk/>
            <pc:sldMk cId="1978270760" sldId="1111"/>
            <ac:spMk id="4" creationId="{6754574C-7E71-4808-A13F-EF0FA9560973}"/>
          </ac:spMkLst>
        </pc:spChg>
      </pc:sldChg>
      <pc:sldChg chg="addSp">
        <pc:chgData name="Prakash, Ankur" userId="S::anprakash@deloitte.com::e5ec4ef6-a8ef-421f-ae1a-afd967453ffe" providerId="AD" clId="Web-{BC0B09B9-6610-6AD4-BEFC-D0D26F383180}" dt="2020-06-01T13:20:46.787" v="1403"/>
        <pc:sldMkLst>
          <pc:docMk/>
          <pc:sldMk cId="2269809066" sldId="2072"/>
        </pc:sldMkLst>
        <pc:spChg chg="add">
          <ac:chgData name="Prakash, Ankur" userId="S::anprakash@deloitte.com::e5ec4ef6-a8ef-421f-ae1a-afd967453ffe" providerId="AD" clId="Web-{BC0B09B9-6610-6AD4-BEFC-D0D26F383180}" dt="2020-06-01T13:20:46.787" v="1403"/>
          <ac:spMkLst>
            <pc:docMk/>
            <pc:sldMk cId="2269809066" sldId="2072"/>
            <ac:spMk id="2" creationId="{B8D539CB-B913-413B-B41D-7A3AE4E00F2E}"/>
          </ac:spMkLst>
        </pc:spChg>
      </pc:sldChg>
      <pc:sldChg chg="addSp">
        <pc:chgData name="Prakash, Ankur" userId="S::anprakash@deloitte.com::e5ec4ef6-a8ef-421f-ae1a-afd967453ffe" providerId="AD" clId="Web-{BC0B09B9-6610-6AD4-BEFC-D0D26F383180}" dt="2020-06-01T13:21:11.257" v="1405"/>
        <pc:sldMkLst>
          <pc:docMk/>
          <pc:sldMk cId="544597034" sldId="2076"/>
        </pc:sldMkLst>
        <pc:spChg chg="add">
          <ac:chgData name="Prakash, Ankur" userId="S::anprakash@deloitte.com::e5ec4ef6-a8ef-421f-ae1a-afd967453ffe" providerId="AD" clId="Web-{BC0B09B9-6610-6AD4-BEFC-D0D26F383180}" dt="2020-06-01T13:21:11.257" v="1405"/>
          <ac:spMkLst>
            <pc:docMk/>
            <pc:sldMk cId="544597034" sldId="2076"/>
            <ac:spMk id="2" creationId="{DD687E80-FE69-4FB8-BA7F-14E909BA0DE9}"/>
          </ac:spMkLst>
        </pc:spChg>
      </pc:sldChg>
      <pc:sldChg chg="addSp">
        <pc:chgData name="Prakash, Ankur" userId="S::anprakash@deloitte.com::e5ec4ef6-a8ef-421f-ae1a-afd967453ffe" providerId="AD" clId="Web-{BC0B09B9-6610-6AD4-BEFC-D0D26F383180}" dt="2020-06-01T13:20:22.006" v="1398"/>
        <pc:sldMkLst>
          <pc:docMk/>
          <pc:sldMk cId="2545999528" sldId="2078"/>
        </pc:sldMkLst>
        <pc:spChg chg="add">
          <ac:chgData name="Prakash, Ankur" userId="S::anprakash@deloitte.com::e5ec4ef6-a8ef-421f-ae1a-afd967453ffe" providerId="AD" clId="Web-{BC0B09B9-6610-6AD4-BEFC-D0D26F383180}" dt="2020-06-01T13:20:22.006" v="1398"/>
          <ac:spMkLst>
            <pc:docMk/>
            <pc:sldMk cId="2545999528" sldId="2078"/>
            <ac:spMk id="2" creationId="{1E73596D-C27B-4130-B10F-8497ED608FEB}"/>
          </ac:spMkLst>
        </pc:spChg>
      </pc:sldChg>
      <pc:sldChg chg="addSp">
        <pc:chgData name="Prakash, Ankur" userId="S::anprakash@deloitte.com::e5ec4ef6-a8ef-421f-ae1a-afd967453ffe" providerId="AD" clId="Web-{BC0B09B9-6610-6AD4-BEFC-D0D26F383180}" dt="2020-06-01T13:20:18.022" v="1397"/>
        <pc:sldMkLst>
          <pc:docMk/>
          <pc:sldMk cId="583554324" sldId="8476"/>
        </pc:sldMkLst>
        <pc:spChg chg="add">
          <ac:chgData name="Prakash, Ankur" userId="S::anprakash@deloitte.com::e5ec4ef6-a8ef-421f-ae1a-afd967453ffe" providerId="AD" clId="Web-{BC0B09B9-6610-6AD4-BEFC-D0D26F383180}" dt="2020-06-01T13:20:18.022" v="1397"/>
          <ac:spMkLst>
            <pc:docMk/>
            <pc:sldMk cId="583554324" sldId="8476"/>
            <ac:spMk id="4" creationId="{31D65F62-D1CC-49DC-927F-7FDE268A7286}"/>
          </ac:spMkLst>
        </pc:spChg>
      </pc:sldChg>
      <pc:sldChg chg="addSp">
        <pc:chgData name="Prakash, Ankur" userId="S::anprakash@deloitte.com::e5ec4ef6-a8ef-421f-ae1a-afd967453ffe" providerId="AD" clId="Web-{BC0B09B9-6610-6AD4-BEFC-D0D26F383180}" dt="2020-06-01T13:20:27.100" v="1399"/>
        <pc:sldMkLst>
          <pc:docMk/>
          <pc:sldMk cId="3330729229" sldId="8497"/>
        </pc:sldMkLst>
        <pc:spChg chg="add">
          <ac:chgData name="Prakash, Ankur" userId="S::anprakash@deloitte.com::e5ec4ef6-a8ef-421f-ae1a-afd967453ffe" providerId="AD" clId="Web-{BC0B09B9-6610-6AD4-BEFC-D0D26F383180}" dt="2020-06-01T13:20:27.100" v="1399"/>
          <ac:spMkLst>
            <pc:docMk/>
            <pc:sldMk cId="3330729229" sldId="8497"/>
            <ac:spMk id="2" creationId="{C5825F0A-666F-4B8D-8361-34C6BD4D6128}"/>
          </ac:spMkLst>
        </pc:spChg>
      </pc:sldChg>
      <pc:sldChg chg="modSp">
        <pc:chgData name="Prakash, Ankur" userId="S::anprakash@deloitte.com::e5ec4ef6-a8ef-421f-ae1a-afd967453ffe" providerId="AD" clId="Web-{BC0B09B9-6610-6AD4-BEFC-D0D26F383180}" dt="2020-06-01T12:49:35.590" v="252" actId="20577"/>
        <pc:sldMkLst>
          <pc:docMk/>
          <pc:sldMk cId="1369081146" sldId="8773"/>
        </pc:sldMkLst>
        <pc:spChg chg="mod">
          <ac:chgData name="Prakash, Ankur" userId="S::anprakash@deloitte.com::e5ec4ef6-a8ef-421f-ae1a-afd967453ffe" providerId="AD" clId="Web-{BC0B09B9-6610-6AD4-BEFC-D0D26F383180}" dt="2020-06-01T12:49:35.590" v="252" actId="20577"/>
          <ac:spMkLst>
            <pc:docMk/>
            <pc:sldMk cId="1369081146" sldId="8773"/>
            <ac:spMk id="698369" creationId="{00000000-0000-0000-0000-000000000000}"/>
          </ac:spMkLst>
        </pc:spChg>
        <pc:graphicFrameChg chg="mod modGraphic">
          <ac:chgData name="Prakash, Ankur" userId="S::anprakash@deloitte.com::e5ec4ef6-a8ef-421f-ae1a-afd967453ffe" providerId="AD" clId="Web-{BC0B09B9-6610-6AD4-BEFC-D0D26F383180}" dt="2020-06-01T12:49:19.043" v="248"/>
          <ac:graphicFrameMkLst>
            <pc:docMk/>
            <pc:sldMk cId="1369081146" sldId="8773"/>
            <ac:graphicFrameMk id="4" creationId="{2AAAC88F-F4B4-4FE3-956E-C3F806D71324}"/>
          </ac:graphicFrameMkLst>
        </pc:graphicFrameChg>
      </pc:sldChg>
      <pc:sldChg chg="modSp">
        <pc:chgData name="Prakash, Ankur" userId="S::anprakash@deloitte.com::e5ec4ef6-a8ef-421f-ae1a-afd967453ffe" providerId="AD" clId="Web-{BC0B09B9-6610-6AD4-BEFC-D0D26F383180}" dt="2020-06-01T13:29:03.617" v="1638"/>
        <pc:sldMkLst>
          <pc:docMk/>
          <pc:sldMk cId="1039189330" sldId="8774"/>
        </pc:sldMkLst>
        <pc:spChg chg="mod">
          <ac:chgData name="Prakash, Ankur" userId="S::anprakash@deloitte.com::e5ec4ef6-a8ef-421f-ae1a-afd967453ffe" providerId="AD" clId="Web-{BC0B09B9-6610-6AD4-BEFC-D0D26F383180}" dt="2020-06-01T12:49:52.091" v="257" actId="20577"/>
          <ac:spMkLst>
            <pc:docMk/>
            <pc:sldMk cId="1039189330" sldId="8774"/>
            <ac:spMk id="5" creationId="{BDFC5B9C-AB1B-472D-B8E8-003403F9A3E9}"/>
          </ac:spMkLst>
        </pc:spChg>
        <pc:graphicFrameChg chg="mod modGraphic">
          <ac:chgData name="Prakash, Ankur" userId="S::anprakash@deloitte.com::e5ec4ef6-a8ef-421f-ae1a-afd967453ffe" providerId="AD" clId="Web-{BC0B09B9-6610-6AD4-BEFC-D0D26F383180}" dt="2020-06-01T13:29:03.617" v="1638"/>
          <ac:graphicFrameMkLst>
            <pc:docMk/>
            <pc:sldMk cId="1039189330" sldId="8774"/>
            <ac:graphicFrameMk id="4" creationId="{2AAAC88F-F4B4-4FE3-956E-C3F806D71324}"/>
          </ac:graphicFrameMkLst>
        </pc:graphicFrameChg>
      </pc:sldChg>
      <pc:sldChg chg="modSp">
        <pc:chgData name="Prakash, Ankur" userId="S::anprakash@deloitte.com::e5ec4ef6-a8ef-421f-ae1a-afd967453ffe" providerId="AD" clId="Web-{BC0B09B9-6610-6AD4-BEFC-D0D26F383180}" dt="2020-06-01T13:16:21.395" v="1315"/>
        <pc:sldMkLst>
          <pc:docMk/>
          <pc:sldMk cId="2407685793" sldId="8775"/>
        </pc:sldMkLst>
        <pc:spChg chg="mod">
          <ac:chgData name="Prakash, Ankur" userId="S::anprakash@deloitte.com::e5ec4ef6-a8ef-421f-ae1a-afd967453ffe" providerId="AD" clId="Web-{BC0B09B9-6610-6AD4-BEFC-D0D26F383180}" dt="2020-06-01T12:50:15.669" v="263" actId="20577"/>
          <ac:spMkLst>
            <pc:docMk/>
            <pc:sldMk cId="2407685793" sldId="8775"/>
            <ac:spMk id="5" creationId="{5BC0E948-6F66-4F47-BA40-6C553B9AB1E4}"/>
          </ac:spMkLst>
        </pc:spChg>
        <pc:graphicFrameChg chg="mod modGraphic">
          <ac:chgData name="Prakash, Ankur" userId="S::anprakash@deloitte.com::e5ec4ef6-a8ef-421f-ae1a-afd967453ffe" providerId="AD" clId="Web-{BC0B09B9-6610-6AD4-BEFC-D0D26F383180}" dt="2020-06-01T13:16:21.395" v="1315"/>
          <ac:graphicFrameMkLst>
            <pc:docMk/>
            <pc:sldMk cId="2407685793" sldId="8775"/>
            <ac:graphicFrameMk id="4" creationId="{2AAAC88F-F4B4-4FE3-956E-C3F806D71324}"/>
          </ac:graphicFrameMkLst>
        </pc:graphicFrameChg>
      </pc:sldChg>
      <pc:sldChg chg="addSp modSp">
        <pc:chgData name="Prakash, Ankur" userId="S::anprakash@deloitte.com::e5ec4ef6-a8ef-421f-ae1a-afd967453ffe" providerId="AD" clId="Web-{BC0B09B9-6610-6AD4-BEFC-D0D26F383180}" dt="2020-06-01T13:18:23.427" v="1345" actId="20577"/>
        <pc:sldMkLst>
          <pc:docMk/>
          <pc:sldMk cId="568126937" sldId="8777"/>
        </pc:sldMkLst>
        <pc:spChg chg="add mod">
          <ac:chgData name="Prakash, Ankur" userId="S::anprakash@deloitte.com::e5ec4ef6-a8ef-421f-ae1a-afd967453ffe" providerId="AD" clId="Web-{BC0B09B9-6610-6AD4-BEFC-D0D26F383180}" dt="2020-06-01T13:18:23.427" v="1345" actId="20577"/>
          <ac:spMkLst>
            <pc:docMk/>
            <pc:sldMk cId="568126937" sldId="8777"/>
            <ac:spMk id="3" creationId="{7522B76D-147D-43E1-AD0B-898E5F384705}"/>
          </ac:spMkLst>
        </pc:spChg>
      </pc:sldChg>
      <pc:sldChg chg="addSp modSp">
        <pc:chgData name="Prakash, Ankur" userId="S::anprakash@deloitte.com::e5ec4ef6-a8ef-421f-ae1a-afd967453ffe" providerId="AD" clId="Web-{BC0B09B9-6610-6AD4-BEFC-D0D26F383180}" dt="2020-06-01T13:21:54.975" v="1423" actId="20577"/>
        <pc:sldMkLst>
          <pc:docMk/>
          <pc:sldMk cId="800771401" sldId="8787"/>
        </pc:sldMkLst>
        <pc:spChg chg="add mod">
          <ac:chgData name="Prakash, Ankur" userId="S::anprakash@deloitte.com::e5ec4ef6-a8ef-421f-ae1a-afd967453ffe" providerId="AD" clId="Web-{BC0B09B9-6610-6AD4-BEFC-D0D26F383180}" dt="2020-06-01T13:21:54.975" v="1423" actId="20577"/>
          <ac:spMkLst>
            <pc:docMk/>
            <pc:sldMk cId="800771401" sldId="8787"/>
            <ac:spMk id="4" creationId="{D632D272-A3E5-48C2-A6F7-A6232672E2EC}"/>
          </ac:spMkLst>
        </pc:spChg>
      </pc:sldChg>
      <pc:sldChg chg="addSp modSp">
        <pc:chgData name="Prakash, Ankur" userId="S::anprakash@deloitte.com::e5ec4ef6-a8ef-421f-ae1a-afd967453ffe" providerId="AD" clId="Web-{BC0B09B9-6610-6AD4-BEFC-D0D26F383180}" dt="2020-06-01T13:22:26.912" v="1444" actId="20577"/>
        <pc:sldMkLst>
          <pc:docMk/>
          <pc:sldMk cId="2246163936" sldId="8788"/>
        </pc:sldMkLst>
        <pc:spChg chg="add mod">
          <ac:chgData name="Prakash, Ankur" userId="S::anprakash@deloitte.com::e5ec4ef6-a8ef-421f-ae1a-afd967453ffe" providerId="AD" clId="Web-{BC0B09B9-6610-6AD4-BEFC-D0D26F383180}" dt="2020-06-01T13:22:26.912" v="1444" actId="20577"/>
          <ac:spMkLst>
            <pc:docMk/>
            <pc:sldMk cId="2246163936" sldId="8788"/>
            <ac:spMk id="3" creationId="{570D56FC-01BE-4C6A-A885-CB32C8AE4C48}"/>
          </ac:spMkLst>
        </pc:spChg>
      </pc:sldChg>
      <pc:sldChg chg="addSp modSp">
        <pc:chgData name="Prakash, Ankur" userId="S::anprakash@deloitte.com::e5ec4ef6-a8ef-421f-ae1a-afd967453ffe" providerId="AD" clId="Web-{BC0B09B9-6610-6AD4-BEFC-D0D26F383180}" dt="2020-06-01T13:23:43.695" v="1503" actId="14100"/>
        <pc:sldMkLst>
          <pc:docMk/>
          <pc:sldMk cId="847777020" sldId="8791"/>
        </pc:sldMkLst>
        <pc:spChg chg="add mod">
          <ac:chgData name="Prakash, Ankur" userId="S::anprakash@deloitte.com::e5ec4ef6-a8ef-421f-ae1a-afd967453ffe" providerId="AD" clId="Web-{BC0B09B9-6610-6AD4-BEFC-D0D26F383180}" dt="2020-06-01T13:23:43.695" v="1503" actId="14100"/>
          <ac:spMkLst>
            <pc:docMk/>
            <pc:sldMk cId="847777020" sldId="8791"/>
            <ac:spMk id="3" creationId="{AF17C8CB-B960-4DEA-9486-430E62005883}"/>
          </ac:spMkLst>
        </pc:spChg>
      </pc:sldChg>
      <pc:sldChg chg="addSp modSp">
        <pc:chgData name="Prakash, Ankur" userId="S::anprakash@deloitte.com::e5ec4ef6-a8ef-421f-ae1a-afd967453ffe" providerId="AD" clId="Web-{BC0B09B9-6610-6AD4-BEFC-D0D26F383180}" dt="2020-06-01T13:22:38.491" v="1464" actId="20577"/>
        <pc:sldMkLst>
          <pc:docMk/>
          <pc:sldMk cId="1867916483" sldId="8795"/>
        </pc:sldMkLst>
        <pc:spChg chg="add mod">
          <ac:chgData name="Prakash, Ankur" userId="S::anprakash@deloitte.com::e5ec4ef6-a8ef-421f-ae1a-afd967453ffe" providerId="AD" clId="Web-{BC0B09B9-6610-6AD4-BEFC-D0D26F383180}" dt="2020-06-01T13:22:38.491" v="1464" actId="20577"/>
          <ac:spMkLst>
            <pc:docMk/>
            <pc:sldMk cId="1867916483" sldId="8795"/>
            <ac:spMk id="3" creationId="{6FBB5F45-94A1-4C0C-88E7-5248277F7BB4}"/>
          </ac:spMkLst>
        </pc:spChg>
      </pc:sldChg>
      <pc:sldChg chg="addSp modSp">
        <pc:chgData name="Prakash, Ankur" userId="S::anprakash@deloitte.com::e5ec4ef6-a8ef-421f-ae1a-afd967453ffe" providerId="AD" clId="Web-{BC0B09B9-6610-6AD4-BEFC-D0D26F383180}" dt="2020-06-01T13:26:35.117" v="1614" actId="20577"/>
        <pc:sldMkLst>
          <pc:docMk/>
          <pc:sldMk cId="4169581344" sldId="8798"/>
        </pc:sldMkLst>
        <pc:spChg chg="add mod">
          <ac:chgData name="Prakash, Ankur" userId="S::anprakash@deloitte.com::e5ec4ef6-a8ef-421f-ae1a-afd967453ffe" providerId="AD" clId="Web-{BC0B09B9-6610-6AD4-BEFC-D0D26F383180}" dt="2020-06-01T13:26:35.117" v="1614" actId="20577"/>
          <ac:spMkLst>
            <pc:docMk/>
            <pc:sldMk cId="4169581344" sldId="8798"/>
            <ac:spMk id="5" creationId="{C18FDAD6-A381-47C6-9C6A-28C7E2C6C6AA}"/>
          </ac:spMkLst>
        </pc:spChg>
      </pc:sldChg>
      <pc:sldChg chg="addSp">
        <pc:chgData name="Prakash, Ankur" userId="S::anprakash@deloitte.com::e5ec4ef6-a8ef-421f-ae1a-afd967453ffe" providerId="AD" clId="Web-{BC0B09B9-6610-6AD4-BEFC-D0D26F383180}" dt="2020-06-01T13:22:02.959" v="1426"/>
        <pc:sldMkLst>
          <pc:docMk/>
          <pc:sldMk cId="2745656098" sldId="8807"/>
        </pc:sldMkLst>
        <pc:spChg chg="add">
          <ac:chgData name="Prakash, Ankur" userId="S::anprakash@deloitte.com::e5ec4ef6-a8ef-421f-ae1a-afd967453ffe" providerId="AD" clId="Web-{BC0B09B9-6610-6AD4-BEFC-D0D26F383180}" dt="2020-06-01T13:22:02.959" v="1426"/>
          <ac:spMkLst>
            <pc:docMk/>
            <pc:sldMk cId="2745656098" sldId="8807"/>
            <ac:spMk id="3" creationId="{575B2A46-1739-4A64-9E53-5E7B67BEECB1}"/>
          </ac:spMkLst>
        </pc:spChg>
      </pc:sldChg>
      <pc:sldChg chg="addSp modSp">
        <pc:chgData name="Prakash, Ankur" userId="S::anprakash@deloitte.com::e5ec4ef6-a8ef-421f-ae1a-afd967453ffe" providerId="AD" clId="Web-{BC0B09B9-6610-6AD4-BEFC-D0D26F383180}" dt="2020-06-01T13:26:04.382" v="1598" actId="20577"/>
        <pc:sldMkLst>
          <pc:docMk/>
          <pc:sldMk cId="4099786269" sldId="8812"/>
        </pc:sldMkLst>
        <pc:spChg chg="add mod">
          <ac:chgData name="Prakash, Ankur" userId="S::anprakash@deloitte.com::e5ec4ef6-a8ef-421f-ae1a-afd967453ffe" providerId="AD" clId="Web-{BC0B09B9-6610-6AD4-BEFC-D0D26F383180}" dt="2020-06-01T13:26:04.382" v="1598" actId="20577"/>
          <ac:spMkLst>
            <pc:docMk/>
            <pc:sldMk cId="4099786269" sldId="8812"/>
            <ac:spMk id="2" creationId="{3E132A87-B07E-4654-A6D5-582DD48B752A}"/>
          </ac:spMkLst>
        </pc:spChg>
      </pc:sldChg>
      <pc:sldChg chg="addSp modSp">
        <pc:chgData name="Prakash, Ankur" userId="S::anprakash@deloitte.com::e5ec4ef6-a8ef-421f-ae1a-afd967453ffe" providerId="AD" clId="Web-{BC0B09B9-6610-6AD4-BEFC-D0D26F383180}" dt="2020-06-01T13:25:27.663" v="1554" actId="20577"/>
        <pc:sldMkLst>
          <pc:docMk/>
          <pc:sldMk cId="991468195" sldId="8813"/>
        </pc:sldMkLst>
        <pc:spChg chg="add mod">
          <ac:chgData name="Prakash, Ankur" userId="S::anprakash@deloitte.com::e5ec4ef6-a8ef-421f-ae1a-afd967453ffe" providerId="AD" clId="Web-{BC0B09B9-6610-6AD4-BEFC-D0D26F383180}" dt="2020-06-01T13:25:27.663" v="1554" actId="20577"/>
          <ac:spMkLst>
            <pc:docMk/>
            <pc:sldMk cId="991468195" sldId="8813"/>
            <ac:spMk id="2" creationId="{2822A918-50DB-4AB0-83EA-E68DCAF107BA}"/>
          </ac:spMkLst>
        </pc:spChg>
      </pc:sldChg>
      <pc:sldChg chg="addSp modSp">
        <pc:chgData name="Prakash, Ankur" userId="S::anprakash@deloitte.com::e5ec4ef6-a8ef-421f-ae1a-afd967453ffe" providerId="AD" clId="Web-{BC0B09B9-6610-6AD4-BEFC-D0D26F383180}" dt="2020-06-01T13:25:50.523" v="1575" actId="20577"/>
        <pc:sldMkLst>
          <pc:docMk/>
          <pc:sldMk cId="3493385288" sldId="8816"/>
        </pc:sldMkLst>
        <pc:spChg chg="add mod">
          <ac:chgData name="Prakash, Ankur" userId="S::anprakash@deloitte.com::e5ec4ef6-a8ef-421f-ae1a-afd967453ffe" providerId="AD" clId="Web-{BC0B09B9-6610-6AD4-BEFC-D0D26F383180}" dt="2020-06-01T13:25:50.523" v="1575" actId="20577"/>
          <ac:spMkLst>
            <pc:docMk/>
            <pc:sldMk cId="3493385288" sldId="8816"/>
            <ac:spMk id="2" creationId="{40C9AD2C-9B77-4786-B241-5692E59969CA}"/>
          </ac:spMkLst>
        </pc:spChg>
      </pc:sldChg>
      <pc:sldChg chg="addSp">
        <pc:chgData name="Prakash, Ankur" userId="S::anprakash@deloitte.com::e5ec4ef6-a8ef-421f-ae1a-afd967453ffe" providerId="AD" clId="Web-{BC0B09B9-6610-6AD4-BEFC-D0D26F383180}" dt="2020-06-01T13:20:09.427" v="1396"/>
        <pc:sldMkLst>
          <pc:docMk/>
          <pc:sldMk cId="3277982049" sldId="8818"/>
        </pc:sldMkLst>
        <pc:spChg chg="add">
          <ac:chgData name="Prakash, Ankur" userId="S::anprakash@deloitte.com::e5ec4ef6-a8ef-421f-ae1a-afd967453ffe" providerId="AD" clId="Web-{BC0B09B9-6610-6AD4-BEFC-D0D26F383180}" dt="2020-06-01T13:20:09.427" v="1396"/>
          <ac:spMkLst>
            <pc:docMk/>
            <pc:sldMk cId="3277982049" sldId="8818"/>
            <ac:spMk id="2" creationId="{24E762D5-A5DF-4553-8403-18E17B5BDD25}"/>
          </ac:spMkLst>
        </pc:spChg>
      </pc:sldChg>
      <pc:sldChg chg="addSp">
        <pc:chgData name="Prakash, Ankur" userId="S::anprakash@deloitte.com::e5ec4ef6-a8ef-421f-ae1a-afd967453ffe" providerId="AD" clId="Web-{BC0B09B9-6610-6AD4-BEFC-D0D26F383180}" dt="2020-06-01T13:21:06.912" v="1404"/>
        <pc:sldMkLst>
          <pc:docMk/>
          <pc:sldMk cId="3260017691" sldId="8819"/>
        </pc:sldMkLst>
        <pc:spChg chg="add">
          <ac:chgData name="Prakash, Ankur" userId="S::anprakash@deloitte.com::e5ec4ef6-a8ef-421f-ae1a-afd967453ffe" providerId="AD" clId="Web-{BC0B09B9-6610-6AD4-BEFC-D0D26F383180}" dt="2020-06-01T13:21:06.912" v="1404"/>
          <ac:spMkLst>
            <pc:docMk/>
            <pc:sldMk cId="3260017691" sldId="8819"/>
            <ac:spMk id="2" creationId="{D94D685E-FC6B-4CA8-975C-D2759C413B1A}"/>
          </ac:spMkLst>
        </pc:spChg>
      </pc:sldChg>
      <pc:sldChg chg="modSp">
        <pc:chgData name="Prakash, Ankur" userId="S::anprakash@deloitte.com::e5ec4ef6-a8ef-421f-ae1a-afd967453ffe" providerId="AD" clId="Web-{BC0B09B9-6610-6AD4-BEFC-D0D26F383180}" dt="2020-06-01T13:24:07.147" v="1526" actId="20577"/>
        <pc:sldMkLst>
          <pc:docMk/>
          <pc:sldMk cId="960965317" sldId="8822"/>
        </pc:sldMkLst>
        <pc:spChg chg="mod">
          <ac:chgData name="Prakash, Ankur" userId="S::anprakash@deloitte.com::e5ec4ef6-a8ef-421f-ae1a-afd967453ffe" providerId="AD" clId="Web-{BC0B09B9-6610-6AD4-BEFC-D0D26F383180}" dt="2020-06-01T13:24:07.147" v="1526" actId="20577"/>
          <ac:spMkLst>
            <pc:docMk/>
            <pc:sldMk cId="960965317" sldId="8822"/>
            <ac:spMk id="2" creationId="{128AC169-3E22-4BE7-A66C-85FDCD0D9814}"/>
          </ac:spMkLst>
        </pc:spChg>
      </pc:sldChg>
      <pc:sldChg chg="addSp">
        <pc:chgData name="Prakash, Ankur" userId="S::anprakash@deloitte.com::e5ec4ef6-a8ef-421f-ae1a-afd967453ffe" providerId="AD" clId="Web-{BC0B09B9-6610-6AD4-BEFC-D0D26F383180}" dt="2020-06-01T13:20:34.615" v="1401"/>
        <pc:sldMkLst>
          <pc:docMk/>
          <pc:sldMk cId="201486598" sldId="8828"/>
        </pc:sldMkLst>
        <pc:spChg chg="add">
          <ac:chgData name="Prakash, Ankur" userId="S::anprakash@deloitte.com::e5ec4ef6-a8ef-421f-ae1a-afd967453ffe" providerId="AD" clId="Web-{BC0B09B9-6610-6AD4-BEFC-D0D26F383180}" dt="2020-06-01T13:20:34.615" v="1401"/>
          <ac:spMkLst>
            <pc:docMk/>
            <pc:sldMk cId="201486598" sldId="8828"/>
            <ac:spMk id="4" creationId="{E06C7335-DF69-440A-9684-65976545E2BD}"/>
          </ac:spMkLst>
        </pc:spChg>
      </pc:sldChg>
    </pc:docChg>
  </pc:docChgLst>
  <pc:docChgLst>
    <pc:chgData name="Sharma Palla, Rakesh" userId="S::rsharmapalla@deloitte.com::10f9904b-c976-486e-940c-ca5698800d24" providerId="AD" clId="Web-{845B16E8-E58D-45B3-A913-BC7FBCF30412}"/>
    <pc:docChg chg="modSld">
      <pc:chgData name="Sharma Palla, Rakesh" userId="S::rsharmapalla@deloitte.com::10f9904b-c976-486e-940c-ca5698800d24" providerId="AD" clId="Web-{845B16E8-E58D-45B3-A913-BC7FBCF30412}" dt="2020-12-01T17:25:48.413" v="3"/>
      <pc:docMkLst>
        <pc:docMk/>
      </pc:docMkLst>
      <pc:sldChg chg="modSp">
        <pc:chgData name="Sharma Palla, Rakesh" userId="S::rsharmapalla@deloitte.com::10f9904b-c976-486e-940c-ca5698800d24" providerId="AD" clId="Web-{845B16E8-E58D-45B3-A913-BC7FBCF30412}" dt="2020-12-01T17:25:48.413" v="3"/>
        <pc:sldMkLst>
          <pc:docMk/>
          <pc:sldMk cId="847777020" sldId="8791"/>
        </pc:sldMkLst>
        <pc:graphicFrameChg chg="mod modGraphic">
          <ac:chgData name="Sharma Palla, Rakesh" userId="S::rsharmapalla@deloitte.com::10f9904b-c976-486e-940c-ca5698800d24" providerId="AD" clId="Web-{845B16E8-E58D-45B3-A913-BC7FBCF30412}" dt="2020-12-01T17:25:48.413" v="3"/>
          <ac:graphicFrameMkLst>
            <pc:docMk/>
            <pc:sldMk cId="847777020" sldId="8791"/>
            <ac:graphicFrameMk id="2" creationId="{047A132D-3FAE-48C5-BD5F-C01213AAD2F4}"/>
          </ac:graphicFrameMkLst>
        </pc:graphicFrameChg>
      </pc:sldChg>
    </pc:docChg>
  </pc:docChgLst>
  <pc:docChgLst>
    <pc:chgData name="Prakash, Ankur" userId="S::anprakash@deloitte.com::e5ec4ef6-a8ef-421f-ae1a-afd967453ffe" providerId="AD" clId="Web-{0C9C932A-564D-4FB7-9C63-7EC09727F7AF}"/>
    <pc:docChg chg="modSld">
      <pc:chgData name="Prakash, Ankur" userId="S::anprakash@deloitte.com::e5ec4ef6-a8ef-421f-ae1a-afd967453ffe" providerId="AD" clId="Web-{0C9C932A-564D-4FB7-9C63-7EC09727F7AF}" dt="2020-06-11T07:13:29.769" v="21" actId="20577"/>
      <pc:docMkLst>
        <pc:docMk/>
      </pc:docMkLst>
      <pc:sldChg chg="modSp">
        <pc:chgData name="Prakash, Ankur" userId="S::anprakash@deloitte.com::e5ec4ef6-a8ef-421f-ae1a-afd967453ffe" providerId="AD" clId="Web-{0C9C932A-564D-4FB7-9C63-7EC09727F7AF}" dt="2020-06-11T07:13:29.769" v="21" actId="20577"/>
        <pc:sldMkLst>
          <pc:docMk/>
          <pc:sldMk cId="1709308679" sldId="8783"/>
        </pc:sldMkLst>
        <pc:spChg chg="mod">
          <ac:chgData name="Prakash, Ankur" userId="S::anprakash@deloitte.com::e5ec4ef6-a8ef-421f-ae1a-afd967453ffe" providerId="AD" clId="Web-{0C9C932A-564D-4FB7-9C63-7EC09727F7AF}" dt="2020-06-11T07:13:00.535" v="17" actId="20577"/>
          <ac:spMkLst>
            <pc:docMk/>
            <pc:sldMk cId="1709308679" sldId="8783"/>
            <ac:spMk id="6" creationId="{9C163676-2CF3-4FA5-9828-5A9969A379CA}"/>
          </ac:spMkLst>
        </pc:spChg>
        <pc:spChg chg="mod">
          <ac:chgData name="Prakash, Ankur" userId="S::anprakash@deloitte.com::e5ec4ef6-a8ef-421f-ae1a-afd967453ffe" providerId="AD" clId="Web-{0C9C932A-564D-4FB7-9C63-7EC09727F7AF}" dt="2020-06-11T07:12:32.316" v="13" actId="20577"/>
          <ac:spMkLst>
            <pc:docMk/>
            <pc:sldMk cId="1709308679" sldId="8783"/>
            <ac:spMk id="13" creationId="{EF8A928F-790F-4408-9D94-F7104E6CE2DC}"/>
          </ac:spMkLst>
        </pc:spChg>
        <pc:spChg chg="mod">
          <ac:chgData name="Prakash, Ankur" userId="S::anprakash@deloitte.com::e5ec4ef6-a8ef-421f-ae1a-afd967453ffe" providerId="AD" clId="Web-{0C9C932A-564D-4FB7-9C63-7EC09727F7AF}" dt="2020-06-11T07:13:29.769" v="21" actId="20577"/>
          <ac:spMkLst>
            <pc:docMk/>
            <pc:sldMk cId="1709308679" sldId="8783"/>
            <ac:spMk id="14" creationId="{E000F57D-05FA-4E5A-8E44-848A42C21BE2}"/>
          </ac:spMkLst>
        </pc:spChg>
        <pc:spChg chg="mod">
          <ac:chgData name="Prakash, Ankur" userId="S::anprakash@deloitte.com::e5ec4ef6-a8ef-421f-ae1a-afd967453ffe" providerId="AD" clId="Web-{0C9C932A-564D-4FB7-9C63-7EC09727F7AF}" dt="2020-06-11T07:11:48.864" v="9" actId="20577"/>
          <ac:spMkLst>
            <pc:docMk/>
            <pc:sldMk cId="1709308679" sldId="8783"/>
            <ac:spMk id="18" creationId="{6E754AEB-26AB-48BA-AD37-21E8E60DC65B}"/>
          </ac:spMkLst>
        </pc:spChg>
      </pc:sldChg>
    </pc:docChg>
  </pc:docChgLst>
  <pc:docChgLst>
    <pc:chgData name="Sharma Palla, Rakesh" userId="S::rsharmapalla@deloitte.com::10f9904b-c976-486e-940c-ca5698800d24" providerId="AD" clId="Web-{DE12D650-96FA-4272-85D8-546888C92599}"/>
    <pc:docChg chg="modSld">
      <pc:chgData name="Sharma Palla, Rakesh" userId="S::rsharmapalla@deloitte.com::10f9904b-c976-486e-940c-ca5698800d24" providerId="AD" clId="Web-{DE12D650-96FA-4272-85D8-546888C92599}" dt="2020-12-02T13:24:20.837" v="5"/>
      <pc:docMkLst>
        <pc:docMk/>
      </pc:docMkLst>
      <pc:sldChg chg="modSp">
        <pc:chgData name="Sharma Palla, Rakesh" userId="S::rsharmapalla@deloitte.com::10f9904b-c976-486e-940c-ca5698800d24" providerId="AD" clId="Web-{DE12D650-96FA-4272-85D8-546888C92599}" dt="2020-12-02T13:24:20.837" v="5"/>
        <pc:sldMkLst>
          <pc:docMk/>
          <pc:sldMk cId="847777020" sldId="8791"/>
        </pc:sldMkLst>
        <pc:graphicFrameChg chg="mod modGraphic">
          <ac:chgData name="Sharma Palla, Rakesh" userId="S::rsharmapalla@deloitte.com::10f9904b-c976-486e-940c-ca5698800d24" providerId="AD" clId="Web-{DE12D650-96FA-4272-85D8-546888C92599}" dt="2020-12-02T13:24:20.837" v="5"/>
          <ac:graphicFrameMkLst>
            <pc:docMk/>
            <pc:sldMk cId="847777020" sldId="8791"/>
            <ac:graphicFrameMk id="2" creationId="{047A132D-3FAE-48C5-BD5F-C01213AAD2F4}"/>
          </ac:graphicFrameMkLst>
        </pc:graphicFrameChg>
      </pc:sldChg>
    </pc:docChg>
  </pc:docChgLst>
  <pc:docChgLst>
    <pc:chgData name="Jivrajani, Dharini" userId="S::djivrajani@deloitte.com::9f28c9a6-e07b-4de5-8682-ac3f5c875595" providerId="AD" clId="Web-{8AA39B03-47B0-41BB-B214-98BB985528F5}"/>
    <pc:docChg chg="modSld">
      <pc:chgData name="Jivrajani, Dharini" userId="S::djivrajani@deloitte.com::9f28c9a6-e07b-4de5-8682-ac3f5c875595" providerId="AD" clId="Web-{8AA39B03-47B0-41BB-B214-98BB985528F5}" dt="2021-07-07T13:05:30.157" v="330"/>
      <pc:docMkLst>
        <pc:docMk/>
      </pc:docMkLst>
      <pc:sldChg chg="delCm">
        <pc:chgData name="Jivrajani, Dharini" userId="S::djivrajani@deloitte.com::9f28c9a6-e07b-4de5-8682-ac3f5c875595" providerId="AD" clId="Web-{8AA39B03-47B0-41BB-B214-98BB985528F5}" dt="2021-07-07T12:56:30.051" v="0"/>
        <pc:sldMkLst>
          <pc:docMk/>
          <pc:sldMk cId="3661564267" sldId="257"/>
        </pc:sldMkLst>
      </pc:sldChg>
      <pc:sldChg chg="delSp modSp delCm">
        <pc:chgData name="Jivrajani, Dharini" userId="S::djivrajani@deloitte.com::9f28c9a6-e07b-4de5-8682-ac3f5c875595" providerId="AD" clId="Web-{8AA39B03-47B0-41BB-B214-98BB985528F5}" dt="2021-07-07T13:01:47.386" v="263"/>
        <pc:sldMkLst>
          <pc:docMk/>
          <pc:sldMk cId="1369081146" sldId="8773"/>
        </pc:sldMkLst>
        <pc:spChg chg="del">
          <ac:chgData name="Jivrajani, Dharini" userId="S::djivrajani@deloitte.com::9f28c9a6-e07b-4de5-8682-ac3f5c875595" providerId="AD" clId="Web-{8AA39B03-47B0-41BB-B214-98BB985528F5}" dt="2021-07-07T12:57:01.848" v="16"/>
          <ac:spMkLst>
            <pc:docMk/>
            <pc:sldMk cId="1369081146" sldId="8773"/>
            <ac:spMk id="2" creationId="{813D28D1-AC2C-4B65-A0FF-DA341E511D3A}"/>
          </ac:spMkLst>
        </pc:spChg>
        <pc:spChg chg="mod">
          <ac:chgData name="Jivrajani, Dharini" userId="S::djivrajani@deloitte.com::9f28c9a6-e07b-4de5-8682-ac3f5c875595" providerId="AD" clId="Web-{8AA39B03-47B0-41BB-B214-98BB985528F5}" dt="2021-07-07T12:58:21.100" v="26" actId="20577"/>
          <ac:spMkLst>
            <pc:docMk/>
            <pc:sldMk cId="1369081146" sldId="8773"/>
            <ac:spMk id="698369" creationId="{00000000-0000-0000-0000-000000000000}"/>
          </ac:spMkLst>
        </pc:spChg>
        <pc:graphicFrameChg chg="mod modGraphic">
          <ac:chgData name="Jivrajani, Dharini" userId="S::djivrajani@deloitte.com::9f28c9a6-e07b-4de5-8682-ac3f5c875595" providerId="AD" clId="Web-{8AA39B03-47B0-41BB-B214-98BB985528F5}" dt="2021-07-07T13:01:47.386" v="263"/>
          <ac:graphicFrameMkLst>
            <pc:docMk/>
            <pc:sldMk cId="1369081146" sldId="8773"/>
            <ac:graphicFrameMk id="4" creationId="{2AAAC88F-F4B4-4FE3-956E-C3F806D71324}"/>
          </ac:graphicFrameMkLst>
        </pc:graphicFrameChg>
      </pc:sldChg>
      <pc:sldChg chg="delSp modSp">
        <pc:chgData name="Jivrajani, Dharini" userId="S::djivrajani@deloitte.com::9f28c9a6-e07b-4de5-8682-ac3f5c875595" providerId="AD" clId="Web-{8AA39B03-47B0-41BB-B214-98BB985528F5}" dt="2021-07-07T13:02:36.996" v="306"/>
        <pc:sldMkLst>
          <pc:docMk/>
          <pc:sldMk cId="1039189330" sldId="8774"/>
        </pc:sldMkLst>
        <pc:spChg chg="mod">
          <ac:chgData name="Jivrajani, Dharini" userId="S::djivrajani@deloitte.com::9f28c9a6-e07b-4de5-8682-ac3f5c875595" providerId="AD" clId="Web-{8AA39B03-47B0-41BB-B214-98BB985528F5}" dt="2021-07-07T13:02:11.824" v="273" actId="20577"/>
          <ac:spMkLst>
            <pc:docMk/>
            <pc:sldMk cId="1039189330" sldId="8774"/>
            <ac:spMk id="5" creationId="{BDFC5B9C-AB1B-472D-B8E8-003403F9A3E9}"/>
          </ac:spMkLst>
        </pc:spChg>
        <pc:spChg chg="del mod">
          <ac:chgData name="Jivrajani, Dharini" userId="S::djivrajani@deloitte.com::9f28c9a6-e07b-4de5-8682-ac3f5c875595" providerId="AD" clId="Web-{8AA39B03-47B0-41BB-B214-98BB985528F5}" dt="2021-07-07T13:02:20.559" v="276"/>
          <ac:spMkLst>
            <pc:docMk/>
            <pc:sldMk cId="1039189330" sldId="8774"/>
            <ac:spMk id="6" creationId="{0416A2BF-32AF-4CEC-B87F-4A20F7F66A7D}"/>
          </ac:spMkLst>
        </pc:spChg>
        <pc:graphicFrameChg chg="mod modGraphic">
          <ac:chgData name="Jivrajani, Dharini" userId="S::djivrajani@deloitte.com::9f28c9a6-e07b-4de5-8682-ac3f5c875595" providerId="AD" clId="Web-{8AA39B03-47B0-41BB-B214-98BB985528F5}" dt="2021-07-07T13:02:36.996" v="306"/>
          <ac:graphicFrameMkLst>
            <pc:docMk/>
            <pc:sldMk cId="1039189330" sldId="8774"/>
            <ac:graphicFrameMk id="4" creationId="{2AAAC88F-F4B4-4FE3-956E-C3F806D71324}"/>
          </ac:graphicFrameMkLst>
        </pc:graphicFrameChg>
      </pc:sldChg>
      <pc:sldChg chg="delSp modSp">
        <pc:chgData name="Jivrajani, Dharini" userId="S::djivrajani@deloitte.com::9f28c9a6-e07b-4de5-8682-ac3f5c875595" providerId="AD" clId="Web-{8AA39B03-47B0-41BB-B214-98BB985528F5}" dt="2021-07-07T13:03:13.247" v="329"/>
        <pc:sldMkLst>
          <pc:docMk/>
          <pc:sldMk cId="2407685793" sldId="8775"/>
        </pc:sldMkLst>
        <pc:spChg chg="del">
          <ac:chgData name="Jivrajani, Dharini" userId="S::djivrajani@deloitte.com::9f28c9a6-e07b-4de5-8682-ac3f5c875595" providerId="AD" clId="Web-{8AA39B03-47B0-41BB-B214-98BB985528F5}" dt="2021-07-07T13:02:59.575" v="307"/>
          <ac:spMkLst>
            <pc:docMk/>
            <pc:sldMk cId="2407685793" sldId="8775"/>
            <ac:spMk id="6" creationId="{D64BD7C8-9FC1-4EC7-B085-DC0BE032BDDC}"/>
          </ac:spMkLst>
        </pc:spChg>
        <pc:graphicFrameChg chg="mod modGraphic">
          <ac:chgData name="Jivrajani, Dharini" userId="S::djivrajani@deloitte.com::9f28c9a6-e07b-4de5-8682-ac3f5c875595" providerId="AD" clId="Web-{8AA39B03-47B0-41BB-B214-98BB985528F5}" dt="2021-07-07T13:03:13.247" v="329"/>
          <ac:graphicFrameMkLst>
            <pc:docMk/>
            <pc:sldMk cId="2407685793" sldId="8775"/>
            <ac:graphicFrameMk id="4" creationId="{2AAAC88F-F4B4-4FE3-956E-C3F806D71324}"/>
          </ac:graphicFrameMkLst>
        </pc:graphicFrameChg>
      </pc:sldChg>
      <pc:sldChg chg="delCm">
        <pc:chgData name="Jivrajani, Dharini" userId="S::djivrajani@deloitte.com::9f28c9a6-e07b-4de5-8682-ac3f5c875595" providerId="AD" clId="Web-{8AA39B03-47B0-41BB-B214-98BB985528F5}" dt="2021-07-07T13:05:30.157" v="330"/>
        <pc:sldMkLst>
          <pc:docMk/>
          <pc:sldMk cId="53167518" sldId="9060"/>
        </pc:sldMkLst>
      </pc:sldChg>
    </pc:docChg>
  </pc:docChgLst>
  <pc:docChgLst>
    <pc:chgData name="Rudraraju, Vijaya" userId="S::vijrudraraju@deloitte.com::106f6c26-77b2-4e0c-8472-1c142b7002a0" providerId="AD" clId="Web-{6B145AAA-6004-4C60-BECF-1287699F484B}"/>
    <pc:docChg chg="modSld">
      <pc:chgData name="Rudraraju, Vijaya" userId="S::vijrudraraju@deloitte.com::106f6c26-77b2-4e0c-8472-1c142b7002a0" providerId="AD" clId="Web-{6B145AAA-6004-4C60-BECF-1287699F484B}" dt="2020-07-13T07:34:39.845" v="110" actId="20577"/>
      <pc:docMkLst>
        <pc:docMk/>
      </pc:docMkLst>
      <pc:sldChg chg="delSp modSp">
        <pc:chgData name="Rudraraju, Vijaya" userId="S::vijrudraraju@deloitte.com::106f6c26-77b2-4e0c-8472-1c142b7002a0" providerId="AD" clId="Web-{6B145AAA-6004-4C60-BECF-1287699F484B}" dt="2020-07-13T07:34:39.845" v="110" actId="20577"/>
        <pc:sldMkLst>
          <pc:docMk/>
          <pc:sldMk cId="2940807522" sldId="8784"/>
        </pc:sldMkLst>
        <pc:spChg chg="mod">
          <ac:chgData name="Rudraraju, Vijaya" userId="S::vijrudraraju@deloitte.com::106f6c26-77b2-4e0c-8472-1c142b7002a0" providerId="AD" clId="Web-{6B145AAA-6004-4C60-BECF-1287699F484B}" dt="2020-07-13T07:34:34.188" v="108" actId="20577"/>
          <ac:spMkLst>
            <pc:docMk/>
            <pc:sldMk cId="2940807522" sldId="8784"/>
            <ac:spMk id="8" creationId="{3AD73DD1-CA9D-43A7-AE40-783F13202818}"/>
          </ac:spMkLst>
        </pc:spChg>
        <pc:spChg chg="mod">
          <ac:chgData name="Rudraraju, Vijaya" userId="S::vijrudraraju@deloitte.com::106f6c26-77b2-4e0c-8472-1c142b7002a0" providerId="AD" clId="Web-{6B145AAA-6004-4C60-BECF-1287699F484B}" dt="2020-07-13T07:34:39.845" v="110" actId="20577"/>
          <ac:spMkLst>
            <pc:docMk/>
            <pc:sldMk cId="2940807522" sldId="8784"/>
            <ac:spMk id="10" creationId="{63C4D4D1-A06E-4F86-8E1F-FBE3DBFA51E8}"/>
          </ac:spMkLst>
        </pc:spChg>
        <pc:spChg chg="del mod">
          <ac:chgData name="Rudraraju, Vijaya" userId="S::vijrudraraju@deloitte.com::106f6c26-77b2-4e0c-8472-1c142b7002a0" providerId="AD" clId="Web-{6B145AAA-6004-4C60-BECF-1287699F484B}" dt="2020-07-13T07:29:09.455" v="6"/>
          <ac:spMkLst>
            <pc:docMk/>
            <pc:sldMk cId="2940807522" sldId="8784"/>
            <ac:spMk id="13" creationId="{E4BE634D-3995-460E-B802-CCC53E938748}"/>
          </ac:spMkLst>
        </pc:spChg>
      </pc:sldChg>
    </pc:docChg>
  </pc:docChgLst>
  <pc:docChgLst>
    <pc:chgData name="Ghosh, Anindya" userId="S::anighosh@deloitte.com::1c8636f3-f28e-411c-9bbf-d78a395a60f5" providerId="AD" clId="Web-{E2BC9E61-DA0B-433E-94D3-DA052B4DC3C4}"/>
    <pc:docChg chg="modSld">
      <pc:chgData name="Ghosh, Anindya" userId="S::anighosh@deloitte.com::1c8636f3-f28e-411c-9bbf-d78a395a60f5" providerId="AD" clId="Web-{E2BC9E61-DA0B-433E-94D3-DA052B4DC3C4}" dt="2020-07-08T05:26:51.959" v="63" actId="20577"/>
      <pc:docMkLst>
        <pc:docMk/>
      </pc:docMkLst>
      <pc:sldChg chg="modSp">
        <pc:chgData name="Ghosh, Anindya" userId="S::anighosh@deloitte.com::1c8636f3-f28e-411c-9bbf-d78a395a60f5" providerId="AD" clId="Web-{E2BC9E61-DA0B-433E-94D3-DA052B4DC3C4}" dt="2020-07-08T05:26:51.944" v="62" actId="20577"/>
        <pc:sldMkLst>
          <pc:docMk/>
          <pc:sldMk cId="4169581344" sldId="8798"/>
        </pc:sldMkLst>
        <pc:spChg chg="mod">
          <ac:chgData name="Ghosh, Anindya" userId="S::anighosh@deloitte.com::1c8636f3-f28e-411c-9bbf-d78a395a60f5" providerId="AD" clId="Web-{E2BC9E61-DA0B-433E-94D3-DA052B4DC3C4}" dt="2020-07-08T05:26:51.944" v="62" actId="20577"/>
          <ac:spMkLst>
            <pc:docMk/>
            <pc:sldMk cId="4169581344" sldId="8798"/>
            <ac:spMk id="3" creationId="{BCEB1B60-2A70-48F8-B225-997AF7F15017}"/>
          </ac:spMkLst>
        </pc:spChg>
      </pc:sldChg>
    </pc:docChg>
  </pc:docChgLst>
  <pc:docChgLst>
    <pc:chgData name="Jivrajani, Dharini" userId="S::djivrajani@deloitte.com::9f28c9a6-e07b-4de5-8682-ac3f5c875595" providerId="AD" clId="Web-{BC41CB1A-674B-4FE5-87C4-282F2F15A5BB}"/>
    <pc:docChg chg="addSld sldOrd addMainMaster modSection">
      <pc:chgData name="Jivrajani, Dharini" userId="S::djivrajani@deloitte.com::9f28c9a6-e07b-4de5-8682-ac3f5c875595" providerId="AD" clId="Web-{BC41CB1A-674B-4FE5-87C4-282F2F15A5BB}" dt="2020-07-13T11:18:38.816" v="8"/>
      <pc:docMkLst>
        <pc:docMk/>
      </pc:docMkLst>
      <pc:sldChg chg="ord">
        <pc:chgData name="Jivrajani, Dharini" userId="S::djivrajani@deloitte.com::9f28c9a6-e07b-4de5-8682-ac3f5c875595" providerId="AD" clId="Web-{BC41CB1A-674B-4FE5-87C4-282F2F15A5BB}" dt="2020-07-13T11:18:38.816" v="8"/>
        <pc:sldMkLst>
          <pc:docMk/>
          <pc:sldMk cId="1628750535" sldId="8825"/>
        </pc:sldMkLst>
      </pc:sldChg>
      <pc:sldChg chg="add">
        <pc:chgData name="Jivrajani, Dharini" userId="S::djivrajani@deloitte.com::9f28c9a6-e07b-4de5-8682-ac3f5c875595" providerId="AD" clId="Web-{BC41CB1A-674B-4FE5-87C4-282F2F15A5BB}" dt="2020-07-13T11:18:21.863" v="0"/>
        <pc:sldMkLst>
          <pc:docMk/>
          <pc:sldMk cId="2459573223" sldId="8977"/>
        </pc:sldMkLst>
      </pc:sldChg>
      <pc:sldChg chg="add">
        <pc:chgData name="Jivrajani, Dharini" userId="S::djivrajani@deloitte.com::9f28c9a6-e07b-4de5-8682-ac3f5c875595" providerId="AD" clId="Web-{BC41CB1A-674B-4FE5-87C4-282F2F15A5BB}" dt="2020-07-13T11:18:22.097" v="1"/>
        <pc:sldMkLst>
          <pc:docMk/>
          <pc:sldMk cId="4088849546" sldId="8978"/>
        </pc:sldMkLst>
      </pc:sldChg>
      <pc:sldChg chg="add">
        <pc:chgData name="Jivrajani, Dharini" userId="S::djivrajani@deloitte.com::9f28c9a6-e07b-4de5-8682-ac3f5c875595" providerId="AD" clId="Web-{BC41CB1A-674B-4FE5-87C4-282F2F15A5BB}" dt="2020-07-13T11:18:22.285" v="2"/>
        <pc:sldMkLst>
          <pc:docMk/>
          <pc:sldMk cId="1518886997" sldId="8979"/>
        </pc:sldMkLst>
      </pc:sldChg>
      <pc:sldChg chg="add">
        <pc:chgData name="Jivrajani, Dharini" userId="S::djivrajani@deloitte.com::9f28c9a6-e07b-4de5-8682-ac3f5c875595" providerId="AD" clId="Web-{BC41CB1A-674B-4FE5-87C4-282F2F15A5BB}" dt="2020-07-13T11:18:22.457" v="3"/>
        <pc:sldMkLst>
          <pc:docMk/>
          <pc:sldMk cId="2793644384" sldId="8980"/>
        </pc:sldMkLst>
      </pc:sldChg>
      <pc:sldChg chg="add">
        <pc:chgData name="Jivrajani, Dharini" userId="S::djivrajani@deloitte.com::9f28c9a6-e07b-4de5-8682-ac3f5c875595" providerId="AD" clId="Web-{BC41CB1A-674B-4FE5-87C4-282F2F15A5BB}" dt="2020-07-13T11:18:22.675" v="4"/>
        <pc:sldMkLst>
          <pc:docMk/>
          <pc:sldMk cId="2604015348" sldId="8981"/>
        </pc:sldMkLst>
      </pc:sldChg>
      <pc:sldChg chg="add">
        <pc:chgData name="Jivrajani, Dharini" userId="S::djivrajani@deloitte.com::9f28c9a6-e07b-4de5-8682-ac3f5c875595" providerId="AD" clId="Web-{BC41CB1A-674B-4FE5-87C4-282F2F15A5BB}" dt="2020-07-13T11:18:22.878" v="5"/>
        <pc:sldMkLst>
          <pc:docMk/>
          <pc:sldMk cId="2898118884" sldId="8982"/>
        </pc:sldMkLst>
      </pc:sldChg>
      <pc:sldChg chg="add">
        <pc:chgData name="Jivrajani, Dharini" userId="S::djivrajani@deloitte.com::9f28c9a6-e07b-4de5-8682-ac3f5c875595" providerId="AD" clId="Web-{BC41CB1A-674B-4FE5-87C4-282F2F15A5BB}" dt="2020-07-13T11:18:23.082" v="6"/>
        <pc:sldMkLst>
          <pc:docMk/>
          <pc:sldMk cId="3987093810" sldId="8983"/>
        </pc:sldMkLst>
      </pc:sldChg>
      <pc:sldChg chg="add">
        <pc:chgData name="Jivrajani, Dharini" userId="S::djivrajani@deloitte.com::9f28c9a6-e07b-4de5-8682-ac3f5c875595" providerId="AD" clId="Web-{BC41CB1A-674B-4FE5-87C4-282F2F15A5BB}" dt="2020-07-13T11:18:23.285" v="7"/>
        <pc:sldMkLst>
          <pc:docMk/>
          <pc:sldMk cId="654422803" sldId="8984"/>
        </pc:sldMkLst>
      </pc:sldChg>
      <pc:sldMasterChg chg="add addSldLayout">
        <pc:chgData name="Jivrajani, Dharini" userId="S::djivrajani@deloitte.com::9f28c9a6-e07b-4de5-8682-ac3f5c875595" providerId="AD" clId="Web-{BC41CB1A-674B-4FE5-87C4-282F2F15A5BB}" dt="2020-07-13T11:18:21.863" v="0"/>
        <pc:sldMasterMkLst>
          <pc:docMk/>
          <pc:sldMasterMk cId="3209094616" sldId="2147483660"/>
        </pc:sldMasterMkLst>
        <pc:sldLayoutChg chg="add">
          <pc:chgData name="Jivrajani, Dharini" userId="S::djivrajani@deloitte.com::9f28c9a6-e07b-4de5-8682-ac3f5c875595" providerId="AD" clId="Web-{BC41CB1A-674B-4FE5-87C4-282F2F15A5BB}" dt="2020-07-13T11:18:21.863" v="0"/>
          <pc:sldLayoutMkLst>
            <pc:docMk/>
            <pc:sldMasterMk cId="3209094616" sldId="2147483660"/>
            <pc:sldLayoutMk cId="3153518291" sldId="2147483661"/>
          </pc:sldLayoutMkLst>
        </pc:sldLayoutChg>
        <pc:sldLayoutChg chg="add">
          <pc:chgData name="Jivrajani, Dharini" userId="S::djivrajani@deloitte.com::9f28c9a6-e07b-4de5-8682-ac3f5c875595" providerId="AD" clId="Web-{BC41CB1A-674B-4FE5-87C4-282F2F15A5BB}" dt="2020-07-13T11:18:21.863" v="0"/>
          <pc:sldLayoutMkLst>
            <pc:docMk/>
            <pc:sldMasterMk cId="3209094616" sldId="2147483660"/>
            <pc:sldLayoutMk cId="1136588446" sldId="2147483662"/>
          </pc:sldLayoutMkLst>
        </pc:sldLayoutChg>
        <pc:sldLayoutChg chg="add">
          <pc:chgData name="Jivrajani, Dharini" userId="S::djivrajani@deloitte.com::9f28c9a6-e07b-4de5-8682-ac3f5c875595" providerId="AD" clId="Web-{BC41CB1A-674B-4FE5-87C4-282F2F15A5BB}" dt="2020-07-13T11:18:21.863" v="0"/>
          <pc:sldLayoutMkLst>
            <pc:docMk/>
            <pc:sldMasterMk cId="3209094616" sldId="2147483660"/>
            <pc:sldLayoutMk cId="805505680" sldId="2147483663"/>
          </pc:sldLayoutMkLst>
        </pc:sldLayoutChg>
        <pc:sldLayoutChg chg="add">
          <pc:chgData name="Jivrajani, Dharini" userId="S::djivrajani@deloitte.com::9f28c9a6-e07b-4de5-8682-ac3f5c875595" providerId="AD" clId="Web-{BC41CB1A-674B-4FE5-87C4-282F2F15A5BB}" dt="2020-07-13T11:18:21.863" v="0"/>
          <pc:sldLayoutMkLst>
            <pc:docMk/>
            <pc:sldMasterMk cId="3209094616" sldId="2147483660"/>
            <pc:sldLayoutMk cId="1607640705" sldId="2147483664"/>
          </pc:sldLayoutMkLst>
        </pc:sldLayoutChg>
        <pc:sldLayoutChg chg="add">
          <pc:chgData name="Jivrajani, Dharini" userId="S::djivrajani@deloitte.com::9f28c9a6-e07b-4de5-8682-ac3f5c875595" providerId="AD" clId="Web-{BC41CB1A-674B-4FE5-87C4-282F2F15A5BB}" dt="2020-07-13T11:18:21.863" v="0"/>
          <pc:sldLayoutMkLst>
            <pc:docMk/>
            <pc:sldMasterMk cId="3209094616" sldId="2147483660"/>
            <pc:sldLayoutMk cId="2728787652" sldId="2147483665"/>
          </pc:sldLayoutMkLst>
        </pc:sldLayoutChg>
        <pc:sldLayoutChg chg="add">
          <pc:chgData name="Jivrajani, Dharini" userId="S::djivrajani@deloitte.com::9f28c9a6-e07b-4de5-8682-ac3f5c875595" providerId="AD" clId="Web-{BC41CB1A-674B-4FE5-87C4-282F2F15A5BB}" dt="2020-07-13T11:18:21.863" v="0"/>
          <pc:sldLayoutMkLst>
            <pc:docMk/>
            <pc:sldMasterMk cId="3209094616" sldId="2147483660"/>
            <pc:sldLayoutMk cId="4176832180" sldId="2147483666"/>
          </pc:sldLayoutMkLst>
        </pc:sldLayoutChg>
        <pc:sldLayoutChg chg="add">
          <pc:chgData name="Jivrajani, Dharini" userId="S::djivrajani@deloitte.com::9f28c9a6-e07b-4de5-8682-ac3f5c875595" providerId="AD" clId="Web-{BC41CB1A-674B-4FE5-87C4-282F2F15A5BB}" dt="2020-07-13T11:18:21.863" v="0"/>
          <pc:sldLayoutMkLst>
            <pc:docMk/>
            <pc:sldMasterMk cId="3209094616" sldId="2147483660"/>
            <pc:sldLayoutMk cId="1037617573" sldId="2147483667"/>
          </pc:sldLayoutMkLst>
        </pc:sldLayoutChg>
        <pc:sldLayoutChg chg="add">
          <pc:chgData name="Jivrajani, Dharini" userId="S::djivrajani@deloitte.com::9f28c9a6-e07b-4de5-8682-ac3f5c875595" providerId="AD" clId="Web-{BC41CB1A-674B-4FE5-87C4-282F2F15A5BB}" dt="2020-07-13T11:18:21.863" v="0"/>
          <pc:sldLayoutMkLst>
            <pc:docMk/>
            <pc:sldMasterMk cId="3209094616" sldId="2147483660"/>
            <pc:sldLayoutMk cId="114322957" sldId="2147483668"/>
          </pc:sldLayoutMkLst>
        </pc:sldLayoutChg>
        <pc:sldLayoutChg chg="add">
          <pc:chgData name="Jivrajani, Dharini" userId="S::djivrajani@deloitte.com::9f28c9a6-e07b-4de5-8682-ac3f5c875595" providerId="AD" clId="Web-{BC41CB1A-674B-4FE5-87C4-282F2F15A5BB}" dt="2020-07-13T11:18:21.863" v="0"/>
          <pc:sldLayoutMkLst>
            <pc:docMk/>
            <pc:sldMasterMk cId="3209094616" sldId="2147483660"/>
            <pc:sldLayoutMk cId="2983964" sldId="2147483669"/>
          </pc:sldLayoutMkLst>
        </pc:sldLayoutChg>
        <pc:sldLayoutChg chg="add">
          <pc:chgData name="Jivrajani, Dharini" userId="S::djivrajani@deloitte.com::9f28c9a6-e07b-4de5-8682-ac3f5c875595" providerId="AD" clId="Web-{BC41CB1A-674B-4FE5-87C4-282F2F15A5BB}" dt="2020-07-13T11:18:21.863" v="0"/>
          <pc:sldLayoutMkLst>
            <pc:docMk/>
            <pc:sldMasterMk cId="3209094616" sldId="2147483660"/>
            <pc:sldLayoutMk cId="3639459431" sldId="2147483670"/>
          </pc:sldLayoutMkLst>
        </pc:sldLayoutChg>
        <pc:sldLayoutChg chg="add">
          <pc:chgData name="Jivrajani, Dharini" userId="S::djivrajani@deloitte.com::9f28c9a6-e07b-4de5-8682-ac3f5c875595" providerId="AD" clId="Web-{BC41CB1A-674B-4FE5-87C4-282F2F15A5BB}" dt="2020-07-13T11:18:21.863" v="0"/>
          <pc:sldLayoutMkLst>
            <pc:docMk/>
            <pc:sldMasterMk cId="3209094616" sldId="2147483660"/>
            <pc:sldLayoutMk cId="737992432" sldId="2147483671"/>
          </pc:sldLayoutMkLst>
        </pc:sldLayoutChg>
      </pc:sldMasterChg>
    </pc:docChg>
  </pc:docChgLst>
  <pc:docChgLst>
    <pc:chgData name="Jackman, Lauren" userId="ef96ab20-fb12-476c-a3e0-14bd051fc290" providerId="ADAL" clId="{86DC28D5-924E-471D-87F0-9E64C0CFDFAE}"/>
    <pc:docChg chg="undo custSel addSld delSld modSld sldOrd modSection">
      <pc:chgData name="Jackman, Lauren" userId="ef96ab20-fb12-476c-a3e0-14bd051fc290" providerId="ADAL" clId="{86DC28D5-924E-471D-87F0-9E64C0CFDFAE}" dt="2020-07-14T13:52:45.003" v="4510"/>
      <pc:docMkLst>
        <pc:docMk/>
      </pc:docMkLst>
      <pc:sldChg chg="modSp">
        <pc:chgData name="Jackman, Lauren" userId="ef96ab20-fb12-476c-a3e0-14bd051fc290" providerId="ADAL" clId="{86DC28D5-924E-471D-87F0-9E64C0CFDFAE}" dt="2020-07-10T13:36:32.197" v="2192" actId="1076"/>
        <pc:sldMkLst>
          <pc:docMk/>
          <pc:sldMk cId="4105570737" sldId="256"/>
        </pc:sldMkLst>
        <pc:spChg chg="mod">
          <ac:chgData name="Jackman, Lauren" userId="ef96ab20-fb12-476c-a3e0-14bd051fc290" providerId="ADAL" clId="{86DC28D5-924E-471D-87F0-9E64C0CFDFAE}" dt="2020-07-10T13:36:32.197" v="2192" actId="1076"/>
          <ac:spMkLst>
            <pc:docMk/>
            <pc:sldMk cId="4105570737" sldId="256"/>
            <ac:spMk id="5" creationId="{4337F538-5267-4208-9BD0-4E1C878C6A83}"/>
          </ac:spMkLst>
        </pc:spChg>
        <pc:spChg chg="mod">
          <ac:chgData name="Jackman, Lauren" userId="ef96ab20-fb12-476c-a3e0-14bd051fc290" providerId="ADAL" clId="{86DC28D5-924E-471D-87F0-9E64C0CFDFAE}" dt="2020-07-10T13:36:32.197" v="2192" actId="1076"/>
          <ac:spMkLst>
            <pc:docMk/>
            <pc:sldMk cId="4105570737" sldId="256"/>
            <ac:spMk id="6" creationId="{EA00F046-66F2-4ACF-A172-4877717DFDE7}"/>
          </ac:spMkLst>
        </pc:spChg>
        <pc:picChg chg="mod">
          <ac:chgData name="Jackman, Lauren" userId="ef96ab20-fb12-476c-a3e0-14bd051fc290" providerId="ADAL" clId="{86DC28D5-924E-471D-87F0-9E64C0CFDFAE}" dt="2020-07-10T13:36:32.197" v="2192" actId="1076"/>
          <ac:picMkLst>
            <pc:docMk/>
            <pc:sldMk cId="4105570737" sldId="256"/>
            <ac:picMk id="3" creationId="{AA4831A9-BFB0-4E9D-BA00-2C486D3C9E11}"/>
          </ac:picMkLst>
        </pc:picChg>
      </pc:sldChg>
      <pc:sldChg chg="modSp">
        <pc:chgData name="Jackman, Lauren" userId="ef96ab20-fb12-476c-a3e0-14bd051fc290" providerId="ADAL" clId="{86DC28D5-924E-471D-87F0-9E64C0CFDFAE}" dt="2020-07-09T21:02:23.441" v="1972" actId="14100"/>
        <pc:sldMkLst>
          <pc:docMk/>
          <pc:sldMk cId="776867145" sldId="265"/>
        </pc:sldMkLst>
        <pc:spChg chg="mod">
          <ac:chgData name="Jackman, Lauren" userId="ef96ab20-fb12-476c-a3e0-14bd051fc290" providerId="ADAL" clId="{86DC28D5-924E-471D-87F0-9E64C0CFDFAE}" dt="2020-07-09T21:02:23.441" v="1972" actId="14100"/>
          <ac:spMkLst>
            <pc:docMk/>
            <pc:sldMk cId="776867145" sldId="265"/>
            <ac:spMk id="16" creationId="{FECBD69E-1F84-4F3B-8616-AA5F5DFCFA24}"/>
          </ac:spMkLst>
        </pc:spChg>
      </pc:sldChg>
      <pc:sldChg chg="modSp delCm">
        <pc:chgData name="Jackman, Lauren" userId="ef96ab20-fb12-476c-a3e0-14bd051fc290" providerId="ADAL" clId="{86DC28D5-924E-471D-87F0-9E64C0CFDFAE}" dt="2020-07-09T21:02:33.835" v="1973" actId="14100"/>
        <pc:sldMkLst>
          <pc:docMk/>
          <pc:sldMk cId="3608320234" sldId="266"/>
        </pc:sldMkLst>
        <pc:spChg chg="mod">
          <ac:chgData name="Jackman, Lauren" userId="ef96ab20-fb12-476c-a3e0-14bd051fc290" providerId="ADAL" clId="{86DC28D5-924E-471D-87F0-9E64C0CFDFAE}" dt="2020-07-09T21:02:33.835" v="1973" actId="14100"/>
          <ac:spMkLst>
            <pc:docMk/>
            <pc:sldMk cId="3608320234" sldId="266"/>
            <ac:spMk id="10" creationId="{7019A48B-DFDD-40AB-8412-279A8FFEC272}"/>
          </ac:spMkLst>
        </pc:spChg>
      </pc:sldChg>
      <pc:sldChg chg="delSp modSp delAnim addCm delCm modCm">
        <pc:chgData name="Jackman, Lauren" userId="ef96ab20-fb12-476c-a3e0-14bd051fc290" providerId="ADAL" clId="{86DC28D5-924E-471D-87F0-9E64C0CFDFAE}" dt="2020-07-14T13:52:45.003" v="4510"/>
        <pc:sldMkLst>
          <pc:docMk/>
          <pc:sldMk cId="544597034" sldId="2076"/>
        </pc:sldMkLst>
        <pc:spChg chg="mod">
          <ac:chgData name="Jackman, Lauren" userId="ef96ab20-fb12-476c-a3e0-14bd051fc290" providerId="ADAL" clId="{86DC28D5-924E-471D-87F0-9E64C0CFDFAE}" dt="2020-07-09T20:50:18.272" v="1494" actId="1076"/>
          <ac:spMkLst>
            <pc:docMk/>
            <pc:sldMk cId="544597034" sldId="2076"/>
            <ac:spMk id="2" creationId="{DD687E80-FE69-4FB8-BA7F-14E909BA0DE9}"/>
          </ac:spMkLst>
        </pc:spChg>
        <pc:spChg chg="mod">
          <ac:chgData name="Jackman, Lauren" userId="ef96ab20-fb12-476c-a3e0-14bd051fc290" providerId="ADAL" clId="{86DC28D5-924E-471D-87F0-9E64C0CFDFAE}" dt="2020-07-09T20:48:21.290" v="1415" actId="1076"/>
          <ac:spMkLst>
            <pc:docMk/>
            <pc:sldMk cId="544597034" sldId="2076"/>
            <ac:spMk id="12" creationId="{DC7EC01E-5784-4F90-8E40-A3F631182295}"/>
          </ac:spMkLst>
        </pc:spChg>
        <pc:spChg chg="mod">
          <ac:chgData name="Jackman, Lauren" userId="ef96ab20-fb12-476c-a3e0-14bd051fc290" providerId="ADAL" clId="{86DC28D5-924E-471D-87F0-9E64C0CFDFAE}" dt="2020-07-09T20:46:02.323" v="1365" actId="20577"/>
          <ac:spMkLst>
            <pc:docMk/>
            <pc:sldMk cId="544597034" sldId="2076"/>
            <ac:spMk id="14" creationId="{5D719E63-E741-4437-8121-ABA5F5E6CA33}"/>
          </ac:spMkLst>
        </pc:spChg>
        <pc:spChg chg="mod">
          <ac:chgData name="Jackman, Lauren" userId="ef96ab20-fb12-476c-a3e0-14bd051fc290" providerId="ADAL" clId="{86DC28D5-924E-471D-87F0-9E64C0CFDFAE}" dt="2020-07-09T20:49:58.774" v="1484" actId="20577"/>
          <ac:spMkLst>
            <pc:docMk/>
            <pc:sldMk cId="544597034" sldId="2076"/>
            <ac:spMk id="16" creationId="{D01206F1-0F1D-48D3-B11C-8148CCC8AB36}"/>
          </ac:spMkLst>
        </pc:spChg>
        <pc:spChg chg="mod">
          <ac:chgData name="Jackman, Lauren" userId="ef96ab20-fb12-476c-a3e0-14bd051fc290" providerId="ADAL" clId="{86DC28D5-924E-471D-87F0-9E64C0CFDFAE}" dt="2020-07-09T20:49:39.360" v="1478" actId="20577"/>
          <ac:spMkLst>
            <pc:docMk/>
            <pc:sldMk cId="544597034" sldId="2076"/>
            <ac:spMk id="18" creationId="{E4EEB0BB-CEA4-435D-930A-B95795FCC5A9}"/>
          </ac:spMkLst>
        </pc:spChg>
        <pc:spChg chg="mod">
          <ac:chgData name="Jackman, Lauren" userId="ef96ab20-fb12-476c-a3e0-14bd051fc290" providerId="ADAL" clId="{86DC28D5-924E-471D-87F0-9E64C0CFDFAE}" dt="2020-07-09T20:41:37.999" v="1245" actId="20577"/>
          <ac:spMkLst>
            <pc:docMk/>
            <pc:sldMk cId="544597034" sldId="2076"/>
            <ac:spMk id="21" creationId="{F18A993C-B7C9-4F11-A56F-781ECF936695}"/>
          </ac:spMkLst>
        </pc:spChg>
        <pc:spChg chg="mod">
          <ac:chgData name="Jackman, Lauren" userId="ef96ab20-fb12-476c-a3e0-14bd051fc290" providerId="ADAL" clId="{86DC28D5-924E-471D-87F0-9E64C0CFDFAE}" dt="2020-07-09T20:50:23.849" v="1495" actId="14100"/>
          <ac:spMkLst>
            <pc:docMk/>
            <pc:sldMk cId="544597034" sldId="2076"/>
            <ac:spMk id="23" creationId="{1A30CADC-75E8-4087-9CCD-F2E482A1BA12}"/>
          </ac:spMkLst>
        </pc:spChg>
        <pc:spChg chg="mod">
          <ac:chgData name="Jackman, Lauren" userId="ef96ab20-fb12-476c-a3e0-14bd051fc290" providerId="ADAL" clId="{86DC28D5-924E-471D-87F0-9E64C0CFDFAE}" dt="2020-07-09T20:50:11.432" v="1493" actId="20577"/>
          <ac:spMkLst>
            <pc:docMk/>
            <pc:sldMk cId="544597034" sldId="2076"/>
            <ac:spMk id="24" creationId="{D98BE86A-0214-4B8B-8177-71898DD3CBB9}"/>
          </ac:spMkLst>
        </pc:spChg>
        <pc:spChg chg="mod">
          <ac:chgData name="Jackman, Lauren" userId="ef96ab20-fb12-476c-a3e0-14bd051fc290" providerId="ADAL" clId="{86DC28D5-924E-471D-87F0-9E64C0CFDFAE}" dt="2020-07-14T13:52:35.258" v="4509" actId="20577"/>
          <ac:spMkLst>
            <pc:docMk/>
            <pc:sldMk cId="544597034" sldId="2076"/>
            <ac:spMk id="26" creationId="{C375B3FF-6D51-4A31-9B8A-E23DA77E879B}"/>
          </ac:spMkLst>
        </pc:spChg>
        <pc:spChg chg="mod">
          <ac:chgData name="Jackman, Lauren" userId="ef96ab20-fb12-476c-a3e0-14bd051fc290" providerId="ADAL" clId="{86DC28D5-924E-471D-87F0-9E64C0CFDFAE}" dt="2020-07-14T13:52:45.003" v="4510"/>
          <ac:spMkLst>
            <pc:docMk/>
            <pc:sldMk cId="544597034" sldId="2076"/>
            <ac:spMk id="27" creationId="{97F95232-FAF7-4FBD-A394-067DD3DBBE84}"/>
          </ac:spMkLst>
        </pc:spChg>
        <pc:spChg chg="mod">
          <ac:chgData name="Jackman, Lauren" userId="ef96ab20-fb12-476c-a3e0-14bd051fc290" providerId="ADAL" clId="{86DC28D5-924E-471D-87F0-9E64C0CFDFAE}" dt="2020-07-09T20:49:17.966" v="1459" actId="1076"/>
          <ac:spMkLst>
            <pc:docMk/>
            <pc:sldMk cId="544597034" sldId="2076"/>
            <ac:spMk id="28" creationId="{2FB4EB3B-9421-4BDC-8D10-313B0259D30F}"/>
          </ac:spMkLst>
        </pc:spChg>
        <pc:grpChg chg="del">
          <ac:chgData name="Jackman, Lauren" userId="ef96ab20-fb12-476c-a3e0-14bd051fc290" providerId="ADAL" clId="{86DC28D5-924E-471D-87F0-9E64C0CFDFAE}" dt="2020-07-09T20:40:47.587" v="1237" actId="478"/>
          <ac:grpSpMkLst>
            <pc:docMk/>
            <pc:sldMk cId="544597034" sldId="2076"/>
            <ac:grpSpMk id="3" creationId="{C4872059-A036-4EEC-AC25-7B601192172D}"/>
          </ac:grpSpMkLst>
        </pc:grpChg>
        <pc:grpChg chg="mod">
          <ac:chgData name="Jackman, Lauren" userId="ef96ab20-fb12-476c-a3e0-14bd051fc290" providerId="ADAL" clId="{86DC28D5-924E-471D-87F0-9E64C0CFDFAE}" dt="2020-07-09T20:44:01.725" v="1318" actId="14100"/>
          <ac:grpSpMkLst>
            <pc:docMk/>
            <pc:sldMk cId="544597034" sldId="2076"/>
            <ac:grpSpMk id="4" creationId="{BC2582C8-DAE1-489D-B93B-22A4350A3D43}"/>
          </ac:grpSpMkLst>
        </pc:grpChg>
        <pc:grpChg chg="mod">
          <ac:chgData name="Jackman, Lauren" userId="ef96ab20-fb12-476c-a3e0-14bd051fc290" providerId="ADAL" clId="{86DC28D5-924E-471D-87F0-9E64C0CFDFAE}" dt="2020-07-09T20:44:19.631" v="1322" actId="1076"/>
          <ac:grpSpMkLst>
            <pc:docMk/>
            <pc:sldMk cId="544597034" sldId="2076"/>
            <ac:grpSpMk id="5" creationId="{332845C8-C15D-41B2-A859-449E5D29F479}"/>
          </ac:grpSpMkLst>
        </pc:grpChg>
      </pc:sldChg>
      <pc:sldChg chg="addSp delSp modSp ord">
        <pc:chgData name="Jackman, Lauren" userId="ef96ab20-fb12-476c-a3e0-14bd051fc290" providerId="ADAL" clId="{86DC28D5-924E-471D-87F0-9E64C0CFDFAE}" dt="2020-07-14T11:42:52.362" v="4483"/>
        <pc:sldMkLst>
          <pc:docMk/>
          <pc:sldMk cId="24609206" sldId="2104"/>
        </pc:sldMkLst>
        <pc:spChg chg="del mod">
          <ac:chgData name="Jackman, Lauren" userId="ef96ab20-fb12-476c-a3e0-14bd051fc290" providerId="ADAL" clId="{86DC28D5-924E-471D-87F0-9E64C0CFDFAE}" dt="2020-07-09T21:04:21.927" v="2053" actId="478"/>
          <ac:spMkLst>
            <pc:docMk/>
            <pc:sldMk cId="24609206" sldId="2104"/>
            <ac:spMk id="2" creationId="{8CEB43D6-7D6B-4DDA-8251-521F93154416}"/>
          </ac:spMkLst>
        </pc:spChg>
        <pc:spChg chg="mod">
          <ac:chgData name="Jackman, Lauren" userId="ef96ab20-fb12-476c-a3e0-14bd051fc290" providerId="ADAL" clId="{86DC28D5-924E-471D-87F0-9E64C0CFDFAE}" dt="2020-07-14T11:41:47.194" v="4466" actId="20577"/>
          <ac:spMkLst>
            <pc:docMk/>
            <pc:sldMk cId="24609206" sldId="2104"/>
            <ac:spMk id="3" creationId="{320F8995-C0FD-4107-AC83-E830FB6660E5}"/>
          </ac:spMkLst>
        </pc:spChg>
        <pc:spChg chg="mod">
          <ac:chgData name="Jackman, Lauren" userId="ef96ab20-fb12-476c-a3e0-14bd051fc290" providerId="ADAL" clId="{86DC28D5-924E-471D-87F0-9E64C0CFDFAE}" dt="2020-07-14T11:42:19.060" v="4482" actId="20577"/>
          <ac:spMkLst>
            <pc:docMk/>
            <pc:sldMk cId="24609206" sldId="2104"/>
            <ac:spMk id="5" creationId="{5B812393-1D4C-44E5-88C8-52EB15B2AC90}"/>
          </ac:spMkLst>
        </pc:spChg>
        <pc:spChg chg="add del mod">
          <ac:chgData name="Jackman, Lauren" userId="ef96ab20-fb12-476c-a3e0-14bd051fc290" providerId="ADAL" clId="{86DC28D5-924E-471D-87F0-9E64C0CFDFAE}" dt="2020-07-09T21:04:24.678" v="2054" actId="478"/>
          <ac:spMkLst>
            <pc:docMk/>
            <pc:sldMk cId="24609206" sldId="2104"/>
            <ac:spMk id="6" creationId="{70CF8E67-080F-44C7-B014-5BAFAD9633BC}"/>
          </ac:spMkLst>
        </pc:spChg>
      </pc:sldChg>
      <pc:sldChg chg="modSp">
        <pc:chgData name="Jackman, Lauren" userId="ef96ab20-fb12-476c-a3e0-14bd051fc290" providerId="ADAL" clId="{86DC28D5-924E-471D-87F0-9E64C0CFDFAE}" dt="2020-07-09T21:07:32.411" v="2091" actId="20577"/>
        <pc:sldMkLst>
          <pc:docMk/>
          <pc:sldMk cId="3377722835" sldId="8772"/>
        </pc:sldMkLst>
        <pc:graphicFrameChg chg="modGraphic">
          <ac:chgData name="Jackman, Lauren" userId="ef96ab20-fb12-476c-a3e0-14bd051fc290" providerId="ADAL" clId="{86DC28D5-924E-471D-87F0-9E64C0CFDFAE}" dt="2020-07-09T21:07:32.411" v="2091" actId="20577"/>
          <ac:graphicFrameMkLst>
            <pc:docMk/>
            <pc:sldMk cId="3377722835" sldId="8772"/>
            <ac:graphicFrameMk id="2" creationId="{7D8F2493-A0C4-4740-A16F-E066BC79CDD8}"/>
          </ac:graphicFrameMkLst>
        </pc:graphicFrameChg>
      </pc:sldChg>
      <pc:sldChg chg="addSp modSp">
        <pc:chgData name="Jackman, Lauren" userId="ef96ab20-fb12-476c-a3e0-14bd051fc290" providerId="ADAL" clId="{86DC28D5-924E-471D-87F0-9E64C0CFDFAE}" dt="2020-07-09T21:06:21.065" v="2068" actId="1076"/>
        <pc:sldMkLst>
          <pc:docMk/>
          <pc:sldMk cId="2506138062" sldId="8782"/>
        </pc:sldMkLst>
        <pc:spChg chg="add mod">
          <ac:chgData name="Jackman, Lauren" userId="ef96ab20-fb12-476c-a3e0-14bd051fc290" providerId="ADAL" clId="{86DC28D5-924E-471D-87F0-9E64C0CFDFAE}" dt="2020-07-09T21:06:21.065" v="2068" actId="1076"/>
          <ac:spMkLst>
            <pc:docMk/>
            <pc:sldMk cId="2506138062" sldId="8782"/>
            <ac:spMk id="13" creationId="{EC15AD4C-7B16-4C94-A23C-990322A34DE7}"/>
          </ac:spMkLst>
        </pc:spChg>
      </pc:sldChg>
      <pc:sldChg chg="addSp">
        <pc:chgData name="Jackman, Lauren" userId="ef96ab20-fb12-476c-a3e0-14bd051fc290" providerId="ADAL" clId="{86DC28D5-924E-471D-87F0-9E64C0CFDFAE}" dt="2020-07-09T21:06:30.058" v="2069"/>
        <pc:sldMkLst>
          <pc:docMk/>
          <pc:sldMk cId="1709308679" sldId="8783"/>
        </pc:sldMkLst>
        <pc:spChg chg="add">
          <ac:chgData name="Jackman, Lauren" userId="ef96ab20-fb12-476c-a3e0-14bd051fc290" providerId="ADAL" clId="{86DC28D5-924E-471D-87F0-9E64C0CFDFAE}" dt="2020-07-09T21:06:30.058" v="2069"/>
          <ac:spMkLst>
            <pc:docMk/>
            <pc:sldMk cId="1709308679" sldId="8783"/>
            <ac:spMk id="15" creationId="{DE070B25-0FEA-450C-9D45-5FE66B03F3D6}"/>
          </ac:spMkLst>
        </pc:spChg>
      </pc:sldChg>
      <pc:sldChg chg="addSp modSp">
        <pc:chgData name="Jackman, Lauren" userId="ef96ab20-fb12-476c-a3e0-14bd051fc290" providerId="ADAL" clId="{86DC28D5-924E-471D-87F0-9E64C0CFDFAE}" dt="2020-07-09T21:06:38.786" v="2076" actId="20577"/>
        <pc:sldMkLst>
          <pc:docMk/>
          <pc:sldMk cId="2940807522" sldId="8784"/>
        </pc:sldMkLst>
        <pc:spChg chg="add mod">
          <ac:chgData name="Jackman, Lauren" userId="ef96ab20-fb12-476c-a3e0-14bd051fc290" providerId="ADAL" clId="{86DC28D5-924E-471D-87F0-9E64C0CFDFAE}" dt="2020-07-09T21:06:38.786" v="2076" actId="20577"/>
          <ac:spMkLst>
            <pc:docMk/>
            <pc:sldMk cId="2940807522" sldId="8784"/>
            <ac:spMk id="13" creationId="{E4BE634D-3995-460E-B802-CCC53E938748}"/>
          </ac:spMkLst>
        </pc:spChg>
      </pc:sldChg>
      <pc:sldChg chg="addSp modSp">
        <pc:chgData name="Jackman, Lauren" userId="ef96ab20-fb12-476c-a3e0-14bd051fc290" providerId="ADAL" clId="{86DC28D5-924E-471D-87F0-9E64C0CFDFAE}" dt="2020-07-09T21:06:49.315" v="2082" actId="20577"/>
        <pc:sldMkLst>
          <pc:docMk/>
          <pc:sldMk cId="4107362912" sldId="8785"/>
        </pc:sldMkLst>
        <pc:spChg chg="add mod">
          <ac:chgData name="Jackman, Lauren" userId="ef96ab20-fb12-476c-a3e0-14bd051fc290" providerId="ADAL" clId="{86DC28D5-924E-471D-87F0-9E64C0CFDFAE}" dt="2020-07-09T21:06:49.315" v="2082" actId="20577"/>
          <ac:spMkLst>
            <pc:docMk/>
            <pc:sldMk cId="4107362912" sldId="8785"/>
            <ac:spMk id="10" creationId="{22FDEEDA-5C70-48F8-88D5-0615E4EE0CCC}"/>
          </ac:spMkLst>
        </pc:spChg>
      </pc:sldChg>
      <pc:sldChg chg="addSp delSp modSp">
        <pc:chgData name="Jackman, Lauren" userId="ef96ab20-fb12-476c-a3e0-14bd051fc290" providerId="ADAL" clId="{86DC28D5-924E-471D-87F0-9E64C0CFDFAE}" dt="2020-07-14T11:33:45.601" v="4426" actId="6549"/>
        <pc:sldMkLst>
          <pc:docMk/>
          <pc:sldMk cId="800771401" sldId="8787"/>
        </pc:sldMkLst>
        <pc:spChg chg="del">
          <ac:chgData name="Jackman, Lauren" userId="ef96ab20-fb12-476c-a3e0-14bd051fc290" providerId="ADAL" clId="{86DC28D5-924E-471D-87F0-9E64C0CFDFAE}" dt="2020-07-09T20:29:43.208" v="1236" actId="478"/>
          <ac:spMkLst>
            <pc:docMk/>
            <pc:sldMk cId="800771401" sldId="8787"/>
            <ac:spMk id="3" creationId="{94E61F11-6B59-4CE5-A37A-849678855E87}"/>
          </ac:spMkLst>
        </pc:spChg>
        <pc:spChg chg="add mod">
          <ac:chgData name="Jackman, Lauren" userId="ef96ab20-fb12-476c-a3e0-14bd051fc290" providerId="ADAL" clId="{86DC28D5-924E-471D-87F0-9E64C0CFDFAE}" dt="2020-07-14T07:11:52.077" v="4290" actId="1076"/>
          <ac:spMkLst>
            <pc:docMk/>
            <pc:sldMk cId="800771401" sldId="8787"/>
            <ac:spMk id="3" creationId="{D00ADCEF-C718-4455-9BA3-D6DCD6B8A69F}"/>
          </ac:spMkLst>
        </pc:spChg>
        <pc:spChg chg="del">
          <ac:chgData name="Jackman, Lauren" userId="ef96ab20-fb12-476c-a3e0-14bd051fc290" providerId="ADAL" clId="{86DC28D5-924E-471D-87F0-9E64C0CFDFAE}" dt="2020-07-09T19:26:15.243" v="9" actId="478"/>
          <ac:spMkLst>
            <pc:docMk/>
            <pc:sldMk cId="800771401" sldId="8787"/>
            <ac:spMk id="4" creationId="{D632D272-A3E5-48C2-A6F7-A6232672E2EC}"/>
          </ac:spMkLst>
        </pc:spChg>
        <pc:spChg chg="add mod">
          <ac:chgData name="Jackman, Lauren" userId="ef96ab20-fb12-476c-a3e0-14bd051fc290" providerId="ADAL" clId="{86DC28D5-924E-471D-87F0-9E64C0CFDFAE}" dt="2020-07-14T07:12:06.379" v="4292" actId="1076"/>
          <ac:spMkLst>
            <pc:docMk/>
            <pc:sldMk cId="800771401" sldId="8787"/>
            <ac:spMk id="6" creationId="{4B0B1B92-605E-4ED0-882C-B0659B1AD09A}"/>
          </ac:spMkLst>
        </pc:spChg>
        <pc:graphicFrameChg chg="mod modGraphic">
          <ac:chgData name="Jackman, Lauren" userId="ef96ab20-fb12-476c-a3e0-14bd051fc290" providerId="ADAL" clId="{86DC28D5-924E-471D-87F0-9E64C0CFDFAE}" dt="2020-07-14T11:33:45.601" v="4426" actId="6549"/>
          <ac:graphicFrameMkLst>
            <pc:docMk/>
            <pc:sldMk cId="800771401" sldId="8787"/>
            <ac:graphicFrameMk id="2" creationId="{9FBD2273-D8F8-4BC6-9989-AE46BDA26063}"/>
          </ac:graphicFrameMkLst>
        </pc:graphicFrameChg>
      </pc:sldChg>
      <pc:sldChg chg="modSp">
        <pc:chgData name="Jackman, Lauren" userId="ef96ab20-fb12-476c-a3e0-14bd051fc290" providerId="ADAL" clId="{86DC28D5-924E-471D-87F0-9E64C0CFDFAE}" dt="2020-07-10T13:20:11.318" v="2188" actId="6549"/>
        <pc:sldMkLst>
          <pc:docMk/>
          <pc:sldMk cId="2246163936" sldId="8788"/>
        </pc:sldMkLst>
        <pc:graphicFrameChg chg="modGraphic">
          <ac:chgData name="Jackman, Lauren" userId="ef96ab20-fb12-476c-a3e0-14bd051fc290" providerId="ADAL" clId="{86DC28D5-924E-471D-87F0-9E64C0CFDFAE}" dt="2020-07-10T13:20:11.318" v="2188" actId="6549"/>
          <ac:graphicFrameMkLst>
            <pc:docMk/>
            <pc:sldMk cId="2246163936" sldId="8788"/>
            <ac:graphicFrameMk id="2" creationId="{DBFB0C01-4024-4DDF-BB08-6AA678F60360}"/>
          </ac:graphicFrameMkLst>
        </pc:graphicFrameChg>
      </pc:sldChg>
      <pc:sldChg chg="addSp delSp modSp">
        <pc:chgData name="Jackman, Lauren" userId="ef96ab20-fb12-476c-a3e0-14bd051fc290" providerId="ADAL" clId="{86DC28D5-924E-471D-87F0-9E64C0CFDFAE}" dt="2020-07-14T11:33:26.968" v="4425" actId="20577"/>
        <pc:sldMkLst>
          <pc:docMk/>
          <pc:sldMk cId="2745656098" sldId="8807"/>
        </pc:sldMkLst>
        <pc:spChg chg="del">
          <ac:chgData name="Jackman, Lauren" userId="ef96ab20-fb12-476c-a3e0-14bd051fc290" providerId="ADAL" clId="{86DC28D5-924E-471D-87F0-9E64C0CFDFAE}" dt="2020-07-09T20:19:29.620" v="865" actId="478"/>
          <ac:spMkLst>
            <pc:docMk/>
            <pc:sldMk cId="2745656098" sldId="8807"/>
            <ac:spMk id="3" creationId="{575B2A46-1739-4A64-9E53-5E7B67BEECB1}"/>
          </ac:spMkLst>
        </pc:spChg>
        <pc:spChg chg="mod">
          <ac:chgData name="Jackman, Lauren" userId="ef96ab20-fb12-476c-a3e0-14bd051fc290" providerId="ADAL" clId="{86DC28D5-924E-471D-87F0-9E64C0CFDFAE}" dt="2020-07-14T07:05:52.682" v="4070" actId="20577"/>
          <ac:spMkLst>
            <pc:docMk/>
            <pc:sldMk cId="2745656098" sldId="8807"/>
            <ac:spMk id="4" creationId="{19788558-1A37-4579-A0FE-124E7635101E}"/>
          </ac:spMkLst>
        </pc:spChg>
        <pc:spChg chg="add">
          <ac:chgData name="Jackman, Lauren" userId="ef96ab20-fb12-476c-a3e0-14bd051fc290" providerId="ADAL" clId="{86DC28D5-924E-471D-87F0-9E64C0CFDFAE}" dt="2020-07-14T07:12:13.568" v="4293"/>
          <ac:spMkLst>
            <pc:docMk/>
            <pc:sldMk cId="2745656098" sldId="8807"/>
            <ac:spMk id="5" creationId="{526EE5A1-09A3-464A-80DB-7924B4CDD662}"/>
          </ac:spMkLst>
        </pc:spChg>
        <pc:spChg chg="add">
          <ac:chgData name="Jackman, Lauren" userId="ef96ab20-fb12-476c-a3e0-14bd051fc290" providerId="ADAL" clId="{86DC28D5-924E-471D-87F0-9E64C0CFDFAE}" dt="2020-07-14T07:12:13.568" v="4293"/>
          <ac:spMkLst>
            <pc:docMk/>
            <pc:sldMk cId="2745656098" sldId="8807"/>
            <ac:spMk id="6" creationId="{403F2AE9-23BB-4BE4-8008-9C8AFFA1A604}"/>
          </ac:spMkLst>
        </pc:spChg>
        <pc:graphicFrameChg chg="mod modGraphic">
          <ac:chgData name="Jackman, Lauren" userId="ef96ab20-fb12-476c-a3e0-14bd051fc290" providerId="ADAL" clId="{86DC28D5-924E-471D-87F0-9E64C0CFDFAE}" dt="2020-07-14T11:33:26.968" v="4425" actId="20577"/>
          <ac:graphicFrameMkLst>
            <pc:docMk/>
            <pc:sldMk cId="2745656098" sldId="8807"/>
            <ac:graphicFrameMk id="2" creationId="{9FBD2273-D8F8-4BC6-9989-AE46BDA26063}"/>
          </ac:graphicFrameMkLst>
        </pc:graphicFrameChg>
      </pc:sldChg>
      <pc:sldChg chg="addSp">
        <pc:chgData name="Jackman, Lauren" userId="ef96ab20-fb12-476c-a3e0-14bd051fc290" providerId="ADAL" clId="{86DC28D5-924E-471D-87F0-9E64C0CFDFAE}" dt="2020-07-09T21:06:58.500" v="2083"/>
        <pc:sldMkLst>
          <pc:docMk/>
          <pc:sldMk cId="2399400722" sldId="8809"/>
        </pc:sldMkLst>
        <pc:spChg chg="add">
          <ac:chgData name="Jackman, Lauren" userId="ef96ab20-fb12-476c-a3e0-14bd051fc290" providerId="ADAL" clId="{86DC28D5-924E-471D-87F0-9E64C0CFDFAE}" dt="2020-07-09T21:06:58.500" v="2083"/>
          <ac:spMkLst>
            <pc:docMk/>
            <pc:sldMk cId="2399400722" sldId="8809"/>
            <ac:spMk id="10" creationId="{8CAB0D1E-85D5-451C-8C5C-C2A069564B50}"/>
          </ac:spMkLst>
        </pc:spChg>
      </pc:sldChg>
      <pc:sldChg chg="addSp">
        <pc:chgData name="Jackman, Lauren" userId="ef96ab20-fb12-476c-a3e0-14bd051fc290" providerId="ADAL" clId="{86DC28D5-924E-471D-87F0-9E64C0CFDFAE}" dt="2020-07-09T21:07:05.132" v="2084"/>
        <pc:sldMkLst>
          <pc:docMk/>
          <pc:sldMk cId="3924100793" sldId="8832"/>
        </pc:sldMkLst>
        <pc:spChg chg="add">
          <ac:chgData name="Jackman, Lauren" userId="ef96ab20-fb12-476c-a3e0-14bd051fc290" providerId="ADAL" clId="{86DC28D5-924E-471D-87F0-9E64C0CFDFAE}" dt="2020-07-09T21:07:05.132" v="2084"/>
          <ac:spMkLst>
            <pc:docMk/>
            <pc:sldMk cId="3924100793" sldId="8832"/>
            <ac:spMk id="10" creationId="{F0B3487E-57EA-4798-B0AB-ED87251492E1}"/>
          </ac:spMkLst>
        </pc:spChg>
      </pc:sldChg>
      <pc:sldChg chg="modSp">
        <pc:chgData name="Jackman, Lauren" userId="ef96ab20-fb12-476c-a3e0-14bd051fc290" providerId="ADAL" clId="{86DC28D5-924E-471D-87F0-9E64C0CFDFAE}" dt="2020-07-10T13:30:39.693" v="2190" actId="1076"/>
        <pc:sldMkLst>
          <pc:docMk/>
          <pc:sldMk cId="208755446" sldId="8837"/>
        </pc:sldMkLst>
        <pc:spChg chg="mod">
          <ac:chgData name="Jackman, Lauren" userId="ef96ab20-fb12-476c-a3e0-14bd051fc290" providerId="ADAL" clId="{86DC28D5-924E-471D-87F0-9E64C0CFDFAE}" dt="2020-07-10T13:30:39.693" v="2190" actId="1076"/>
          <ac:spMkLst>
            <pc:docMk/>
            <pc:sldMk cId="208755446" sldId="8837"/>
            <ac:spMk id="13" creationId="{00000000-0000-0000-0000-000000000000}"/>
          </ac:spMkLst>
        </pc:spChg>
      </pc:sldChg>
      <pc:sldChg chg="modSp">
        <pc:chgData name="Jackman, Lauren" userId="ef96ab20-fb12-476c-a3e0-14bd051fc290" providerId="ADAL" clId="{86DC28D5-924E-471D-87F0-9E64C0CFDFAE}" dt="2020-07-10T13:30:47.029" v="2191" actId="14100"/>
        <pc:sldMkLst>
          <pc:docMk/>
          <pc:sldMk cId="3472853465" sldId="8838"/>
        </pc:sldMkLst>
        <pc:spChg chg="mod">
          <ac:chgData name="Jackman, Lauren" userId="ef96ab20-fb12-476c-a3e0-14bd051fc290" providerId="ADAL" clId="{86DC28D5-924E-471D-87F0-9E64C0CFDFAE}" dt="2020-07-10T13:30:47.029" v="2191" actId="14100"/>
          <ac:spMkLst>
            <pc:docMk/>
            <pc:sldMk cId="3472853465" sldId="8838"/>
            <ac:spMk id="13" creationId="{00000000-0000-0000-0000-000000000000}"/>
          </ac:spMkLst>
        </pc:spChg>
      </pc:sldChg>
      <pc:sldChg chg="addSp modSp add">
        <pc:chgData name="Jackman, Lauren" userId="ef96ab20-fb12-476c-a3e0-14bd051fc290" providerId="ADAL" clId="{86DC28D5-924E-471D-87F0-9E64C0CFDFAE}" dt="2020-07-10T14:47:25.598" v="3208" actId="20577"/>
        <pc:sldMkLst>
          <pc:docMk/>
          <pc:sldMk cId="2296560862" sldId="8975"/>
        </pc:sldMkLst>
        <pc:spChg chg="add mod">
          <ac:chgData name="Jackman, Lauren" userId="ef96ab20-fb12-476c-a3e0-14bd051fc290" providerId="ADAL" clId="{86DC28D5-924E-471D-87F0-9E64C0CFDFAE}" dt="2020-07-10T14:40:08.226" v="2574"/>
          <ac:spMkLst>
            <pc:docMk/>
            <pc:sldMk cId="2296560862" sldId="8975"/>
            <ac:spMk id="2" creationId="{3413F0A9-3085-4E59-B24B-B3E6DE51D14E}"/>
          </ac:spMkLst>
        </pc:spChg>
        <pc:spChg chg="add mod">
          <ac:chgData name="Jackman, Lauren" userId="ef96ab20-fb12-476c-a3e0-14bd051fc290" providerId="ADAL" clId="{86DC28D5-924E-471D-87F0-9E64C0CFDFAE}" dt="2020-07-10T14:38:34.018" v="2529" actId="113"/>
          <ac:spMkLst>
            <pc:docMk/>
            <pc:sldMk cId="2296560862" sldId="8975"/>
            <ac:spMk id="3" creationId="{FC97C2D4-AEEE-45B2-9262-681194C2EBF4}"/>
          </ac:spMkLst>
        </pc:spChg>
        <pc:spChg chg="add mod">
          <ac:chgData name="Jackman, Lauren" userId="ef96ab20-fb12-476c-a3e0-14bd051fc290" providerId="ADAL" clId="{86DC28D5-924E-471D-87F0-9E64C0CFDFAE}" dt="2020-07-10T14:47:25.598" v="3208" actId="20577"/>
          <ac:spMkLst>
            <pc:docMk/>
            <pc:sldMk cId="2296560862" sldId="8975"/>
            <ac:spMk id="4" creationId="{7EF24648-5440-4589-919F-861A0E74EBEE}"/>
          </ac:spMkLst>
        </pc:spChg>
      </pc:sldChg>
      <pc:sldChg chg="add del">
        <pc:chgData name="Jackman, Lauren" userId="ef96ab20-fb12-476c-a3e0-14bd051fc290" providerId="ADAL" clId="{86DC28D5-924E-471D-87F0-9E64C0CFDFAE}" dt="2020-07-14T06:53:37.817" v="3308" actId="2696"/>
        <pc:sldMkLst>
          <pc:docMk/>
          <pc:sldMk cId="3137376687" sldId="8989"/>
        </pc:sldMkLst>
      </pc:sldChg>
      <pc:sldChg chg="addSp modSp">
        <pc:chgData name="Jackman, Lauren" userId="ef96ab20-fb12-476c-a3e0-14bd051fc290" providerId="ADAL" clId="{86DC28D5-924E-471D-87F0-9E64C0CFDFAE}" dt="2020-07-14T11:34:19.392" v="4429" actId="20577"/>
        <pc:sldMkLst>
          <pc:docMk/>
          <pc:sldMk cId="969028718" sldId="8990"/>
        </pc:sldMkLst>
        <pc:spChg chg="mod">
          <ac:chgData name="Jackman, Lauren" userId="ef96ab20-fb12-476c-a3e0-14bd051fc290" providerId="ADAL" clId="{86DC28D5-924E-471D-87F0-9E64C0CFDFAE}" dt="2020-07-14T07:10:43.040" v="4215" actId="207"/>
          <ac:spMkLst>
            <pc:docMk/>
            <pc:sldMk cId="969028718" sldId="8990"/>
            <ac:spMk id="4" creationId="{19788558-1A37-4579-A0FE-124E7635101E}"/>
          </ac:spMkLst>
        </pc:spChg>
        <pc:spChg chg="add">
          <ac:chgData name="Jackman, Lauren" userId="ef96ab20-fb12-476c-a3e0-14bd051fc290" providerId="ADAL" clId="{86DC28D5-924E-471D-87F0-9E64C0CFDFAE}" dt="2020-07-14T07:12:15.726" v="4294"/>
          <ac:spMkLst>
            <pc:docMk/>
            <pc:sldMk cId="969028718" sldId="8990"/>
            <ac:spMk id="5" creationId="{9B65C600-BA77-4A8A-AF50-1E0D1ECE8BB4}"/>
          </ac:spMkLst>
        </pc:spChg>
        <pc:spChg chg="add">
          <ac:chgData name="Jackman, Lauren" userId="ef96ab20-fb12-476c-a3e0-14bd051fc290" providerId="ADAL" clId="{86DC28D5-924E-471D-87F0-9E64C0CFDFAE}" dt="2020-07-14T07:12:15.726" v="4294"/>
          <ac:spMkLst>
            <pc:docMk/>
            <pc:sldMk cId="969028718" sldId="8990"/>
            <ac:spMk id="6" creationId="{DDD38DEE-46E9-405D-90AB-E6DCCC0508DE}"/>
          </ac:spMkLst>
        </pc:spChg>
        <pc:graphicFrameChg chg="mod modGraphic">
          <ac:chgData name="Jackman, Lauren" userId="ef96ab20-fb12-476c-a3e0-14bd051fc290" providerId="ADAL" clId="{86DC28D5-924E-471D-87F0-9E64C0CFDFAE}" dt="2020-07-14T11:34:19.392" v="4429" actId="20577"/>
          <ac:graphicFrameMkLst>
            <pc:docMk/>
            <pc:sldMk cId="969028718" sldId="8990"/>
            <ac:graphicFrameMk id="2" creationId="{9FBD2273-D8F8-4BC6-9989-AE46BDA26063}"/>
          </ac:graphicFrameMkLst>
        </pc:graphicFrameChg>
      </pc:sldChg>
    </pc:docChg>
  </pc:docChgLst>
  <pc:docChgLst>
    <pc:chgData name="Swarna, Padmini" userId="S::padswarna@deloitte.com::03b348e6-46b3-471e-9507-2b8a34198287" providerId="AD" clId="Web-{AF8BFDE0-3E8C-4FF0-8F45-7B570E1D4F7D}"/>
    <pc:docChg chg="modSld">
      <pc:chgData name="Swarna, Padmini" userId="S::padswarna@deloitte.com::03b348e6-46b3-471e-9507-2b8a34198287" providerId="AD" clId="Web-{AF8BFDE0-3E8C-4FF0-8F45-7B570E1D4F7D}" dt="2021-02-22T14:43:43.208" v="51" actId="20577"/>
      <pc:docMkLst>
        <pc:docMk/>
      </pc:docMkLst>
      <pc:sldChg chg="modSp">
        <pc:chgData name="Swarna, Padmini" userId="S::padswarna@deloitte.com::03b348e6-46b3-471e-9507-2b8a34198287" providerId="AD" clId="Web-{AF8BFDE0-3E8C-4FF0-8F45-7B570E1D4F7D}" dt="2021-02-22T14:43:43.208" v="51" actId="20577"/>
        <pc:sldMkLst>
          <pc:docMk/>
          <pc:sldMk cId="2506138062" sldId="8782"/>
        </pc:sldMkLst>
        <pc:spChg chg="mod">
          <ac:chgData name="Swarna, Padmini" userId="S::padswarna@deloitte.com::03b348e6-46b3-471e-9507-2b8a34198287" providerId="AD" clId="Web-{AF8BFDE0-3E8C-4FF0-8F45-7B570E1D4F7D}" dt="2021-02-22T13:54:23.227" v="33" actId="20577"/>
          <ac:spMkLst>
            <pc:docMk/>
            <pc:sldMk cId="2506138062" sldId="8782"/>
            <ac:spMk id="3" creationId="{2B44DC9A-1DE4-4B24-8493-D9073A6B5DAE}"/>
          </ac:spMkLst>
        </pc:spChg>
        <pc:spChg chg="mod">
          <ac:chgData name="Swarna, Padmini" userId="S::padswarna@deloitte.com::03b348e6-46b3-471e-9507-2b8a34198287" providerId="AD" clId="Web-{AF8BFDE0-3E8C-4FF0-8F45-7B570E1D4F7D}" dt="2021-02-22T14:43:43.208" v="51" actId="20577"/>
          <ac:spMkLst>
            <pc:docMk/>
            <pc:sldMk cId="2506138062" sldId="8782"/>
            <ac:spMk id="4" creationId="{3FAEEAA9-008B-43F6-BAE2-39F36A6706FE}"/>
          </ac:spMkLst>
        </pc:spChg>
        <pc:spChg chg="mod">
          <ac:chgData name="Swarna, Padmini" userId="S::padswarna@deloitte.com::03b348e6-46b3-471e-9507-2b8a34198287" providerId="AD" clId="Web-{AF8BFDE0-3E8C-4FF0-8F45-7B570E1D4F7D}" dt="2021-02-22T13:54:06.945" v="29" actId="20577"/>
          <ac:spMkLst>
            <pc:docMk/>
            <pc:sldMk cId="2506138062" sldId="8782"/>
            <ac:spMk id="5" creationId="{8004D1AB-63D8-4594-9D2A-CEEFDE0FE440}"/>
          </ac:spMkLst>
        </pc:spChg>
      </pc:sldChg>
    </pc:docChg>
  </pc:docChgLst>
  <pc:docChgLst>
    <pc:chgData name="Thilakan, Andrew" userId="1f143052-8546-4a36-b467-ac96e3b8e64e" providerId="ADAL" clId="{EB2C66E3-4F48-48DC-B46D-79064F11C302}"/>
    <pc:docChg chg="undo custSel addSld delSld modSld modSection">
      <pc:chgData name="Thilakan, Andrew" userId="1f143052-8546-4a36-b467-ac96e3b8e64e" providerId="ADAL" clId="{EB2C66E3-4F48-48DC-B46D-79064F11C302}" dt="2020-07-14T08:52:37.027" v="1406"/>
      <pc:docMkLst>
        <pc:docMk/>
      </pc:docMkLst>
      <pc:sldChg chg="delSp modSp">
        <pc:chgData name="Thilakan, Andrew" userId="1f143052-8546-4a36-b467-ac96e3b8e64e" providerId="ADAL" clId="{EB2C66E3-4F48-48DC-B46D-79064F11C302}" dt="2020-07-14T08:25:48.057" v="1398" actId="20577"/>
        <pc:sldMkLst>
          <pc:docMk/>
          <pc:sldMk cId="2246163936" sldId="8788"/>
        </pc:sldMkLst>
        <pc:spChg chg="del">
          <ac:chgData name="Thilakan, Andrew" userId="1f143052-8546-4a36-b467-ac96e3b8e64e" providerId="ADAL" clId="{EB2C66E3-4F48-48DC-B46D-79064F11C302}" dt="2020-07-09T03:00:48.751" v="25" actId="478"/>
          <ac:spMkLst>
            <pc:docMk/>
            <pc:sldMk cId="2246163936" sldId="8788"/>
            <ac:spMk id="3" creationId="{570D56FC-01BE-4C6A-A885-CB32C8AE4C48}"/>
          </ac:spMkLst>
        </pc:spChg>
        <pc:spChg chg="mod">
          <ac:chgData name="Thilakan, Andrew" userId="1f143052-8546-4a36-b467-ac96e3b8e64e" providerId="ADAL" clId="{EB2C66E3-4F48-48DC-B46D-79064F11C302}" dt="2020-07-14T08:25:48.057" v="1398" actId="20577"/>
          <ac:spMkLst>
            <pc:docMk/>
            <pc:sldMk cId="2246163936" sldId="8788"/>
            <ac:spMk id="4" creationId="{DF132C2F-19E4-4E49-B70A-03886CF0AF13}"/>
          </ac:spMkLst>
        </pc:spChg>
        <pc:graphicFrameChg chg="mod modGraphic">
          <ac:chgData name="Thilakan, Andrew" userId="1f143052-8546-4a36-b467-ac96e3b8e64e" providerId="ADAL" clId="{EB2C66E3-4F48-48DC-B46D-79064F11C302}" dt="2020-07-14T08:16:34.194" v="1358" actId="20577"/>
          <ac:graphicFrameMkLst>
            <pc:docMk/>
            <pc:sldMk cId="2246163936" sldId="8788"/>
            <ac:graphicFrameMk id="2" creationId="{DBFB0C01-4024-4DDF-BB08-6AA678F60360}"/>
          </ac:graphicFrameMkLst>
        </pc:graphicFrameChg>
      </pc:sldChg>
      <pc:sldChg chg="delSp modSp">
        <pc:chgData name="Thilakan, Andrew" userId="1f143052-8546-4a36-b467-ac96e3b8e64e" providerId="ADAL" clId="{EB2C66E3-4F48-48DC-B46D-79064F11C302}" dt="2020-07-14T08:16:45.113" v="1360" actId="20577"/>
        <pc:sldMkLst>
          <pc:docMk/>
          <pc:sldMk cId="1867916483" sldId="8795"/>
        </pc:sldMkLst>
        <pc:spChg chg="del">
          <ac:chgData name="Thilakan, Andrew" userId="1f143052-8546-4a36-b467-ac96e3b8e64e" providerId="ADAL" clId="{EB2C66E3-4F48-48DC-B46D-79064F11C302}" dt="2020-07-09T03:02:01.420" v="45" actId="478"/>
          <ac:spMkLst>
            <pc:docMk/>
            <pc:sldMk cId="1867916483" sldId="8795"/>
            <ac:spMk id="3" creationId="{6FBB5F45-94A1-4C0C-88E7-5248277F7BB4}"/>
          </ac:spMkLst>
        </pc:spChg>
        <pc:graphicFrameChg chg="mod modGraphic">
          <ac:chgData name="Thilakan, Andrew" userId="1f143052-8546-4a36-b467-ac96e3b8e64e" providerId="ADAL" clId="{EB2C66E3-4F48-48DC-B46D-79064F11C302}" dt="2020-07-14T08:16:45.113" v="1360" actId="20577"/>
          <ac:graphicFrameMkLst>
            <pc:docMk/>
            <pc:sldMk cId="1867916483" sldId="8795"/>
            <ac:graphicFrameMk id="2" creationId="{DBFB0C01-4024-4DDF-BB08-6AA678F60360}"/>
          </ac:graphicFrameMkLst>
        </pc:graphicFrameChg>
      </pc:sldChg>
      <pc:sldChg chg="delSp modSp">
        <pc:chgData name="Thilakan, Andrew" userId="1f143052-8546-4a36-b467-ac96e3b8e64e" providerId="ADAL" clId="{EB2C66E3-4F48-48DC-B46D-79064F11C302}" dt="2020-07-09T03:07:55.036" v="382" actId="6549"/>
        <pc:sldMkLst>
          <pc:docMk/>
          <pc:sldMk cId="2138715199" sldId="8833"/>
        </pc:sldMkLst>
        <pc:spChg chg="del">
          <ac:chgData name="Thilakan, Andrew" userId="1f143052-8546-4a36-b467-ac96e3b8e64e" providerId="ADAL" clId="{EB2C66E3-4F48-48DC-B46D-79064F11C302}" dt="2020-07-08T20:02:00.736" v="0" actId="478"/>
          <ac:spMkLst>
            <pc:docMk/>
            <pc:sldMk cId="2138715199" sldId="8833"/>
            <ac:spMk id="3" creationId="{6FBB5F45-94A1-4C0C-88E7-5248277F7BB4}"/>
          </ac:spMkLst>
        </pc:spChg>
        <pc:graphicFrameChg chg="mod modGraphic">
          <ac:chgData name="Thilakan, Andrew" userId="1f143052-8546-4a36-b467-ac96e3b8e64e" providerId="ADAL" clId="{EB2C66E3-4F48-48DC-B46D-79064F11C302}" dt="2020-07-09T03:07:55.036" v="382" actId="6549"/>
          <ac:graphicFrameMkLst>
            <pc:docMk/>
            <pc:sldMk cId="2138715199" sldId="8833"/>
            <ac:graphicFrameMk id="2" creationId="{DBFB0C01-4024-4DDF-BB08-6AA678F60360}"/>
          </ac:graphicFrameMkLst>
        </pc:graphicFrameChg>
      </pc:sldChg>
      <pc:sldChg chg="addSp add">
        <pc:chgData name="Thilakan, Andrew" userId="1f143052-8546-4a36-b467-ac96e3b8e64e" providerId="ADAL" clId="{EB2C66E3-4F48-48DC-B46D-79064F11C302}" dt="2020-07-14T08:51:33.809" v="1400"/>
        <pc:sldMkLst>
          <pc:docMk/>
          <pc:sldMk cId="3593577048" sldId="8993"/>
        </pc:sldMkLst>
        <pc:grpChg chg="add">
          <ac:chgData name="Thilakan, Andrew" userId="1f143052-8546-4a36-b467-ac96e3b8e64e" providerId="ADAL" clId="{EB2C66E3-4F48-48DC-B46D-79064F11C302}" dt="2020-07-14T08:51:33.809" v="1400"/>
          <ac:grpSpMkLst>
            <pc:docMk/>
            <pc:sldMk cId="3593577048" sldId="8993"/>
            <ac:grpSpMk id="2" creationId="{CCB9E11F-454D-4A68-9C63-CC51AD7748F0}"/>
          </ac:grpSpMkLst>
        </pc:grpChg>
      </pc:sldChg>
      <pc:sldChg chg="add del">
        <pc:chgData name="Thilakan, Andrew" userId="1f143052-8546-4a36-b467-ac96e3b8e64e" providerId="ADAL" clId="{EB2C66E3-4F48-48DC-B46D-79064F11C302}" dt="2020-07-14T08:24:52.741" v="1362" actId="2696"/>
        <pc:sldMkLst>
          <pc:docMk/>
          <pc:sldMk cId="1128646089" sldId="8994"/>
        </pc:sldMkLst>
      </pc:sldChg>
      <pc:sldChg chg="addSp add">
        <pc:chgData name="Thilakan, Andrew" userId="1f143052-8546-4a36-b467-ac96e3b8e64e" providerId="ADAL" clId="{EB2C66E3-4F48-48DC-B46D-79064F11C302}" dt="2020-07-14T08:51:54.792" v="1402"/>
        <pc:sldMkLst>
          <pc:docMk/>
          <pc:sldMk cId="212171083" sldId="8995"/>
        </pc:sldMkLst>
        <pc:grpChg chg="add">
          <ac:chgData name="Thilakan, Andrew" userId="1f143052-8546-4a36-b467-ac96e3b8e64e" providerId="ADAL" clId="{EB2C66E3-4F48-48DC-B46D-79064F11C302}" dt="2020-07-14T08:51:54.792" v="1402"/>
          <ac:grpSpMkLst>
            <pc:docMk/>
            <pc:sldMk cId="212171083" sldId="8995"/>
            <ac:grpSpMk id="2" creationId="{C4525BE6-561D-4FB1-985A-B2B5E0ED7111}"/>
          </ac:grpSpMkLst>
        </pc:grpChg>
      </pc:sldChg>
      <pc:sldChg chg="addSp add">
        <pc:chgData name="Thilakan, Andrew" userId="1f143052-8546-4a36-b467-ac96e3b8e64e" providerId="ADAL" clId="{EB2C66E3-4F48-48DC-B46D-79064F11C302}" dt="2020-07-14T08:52:17.743" v="1404"/>
        <pc:sldMkLst>
          <pc:docMk/>
          <pc:sldMk cId="1957478734" sldId="8996"/>
        </pc:sldMkLst>
        <pc:grpChg chg="add">
          <ac:chgData name="Thilakan, Andrew" userId="1f143052-8546-4a36-b467-ac96e3b8e64e" providerId="ADAL" clId="{EB2C66E3-4F48-48DC-B46D-79064F11C302}" dt="2020-07-14T08:52:17.743" v="1404"/>
          <ac:grpSpMkLst>
            <pc:docMk/>
            <pc:sldMk cId="1957478734" sldId="8996"/>
            <ac:grpSpMk id="2" creationId="{72615CD5-F7B8-4194-9435-D6614F007E59}"/>
          </ac:grpSpMkLst>
        </pc:grpChg>
      </pc:sldChg>
      <pc:sldChg chg="addSp add">
        <pc:chgData name="Thilakan, Andrew" userId="1f143052-8546-4a36-b467-ac96e3b8e64e" providerId="ADAL" clId="{EB2C66E3-4F48-48DC-B46D-79064F11C302}" dt="2020-07-14T08:52:37.027" v="1406"/>
        <pc:sldMkLst>
          <pc:docMk/>
          <pc:sldMk cId="3911023700" sldId="8997"/>
        </pc:sldMkLst>
        <pc:grpChg chg="add">
          <ac:chgData name="Thilakan, Andrew" userId="1f143052-8546-4a36-b467-ac96e3b8e64e" providerId="ADAL" clId="{EB2C66E3-4F48-48DC-B46D-79064F11C302}" dt="2020-07-14T08:52:37.027" v="1406"/>
          <ac:grpSpMkLst>
            <pc:docMk/>
            <pc:sldMk cId="3911023700" sldId="8997"/>
            <ac:grpSpMk id="2" creationId="{C182616D-DD1B-4C51-8A5E-71D10A5261AB}"/>
          </ac:grpSpMkLst>
        </pc:grpChg>
      </pc:sldChg>
    </pc:docChg>
  </pc:docChgLst>
  <pc:docChgLst>
    <pc:chgData name="Prakash, Ankur" userId="S::anprakash@deloitte.com::e5ec4ef6-a8ef-421f-ae1a-afd967453ffe" providerId="AD" clId="Web-{4074F1CA-7C2E-4AB2-A21D-8B1A42432578}"/>
    <pc:docChg chg="modSld">
      <pc:chgData name="Prakash, Ankur" userId="S::anprakash@deloitte.com::e5ec4ef6-a8ef-421f-ae1a-afd967453ffe" providerId="AD" clId="Web-{4074F1CA-7C2E-4AB2-A21D-8B1A42432578}" dt="2020-06-05T11:36:15.042" v="93" actId="20577"/>
      <pc:docMkLst>
        <pc:docMk/>
      </pc:docMkLst>
      <pc:sldChg chg="modSp">
        <pc:chgData name="Prakash, Ankur" userId="S::anprakash@deloitte.com::e5ec4ef6-a8ef-421f-ae1a-afd967453ffe" providerId="AD" clId="Web-{4074F1CA-7C2E-4AB2-A21D-8B1A42432578}" dt="2020-06-05T11:35:24.183" v="79" actId="20577"/>
        <pc:sldMkLst>
          <pc:docMk/>
          <pc:sldMk cId="2506138062" sldId="8782"/>
        </pc:sldMkLst>
        <pc:spChg chg="mod">
          <ac:chgData name="Prakash, Ankur" userId="S::anprakash@deloitte.com::e5ec4ef6-a8ef-421f-ae1a-afd967453ffe" providerId="AD" clId="Web-{4074F1CA-7C2E-4AB2-A21D-8B1A42432578}" dt="2020-06-05T11:30:37.213" v="6" actId="20577"/>
          <ac:spMkLst>
            <pc:docMk/>
            <pc:sldMk cId="2506138062" sldId="8782"/>
            <ac:spMk id="2" creationId="{A29AD221-CF2A-4E37-B85D-5E741C5C69E6}"/>
          </ac:spMkLst>
        </pc:spChg>
        <pc:spChg chg="mod">
          <ac:chgData name="Prakash, Ankur" userId="S::anprakash@deloitte.com::e5ec4ef6-a8ef-421f-ae1a-afd967453ffe" providerId="AD" clId="Web-{4074F1CA-7C2E-4AB2-A21D-8B1A42432578}" dt="2020-06-05T11:31:25.932" v="18" actId="20577"/>
          <ac:spMkLst>
            <pc:docMk/>
            <pc:sldMk cId="2506138062" sldId="8782"/>
            <ac:spMk id="3" creationId="{2B44DC9A-1DE4-4B24-8493-D9073A6B5DAE}"/>
          </ac:spMkLst>
        </pc:spChg>
        <pc:spChg chg="mod">
          <ac:chgData name="Prakash, Ankur" userId="S::anprakash@deloitte.com::e5ec4ef6-a8ef-421f-ae1a-afd967453ffe" providerId="AD" clId="Web-{4074F1CA-7C2E-4AB2-A21D-8B1A42432578}" dt="2020-06-05T11:31:07.978" v="10" actId="20577"/>
          <ac:spMkLst>
            <pc:docMk/>
            <pc:sldMk cId="2506138062" sldId="8782"/>
            <ac:spMk id="4" creationId="{3FAEEAA9-008B-43F6-BAE2-39F36A6706FE}"/>
          </ac:spMkLst>
        </pc:spChg>
        <pc:spChg chg="mod">
          <ac:chgData name="Prakash, Ankur" userId="S::anprakash@deloitte.com::e5ec4ef6-a8ef-421f-ae1a-afd967453ffe" providerId="AD" clId="Web-{4074F1CA-7C2E-4AB2-A21D-8B1A42432578}" dt="2020-06-05T11:35:24.183" v="79" actId="20577"/>
          <ac:spMkLst>
            <pc:docMk/>
            <pc:sldMk cId="2506138062" sldId="8782"/>
            <ac:spMk id="6" creationId="{C4C5D0A2-B40A-42CB-B203-24389B7EA893}"/>
          </ac:spMkLst>
        </pc:spChg>
      </pc:sldChg>
      <pc:sldChg chg="modSp">
        <pc:chgData name="Prakash, Ankur" userId="S::anprakash@deloitte.com::e5ec4ef6-a8ef-421f-ae1a-afd967453ffe" providerId="AD" clId="Web-{4074F1CA-7C2E-4AB2-A21D-8B1A42432578}" dt="2020-06-05T11:36:15.042" v="93" actId="20577"/>
        <pc:sldMkLst>
          <pc:docMk/>
          <pc:sldMk cId="1709308679" sldId="8783"/>
        </pc:sldMkLst>
        <pc:spChg chg="mod">
          <ac:chgData name="Prakash, Ankur" userId="S::anprakash@deloitte.com::e5ec4ef6-a8ef-421f-ae1a-afd967453ffe" providerId="AD" clId="Web-{4074F1CA-7C2E-4AB2-A21D-8B1A42432578}" dt="2020-06-05T11:35:35.683" v="81" actId="20577"/>
          <ac:spMkLst>
            <pc:docMk/>
            <pc:sldMk cId="1709308679" sldId="8783"/>
            <ac:spMk id="6" creationId="{9C163676-2CF3-4FA5-9828-5A9969A379CA}"/>
          </ac:spMkLst>
        </pc:spChg>
        <pc:spChg chg="mod">
          <ac:chgData name="Prakash, Ankur" userId="S::anprakash@deloitte.com::e5ec4ef6-a8ef-421f-ae1a-afd967453ffe" providerId="AD" clId="Web-{4074F1CA-7C2E-4AB2-A21D-8B1A42432578}" dt="2020-06-05T11:36:15.042" v="93" actId="20577"/>
          <ac:spMkLst>
            <pc:docMk/>
            <pc:sldMk cId="1709308679" sldId="8783"/>
            <ac:spMk id="14" creationId="{E000F57D-05FA-4E5A-8E44-848A42C21BE2}"/>
          </ac:spMkLst>
        </pc:spChg>
      </pc:sldChg>
      <pc:sldChg chg="modSp">
        <pc:chgData name="Prakash, Ankur" userId="S::anprakash@deloitte.com::e5ec4ef6-a8ef-421f-ae1a-afd967453ffe" providerId="AD" clId="Web-{4074F1CA-7C2E-4AB2-A21D-8B1A42432578}" dt="2020-06-05T11:34:48.511" v="69" actId="20577"/>
        <pc:sldMkLst>
          <pc:docMk/>
          <pc:sldMk cId="2399400722" sldId="8809"/>
        </pc:sldMkLst>
        <pc:spChg chg="mod">
          <ac:chgData name="Prakash, Ankur" userId="S::anprakash@deloitte.com::e5ec4ef6-a8ef-421f-ae1a-afd967453ffe" providerId="AD" clId="Web-{4074F1CA-7C2E-4AB2-A21D-8B1A42432578}" dt="2020-06-05T11:34:48.511" v="69" actId="20577"/>
          <ac:spMkLst>
            <pc:docMk/>
            <pc:sldMk cId="2399400722" sldId="8809"/>
            <ac:spMk id="7" creationId="{BD52B5DB-DDAB-4EC0-94A0-8CED04FAB517}"/>
          </ac:spMkLst>
        </pc:spChg>
      </pc:sldChg>
    </pc:docChg>
  </pc:docChgLst>
  <pc:docChgLst>
    <pc:chgData name="Jivrajani, Dharini" userId="S::djivrajani@deloitte.com::9f28c9a6-e07b-4de5-8682-ac3f5c875595" providerId="AD" clId="Web-{C93F3F24-DCC6-4CBB-BCF4-3ADFF39B0710}"/>
    <pc:docChg chg="modSld">
      <pc:chgData name="Jivrajani, Dharini" userId="S::djivrajani@deloitte.com::9f28c9a6-e07b-4de5-8682-ac3f5c875595" providerId="AD" clId="Web-{C93F3F24-DCC6-4CBB-BCF4-3ADFF39B0710}" dt="2021-02-25T16:54:25.973" v="3"/>
      <pc:docMkLst>
        <pc:docMk/>
      </pc:docMkLst>
      <pc:sldChg chg="modSp">
        <pc:chgData name="Jivrajani, Dharini" userId="S::djivrajani@deloitte.com::9f28c9a6-e07b-4de5-8682-ac3f5c875595" providerId="AD" clId="Web-{C93F3F24-DCC6-4CBB-BCF4-3ADFF39B0710}" dt="2021-02-25T16:54:25.973" v="3"/>
        <pc:sldMkLst>
          <pc:docMk/>
          <pc:sldMk cId="1369081146" sldId="8773"/>
        </pc:sldMkLst>
        <pc:graphicFrameChg chg="mod modGraphic">
          <ac:chgData name="Jivrajani, Dharini" userId="S::djivrajani@deloitte.com::9f28c9a6-e07b-4de5-8682-ac3f5c875595" providerId="AD" clId="Web-{C93F3F24-DCC6-4CBB-BCF4-3ADFF39B0710}" dt="2021-02-25T16:54:25.973" v="3"/>
          <ac:graphicFrameMkLst>
            <pc:docMk/>
            <pc:sldMk cId="1369081146" sldId="8773"/>
            <ac:graphicFrameMk id="4" creationId="{2AAAC88F-F4B4-4FE3-956E-C3F806D71324}"/>
          </ac:graphicFrameMkLst>
        </pc:graphicFrameChg>
      </pc:sldChg>
    </pc:docChg>
  </pc:docChgLst>
  <pc:docChgLst>
    <pc:chgData name="Ghosh, Anindya" userId="S::anighosh@deloitte.com::1c8636f3-f28e-411c-9bbf-d78a395a60f5" providerId="AD" clId="Web-{F3F49291-64AA-4A79-AAFD-8135584D2365}"/>
    <pc:docChg chg="modSld">
      <pc:chgData name="Ghosh, Anindya" userId="S::anighosh@deloitte.com::1c8636f3-f28e-411c-9bbf-d78a395a60f5" providerId="AD" clId="Web-{F3F49291-64AA-4A79-AAFD-8135584D2365}" dt="2020-07-07T05:18:08.883" v="12" actId="20577"/>
      <pc:docMkLst>
        <pc:docMk/>
      </pc:docMkLst>
      <pc:sldChg chg="addSp delSp modSp addAnim delAnim">
        <pc:chgData name="Ghosh, Anindya" userId="S::anighosh@deloitte.com::1c8636f3-f28e-411c-9bbf-d78a395a60f5" providerId="AD" clId="Web-{F3F49291-64AA-4A79-AAFD-8135584D2365}" dt="2020-07-07T05:18:08.883" v="11" actId="20577"/>
        <pc:sldMkLst>
          <pc:docMk/>
          <pc:sldMk cId="4169581344" sldId="8798"/>
        </pc:sldMkLst>
        <pc:spChg chg="add del mod">
          <ac:chgData name="Ghosh, Anindya" userId="S::anighosh@deloitte.com::1c8636f3-f28e-411c-9bbf-d78a395a60f5" providerId="AD" clId="Web-{F3F49291-64AA-4A79-AAFD-8135584D2365}" dt="2020-07-07T05:17:00.632" v="9"/>
          <ac:spMkLst>
            <pc:docMk/>
            <pc:sldMk cId="4169581344" sldId="8798"/>
            <ac:spMk id="2" creationId="{2DBDD635-35BF-4A68-AAB7-EA66E3402F5C}"/>
          </ac:spMkLst>
        </pc:spChg>
        <pc:spChg chg="mod">
          <ac:chgData name="Ghosh, Anindya" userId="S::anighosh@deloitte.com::1c8636f3-f28e-411c-9bbf-d78a395a60f5" providerId="AD" clId="Web-{F3F49291-64AA-4A79-AAFD-8135584D2365}" dt="2020-07-07T05:18:08.883" v="11" actId="20577"/>
          <ac:spMkLst>
            <pc:docMk/>
            <pc:sldMk cId="4169581344" sldId="8798"/>
            <ac:spMk id="3" creationId="{BCEB1B60-2A70-48F8-B225-997AF7F15017}"/>
          </ac:spMkLst>
        </pc:spChg>
        <pc:spChg chg="del">
          <ac:chgData name="Ghosh, Anindya" userId="S::anighosh@deloitte.com::1c8636f3-f28e-411c-9bbf-d78a395a60f5" providerId="AD" clId="Web-{F3F49291-64AA-4A79-AAFD-8135584D2365}" dt="2020-07-07T05:16:32.023" v="0"/>
          <ac:spMkLst>
            <pc:docMk/>
            <pc:sldMk cId="4169581344" sldId="8798"/>
            <ac:spMk id="5" creationId="{C18FDAD6-A381-47C6-9C6A-28C7E2C6C6AA}"/>
          </ac:spMkLst>
        </pc:spChg>
        <pc:picChg chg="add del">
          <ac:chgData name="Ghosh, Anindya" userId="S::anighosh@deloitte.com::1c8636f3-f28e-411c-9bbf-d78a395a60f5" providerId="AD" clId="Web-{F3F49291-64AA-4A79-AAFD-8135584D2365}" dt="2020-07-07T05:16:53.898" v="7"/>
          <ac:picMkLst>
            <pc:docMk/>
            <pc:sldMk cId="4169581344" sldId="8798"/>
            <ac:picMk id="3074" creationId="{705D66E2-1713-40B1-AAD4-DECA55BB2B5B}"/>
          </ac:picMkLst>
        </pc:picChg>
      </pc:sldChg>
    </pc:docChg>
  </pc:docChgLst>
  <pc:docChgLst>
    <pc:chgData name="Jivrajani, Dharini" userId="S::djivrajani@deloitte.com::9f28c9a6-e07b-4de5-8682-ac3f5c875595" providerId="AD" clId="Web-{FB60B171-FBF2-48B6-9C7C-420F5FDCCE5A}"/>
    <pc:docChg chg="delSld modSld modSection">
      <pc:chgData name="Jivrajani, Dharini" userId="S::djivrajani@deloitte.com::9f28c9a6-e07b-4de5-8682-ac3f5c875595" providerId="AD" clId="Web-{FB60B171-FBF2-48B6-9C7C-420F5FDCCE5A}" dt="2021-07-12T11:42:27.631" v="21"/>
      <pc:docMkLst>
        <pc:docMk/>
      </pc:docMkLst>
      <pc:sldChg chg="del">
        <pc:chgData name="Jivrajani, Dharini" userId="S::djivrajani@deloitte.com::9f28c9a6-e07b-4de5-8682-ac3f5c875595" providerId="AD" clId="Web-{FB60B171-FBF2-48B6-9C7C-420F5FDCCE5A}" dt="2021-07-12T11:42:23.725" v="19"/>
        <pc:sldMkLst>
          <pc:docMk/>
          <pc:sldMk cId="2803360750" sldId="271"/>
        </pc:sldMkLst>
      </pc:sldChg>
      <pc:sldChg chg="del">
        <pc:chgData name="Jivrajani, Dharini" userId="S::djivrajani@deloitte.com::9f28c9a6-e07b-4de5-8682-ac3f5c875595" providerId="AD" clId="Web-{FB60B171-FBF2-48B6-9C7C-420F5FDCCE5A}" dt="2021-07-12T11:42:23.725" v="18"/>
        <pc:sldMkLst>
          <pc:docMk/>
          <pc:sldMk cId="3779940784" sldId="272"/>
        </pc:sldMkLst>
      </pc:sldChg>
      <pc:sldChg chg="del">
        <pc:chgData name="Jivrajani, Dharini" userId="S::djivrajani@deloitte.com::9f28c9a6-e07b-4de5-8682-ac3f5c875595" providerId="AD" clId="Web-{FB60B171-FBF2-48B6-9C7C-420F5FDCCE5A}" dt="2021-07-12T11:42:27.631" v="21"/>
        <pc:sldMkLst>
          <pc:docMk/>
          <pc:sldMk cId="2838729022" sldId="273"/>
        </pc:sldMkLst>
      </pc:sldChg>
      <pc:sldChg chg="delCm">
        <pc:chgData name="Jivrajani, Dharini" userId="S::djivrajani@deloitte.com::9f28c9a6-e07b-4de5-8682-ac3f5c875595" providerId="AD" clId="Web-{FB60B171-FBF2-48B6-9C7C-420F5FDCCE5A}" dt="2021-07-12T11:42:19.069" v="17"/>
        <pc:sldMkLst>
          <pc:docMk/>
          <pc:sldMk cId="1298414651" sldId="274"/>
        </pc:sldMkLst>
      </pc:sldChg>
      <pc:sldChg chg="modSp">
        <pc:chgData name="Jivrajani, Dharini" userId="S::djivrajani@deloitte.com::9f28c9a6-e07b-4de5-8682-ac3f5c875595" providerId="AD" clId="Web-{FB60B171-FBF2-48B6-9C7C-420F5FDCCE5A}" dt="2021-07-12T11:40:40.894" v="16" actId="20577"/>
        <pc:sldMkLst>
          <pc:docMk/>
          <pc:sldMk cId="24609206" sldId="2104"/>
        </pc:sldMkLst>
        <pc:spChg chg="mod">
          <ac:chgData name="Jivrajani, Dharini" userId="S::djivrajani@deloitte.com::9f28c9a6-e07b-4de5-8682-ac3f5c875595" providerId="AD" clId="Web-{FB60B171-FBF2-48B6-9C7C-420F5FDCCE5A}" dt="2021-07-12T11:40:40.894" v="16" actId="20577"/>
          <ac:spMkLst>
            <pc:docMk/>
            <pc:sldMk cId="24609206" sldId="2104"/>
            <ac:spMk id="5" creationId="{5B812393-1D4C-44E5-88C8-52EB15B2AC90}"/>
          </ac:spMkLst>
        </pc:spChg>
      </pc:sldChg>
      <pc:sldChg chg="del">
        <pc:chgData name="Jivrajani, Dharini" userId="S::djivrajani@deloitte.com::9f28c9a6-e07b-4de5-8682-ac3f5c875595" providerId="AD" clId="Web-{FB60B171-FBF2-48B6-9C7C-420F5FDCCE5A}" dt="2021-07-12T11:42:23.725" v="20"/>
        <pc:sldMkLst>
          <pc:docMk/>
          <pc:sldMk cId="1807062554" sldId="9014"/>
        </pc:sldMkLst>
      </pc:sldChg>
    </pc:docChg>
  </pc:docChgLst>
  <pc:docChgLst>
    <pc:chgData name="Ghosh, Anindya" userId="S::anighosh@deloitte.com::1c8636f3-f28e-411c-9bbf-d78a395a60f5" providerId="AD" clId="Web-{26613F58-4C34-43AB-9EB5-A921E7752A00}"/>
    <pc:docChg chg="delSld modSld modSection">
      <pc:chgData name="Ghosh, Anindya" userId="S::anighosh@deloitte.com::1c8636f3-f28e-411c-9bbf-d78a395a60f5" providerId="AD" clId="Web-{26613F58-4C34-43AB-9EB5-A921E7752A00}" dt="2021-03-23T06:03:43.662" v="243" actId="20577"/>
      <pc:docMkLst>
        <pc:docMk/>
      </pc:docMkLst>
      <pc:sldChg chg="delSp modSp">
        <pc:chgData name="Ghosh, Anindya" userId="S::anighosh@deloitte.com::1c8636f3-f28e-411c-9bbf-d78a395a60f5" providerId="AD" clId="Web-{26613F58-4C34-43AB-9EB5-A921E7752A00}" dt="2021-03-23T06:03:43.662" v="243" actId="20577"/>
        <pc:sldMkLst>
          <pc:docMk/>
          <pc:sldMk cId="4169581344" sldId="8798"/>
        </pc:sldMkLst>
        <pc:spChg chg="mod">
          <ac:chgData name="Ghosh, Anindya" userId="S::anighosh@deloitte.com::1c8636f3-f28e-411c-9bbf-d78a395a60f5" providerId="AD" clId="Web-{26613F58-4C34-43AB-9EB5-A921E7752A00}" dt="2021-03-23T06:03:43.662" v="243" actId="20577"/>
          <ac:spMkLst>
            <pc:docMk/>
            <pc:sldMk cId="4169581344" sldId="8798"/>
            <ac:spMk id="3" creationId="{BCEB1B60-2A70-48F8-B225-997AF7F15017}"/>
          </ac:spMkLst>
        </pc:spChg>
        <pc:spChg chg="del">
          <ac:chgData name="Ghosh, Anindya" userId="S::anighosh@deloitte.com::1c8636f3-f28e-411c-9bbf-d78a395a60f5" providerId="AD" clId="Web-{26613F58-4C34-43AB-9EB5-A921E7752A00}" dt="2021-03-23T05:53:31.586" v="1"/>
          <ac:spMkLst>
            <pc:docMk/>
            <pc:sldMk cId="4169581344" sldId="8798"/>
            <ac:spMk id="5" creationId="{0F34A305-FAF4-4446-8DE1-43441542A8A1}"/>
          </ac:spMkLst>
        </pc:spChg>
      </pc:sldChg>
      <pc:sldChg chg="del">
        <pc:chgData name="Ghosh, Anindya" userId="S::anighosh@deloitte.com::1c8636f3-f28e-411c-9bbf-d78a395a60f5" providerId="AD" clId="Web-{26613F58-4C34-43AB-9EB5-A921E7752A00}" dt="2021-03-23T05:51:44.739" v="0"/>
        <pc:sldMkLst>
          <pc:docMk/>
          <pc:sldMk cId="473660456" sldId="9024"/>
        </pc:sldMkLst>
      </pc:sldChg>
    </pc:docChg>
  </pc:docChgLst>
  <pc:docChgLst>
    <pc:chgData name="Jivrajani, Dharini" userId="9f28c9a6-e07b-4de5-8682-ac3f5c875595" providerId="ADAL" clId="{AA0012B1-29D9-44BE-BA30-5DF235B3B89A}"/>
    <pc:docChg chg="undo custSel addSld delSld modSld sldOrd modSection">
      <pc:chgData name="Jivrajani, Dharini" userId="9f28c9a6-e07b-4de5-8682-ac3f5c875595" providerId="ADAL" clId="{AA0012B1-29D9-44BE-BA30-5DF235B3B89A}" dt="2020-07-13T16:56:43.224" v="720"/>
      <pc:docMkLst>
        <pc:docMk/>
      </pc:docMkLst>
      <pc:sldChg chg="modSp">
        <pc:chgData name="Jivrajani, Dharini" userId="9f28c9a6-e07b-4de5-8682-ac3f5c875595" providerId="ADAL" clId="{AA0012B1-29D9-44BE-BA30-5DF235B3B89A}" dt="2020-07-13T16:28:04.498" v="629" actId="20577"/>
        <pc:sldMkLst>
          <pc:docMk/>
          <pc:sldMk cId="3661564267" sldId="257"/>
        </pc:sldMkLst>
        <pc:spChg chg="mod">
          <ac:chgData name="Jivrajani, Dharini" userId="9f28c9a6-e07b-4de5-8682-ac3f5c875595" providerId="ADAL" clId="{AA0012B1-29D9-44BE-BA30-5DF235B3B89A}" dt="2020-07-13T16:28:04.498" v="629" actId="20577"/>
          <ac:spMkLst>
            <pc:docMk/>
            <pc:sldMk cId="3661564267" sldId="257"/>
            <ac:spMk id="4" creationId="{00000000-0000-0000-0000-000000000000}"/>
          </ac:spMkLst>
        </pc:spChg>
      </pc:sldChg>
      <pc:sldChg chg="modCm">
        <pc:chgData name="Jivrajani, Dharini" userId="9f28c9a6-e07b-4de5-8682-ac3f5c875595" providerId="ADAL" clId="{AA0012B1-29D9-44BE-BA30-5DF235B3B89A}" dt="2020-06-26T15:37:10.934" v="131"/>
        <pc:sldMkLst>
          <pc:docMk/>
          <pc:sldMk cId="3608320234" sldId="266"/>
        </pc:sldMkLst>
      </pc:sldChg>
      <pc:sldChg chg="add">
        <pc:chgData name="Jivrajani, Dharini" userId="9f28c9a6-e07b-4de5-8682-ac3f5c875595" providerId="ADAL" clId="{AA0012B1-29D9-44BE-BA30-5DF235B3B89A}" dt="2020-06-27T01:42:23.153" v="237"/>
        <pc:sldMkLst>
          <pc:docMk/>
          <pc:sldMk cId="378404546" sldId="451"/>
        </pc:sldMkLst>
      </pc:sldChg>
      <pc:sldChg chg="ord">
        <pc:chgData name="Jivrajani, Dharini" userId="9f28c9a6-e07b-4de5-8682-ac3f5c875595" providerId="ADAL" clId="{AA0012B1-29D9-44BE-BA30-5DF235B3B89A}" dt="2020-06-27T01:42:27.581" v="238"/>
        <pc:sldMkLst>
          <pc:docMk/>
          <pc:sldMk cId="2772070313" sldId="456"/>
        </pc:sldMkLst>
      </pc:sldChg>
      <pc:sldChg chg="add">
        <pc:chgData name="Jivrajani, Dharini" userId="9f28c9a6-e07b-4de5-8682-ac3f5c875595" providerId="ADAL" clId="{AA0012B1-29D9-44BE-BA30-5DF235B3B89A}" dt="2020-06-27T01:42:23.153" v="237"/>
        <pc:sldMkLst>
          <pc:docMk/>
          <pc:sldMk cId="351411677" sldId="458"/>
        </pc:sldMkLst>
      </pc:sldChg>
      <pc:sldChg chg="add">
        <pc:chgData name="Jivrajani, Dharini" userId="9f28c9a6-e07b-4de5-8682-ac3f5c875595" providerId="ADAL" clId="{AA0012B1-29D9-44BE-BA30-5DF235B3B89A}" dt="2020-06-27T01:42:23.153" v="237"/>
        <pc:sldMkLst>
          <pc:docMk/>
          <pc:sldMk cId="1690272000" sldId="469"/>
        </pc:sldMkLst>
      </pc:sldChg>
      <pc:sldChg chg="modSp">
        <pc:chgData name="Jivrajani, Dharini" userId="9f28c9a6-e07b-4de5-8682-ac3f5c875595" providerId="ADAL" clId="{AA0012B1-29D9-44BE-BA30-5DF235B3B89A}" dt="2020-06-26T15:28:17.289" v="58" actId="20577"/>
        <pc:sldMkLst>
          <pc:docMk/>
          <pc:sldMk cId="1978270760" sldId="1111"/>
        </pc:sldMkLst>
        <pc:spChg chg="mod">
          <ac:chgData name="Jivrajani, Dharini" userId="9f28c9a6-e07b-4de5-8682-ac3f5c875595" providerId="ADAL" clId="{AA0012B1-29D9-44BE-BA30-5DF235B3B89A}" dt="2020-06-26T15:28:17.289" v="58" actId="20577"/>
          <ac:spMkLst>
            <pc:docMk/>
            <pc:sldMk cId="1978270760" sldId="1111"/>
            <ac:spMk id="4" creationId="{6754574C-7E71-4808-A13F-EF0FA9560973}"/>
          </ac:spMkLst>
        </pc:spChg>
      </pc:sldChg>
      <pc:sldChg chg="addSp delSp modSp">
        <pc:chgData name="Jivrajani, Dharini" userId="9f28c9a6-e07b-4de5-8682-ac3f5c875595" providerId="ADAL" clId="{AA0012B1-29D9-44BE-BA30-5DF235B3B89A}" dt="2020-07-13T16:45:17.989" v="696" actId="14100"/>
        <pc:sldMkLst>
          <pc:docMk/>
          <pc:sldMk cId="2545999528" sldId="2078"/>
        </pc:sldMkLst>
        <pc:spChg chg="add del mod">
          <ac:chgData name="Jivrajani, Dharini" userId="9f28c9a6-e07b-4de5-8682-ac3f5c875595" providerId="ADAL" clId="{AA0012B1-29D9-44BE-BA30-5DF235B3B89A}" dt="2020-07-13T16:45:09.659" v="695" actId="20577"/>
          <ac:spMkLst>
            <pc:docMk/>
            <pc:sldMk cId="2545999528" sldId="2078"/>
            <ac:spMk id="6" creationId="{B6B16072-8482-4C74-89D8-89F94A162950}"/>
          </ac:spMkLst>
        </pc:spChg>
        <pc:spChg chg="mod">
          <ac:chgData name="Jivrajani, Dharini" userId="9f28c9a6-e07b-4de5-8682-ac3f5c875595" providerId="ADAL" clId="{AA0012B1-29D9-44BE-BA30-5DF235B3B89A}" dt="2020-07-13T16:45:17.989" v="696" actId="14100"/>
          <ac:spMkLst>
            <pc:docMk/>
            <pc:sldMk cId="2545999528" sldId="2078"/>
            <ac:spMk id="11" creationId="{D81E90CF-FE2B-4EF2-AE01-6B8C8331CB34}"/>
          </ac:spMkLst>
        </pc:spChg>
      </pc:sldChg>
      <pc:sldChg chg="modSp">
        <pc:chgData name="Jivrajani, Dharini" userId="9f28c9a6-e07b-4de5-8682-ac3f5c875595" providerId="ADAL" clId="{AA0012B1-29D9-44BE-BA30-5DF235B3B89A}" dt="2020-07-13T16:41:48.046" v="684" actId="20577"/>
        <pc:sldMkLst>
          <pc:docMk/>
          <pc:sldMk cId="1369081146" sldId="8773"/>
        </pc:sldMkLst>
        <pc:graphicFrameChg chg="modGraphic">
          <ac:chgData name="Jivrajani, Dharini" userId="9f28c9a6-e07b-4de5-8682-ac3f5c875595" providerId="ADAL" clId="{AA0012B1-29D9-44BE-BA30-5DF235B3B89A}" dt="2020-07-13T16:41:48.046" v="684" actId="20577"/>
          <ac:graphicFrameMkLst>
            <pc:docMk/>
            <pc:sldMk cId="1369081146" sldId="8773"/>
            <ac:graphicFrameMk id="4" creationId="{2AAAC88F-F4B4-4FE3-956E-C3F806D71324}"/>
          </ac:graphicFrameMkLst>
        </pc:graphicFrameChg>
      </pc:sldChg>
      <pc:sldChg chg="modSp">
        <pc:chgData name="Jivrajani, Dharini" userId="9f28c9a6-e07b-4de5-8682-ac3f5c875595" providerId="ADAL" clId="{AA0012B1-29D9-44BE-BA30-5DF235B3B89A}" dt="2020-06-26T15:18:44.414" v="26" actId="20577"/>
        <pc:sldMkLst>
          <pc:docMk/>
          <pc:sldMk cId="1039189330" sldId="8774"/>
        </pc:sldMkLst>
        <pc:graphicFrameChg chg="modGraphic">
          <ac:chgData name="Jivrajani, Dharini" userId="9f28c9a6-e07b-4de5-8682-ac3f5c875595" providerId="ADAL" clId="{AA0012B1-29D9-44BE-BA30-5DF235B3B89A}" dt="2020-06-26T15:18:44.414" v="26" actId="20577"/>
          <ac:graphicFrameMkLst>
            <pc:docMk/>
            <pc:sldMk cId="1039189330" sldId="8774"/>
            <ac:graphicFrameMk id="4" creationId="{2AAAC88F-F4B4-4FE3-956E-C3F806D71324}"/>
          </ac:graphicFrameMkLst>
        </pc:graphicFrameChg>
      </pc:sldChg>
      <pc:sldChg chg="modSp">
        <pc:chgData name="Jivrajani, Dharini" userId="9f28c9a6-e07b-4de5-8682-ac3f5c875595" providerId="ADAL" clId="{AA0012B1-29D9-44BE-BA30-5DF235B3B89A}" dt="2020-06-27T02:12:55.355" v="407" actId="20577"/>
        <pc:sldMkLst>
          <pc:docMk/>
          <pc:sldMk cId="2407685793" sldId="8775"/>
        </pc:sldMkLst>
        <pc:graphicFrameChg chg="mod modGraphic">
          <ac:chgData name="Jivrajani, Dharini" userId="9f28c9a6-e07b-4de5-8682-ac3f5c875595" providerId="ADAL" clId="{AA0012B1-29D9-44BE-BA30-5DF235B3B89A}" dt="2020-06-27T02:12:55.355" v="407" actId="20577"/>
          <ac:graphicFrameMkLst>
            <pc:docMk/>
            <pc:sldMk cId="2407685793" sldId="8775"/>
            <ac:graphicFrameMk id="4" creationId="{2AAAC88F-F4B4-4FE3-956E-C3F806D71324}"/>
          </ac:graphicFrameMkLst>
        </pc:graphicFrameChg>
      </pc:sldChg>
      <pc:sldChg chg="delSp modSp">
        <pc:chgData name="Jivrajani, Dharini" userId="9f28c9a6-e07b-4de5-8682-ac3f5c875595" providerId="ADAL" clId="{AA0012B1-29D9-44BE-BA30-5DF235B3B89A}" dt="2020-07-13T16:54:41.717" v="703" actId="478"/>
        <pc:sldMkLst>
          <pc:docMk/>
          <pc:sldMk cId="2506138062" sldId="8782"/>
        </pc:sldMkLst>
        <pc:spChg chg="mod">
          <ac:chgData name="Jivrajani, Dharini" userId="9f28c9a6-e07b-4de5-8682-ac3f5c875595" providerId="ADAL" clId="{AA0012B1-29D9-44BE-BA30-5DF235B3B89A}" dt="2020-06-26T15:37:42.492" v="152" actId="20577"/>
          <ac:spMkLst>
            <pc:docMk/>
            <pc:sldMk cId="2506138062" sldId="8782"/>
            <ac:spMk id="4" creationId="{3FAEEAA9-008B-43F6-BAE2-39F36A6706FE}"/>
          </ac:spMkLst>
        </pc:spChg>
        <pc:spChg chg="del mod">
          <ac:chgData name="Jivrajani, Dharini" userId="9f28c9a6-e07b-4de5-8682-ac3f5c875595" providerId="ADAL" clId="{AA0012B1-29D9-44BE-BA30-5DF235B3B89A}" dt="2020-07-13T16:54:41.717" v="703" actId="478"/>
          <ac:spMkLst>
            <pc:docMk/>
            <pc:sldMk cId="2506138062" sldId="8782"/>
            <ac:spMk id="13" creationId="{EC15AD4C-7B16-4C94-A23C-990322A34DE7}"/>
          </ac:spMkLst>
        </pc:spChg>
      </pc:sldChg>
      <pc:sldChg chg="delSp">
        <pc:chgData name="Jivrajani, Dharini" userId="9f28c9a6-e07b-4de5-8682-ac3f5c875595" providerId="ADAL" clId="{AA0012B1-29D9-44BE-BA30-5DF235B3B89A}" dt="2020-07-13T16:54:46.790" v="704" actId="478"/>
        <pc:sldMkLst>
          <pc:docMk/>
          <pc:sldMk cId="1709308679" sldId="8783"/>
        </pc:sldMkLst>
        <pc:spChg chg="del">
          <ac:chgData name="Jivrajani, Dharini" userId="9f28c9a6-e07b-4de5-8682-ac3f5c875595" providerId="ADAL" clId="{AA0012B1-29D9-44BE-BA30-5DF235B3B89A}" dt="2020-07-13T16:54:46.790" v="704" actId="478"/>
          <ac:spMkLst>
            <pc:docMk/>
            <pc:sldMk cId="1709308679" sldId="8783"/>
            <ac:spMk id="15" creationId="{DE070B25-0FEA-450C-9D45-5FE66B03F3D6}"/>
          </ac:spMkLst>
        </pc:spChg>
      </pc:sldChg>
      <pc:sldChg chg="delSp modSp">
        <pc:chgData name="Jivrajani, Dharini" userId="9f28c9a6-e07b-4de5-8682-ac3f5c875595" providerId="ADAL" clId="{AA0012B1-29D9-44BE-BA30-5DF235B3B89A}" dt="2020-07-13T16:55:23.137" v="706" actId="478"/>
        <pc:sldMkLst>
          <pc:docMk/>
          <pc:sldMk cId="4107362912" sldId="8785"/>
        </pc:sldMkLst>
        <pc:spChg chg="del mod">
          <ac:chgData name="Jivrajani, Dharini" userId="9f28c9a6-e07b-4de5-8682-ac3f5c875595" providerId="ADAL" clId="{AA0012B1-29D9-44BE-BA30-5DF235B3B89A}" dt="2020-07-13T16:55:23.137" v="706" actId="478"/>
          <ac:spMkLst>
            <pc:docMk/>
            <pc:sldMk cId="4107362912" sldId="8785"/>
            <ac:spMk id="10" creationId="{22FDEEDA-5C70-48F8-88D5-0615E4EE0CCC}"/>
          </ac:spMkLst>
        </pc:spChg>
      </pc:sldChg>
      <pc:sldChg chg="modSp">
        <pc:chgData name="Jivrajani, Dharini" userId="9f28c9a6-e07b-4de5-8682-ac3f5c875595" providerId="ADAL" clId="{AA0012B1-29D9-44BE-BA30-5DF235B3B89A}" dt="2020-07-13T16:37:53.649" v="631" actId="20577"/>
        <pc:sldMkLst>
          <pc:docMk/>
          <pc:sldMk cId="3491360341" sldId="8786"/>
        </pc:sldMkLst>
        <pc:graphicFrameChg chg="modGraphic">
          <ac:chgData name="Jivrajani, Dharini" userId="9f28c9a6-e07b-4de5-8682-ac3f5c875595" providerId="ADAL" clId="{AA0012B1-29D9-44BE-BA30-5DF235B3B89A}" dt="2020-07-13T16:37:53.649" v="631" actId="20577"/>
          <ac:graphicFrameMkLst>
            <pc:docMk/>
            <pc:sldMk cId="3491360341" sldId="8786"/>
            <ac:graphicFrameMk id="4" creationId="{FE664A44-2B52-48E1-842B-86373307A2AD}"/>
          </ac:graphicFrameMkLst>
        </pc:graphicFrameChg>
      </pc:sldChg>
      <pc:sldChg chg="delSp">
        <pc:chgData name="Jivrajani, Dharini" userId="9f28c9a6-e07b-4de5-8682-ac3f5c875595" providerId="ADAL" clId="{AA0012B1-29D9-44BE-BA30-5DF235B3B89A}" dt="2020-07-13T16:48:01.202" v="700" actId="478"/>
        <pc:sldMkLst>
          <pc:docMk/>
          <pc:sldMk cId="847777020" sldId="8791"/>
        </pc:sldMkLst>
        <pc:spChg chg="del">
          <ac:chgData name="Jivrajani, Dharini" userId="9f28c9a6-e07b-4de5-8682-ac3f5c875595" providerId="ADAL" clId="{AA0012B1-29D9-44BE-BA30-5DF235B3B89A}" dt="2020-07-13T16:48:01.202" v="700" actId="478"/>
          <ac:spMkLst>
            <pc:docMk/>
            <pc:sldMk cId="847777020" sldId="8791"/>
            <ac:spMk id="3" creationId="{AF17C8CB-B960-4DEA-9486-430E62005883}"/>
          </ac:spMkLst>
        </pc:spChg>
      </pc:sldChg>
      <pc:sldChg chg="modSp">
        <pc:chgData name="Jivrajani, Dharini" userId="9f28c9a6-e07b-4de5-8682-ac3f5c875595" providerId="ADAL" clId="{AA0012B1-29D9-44BE-BA30-5DF235B3B89A}" dt="2020-06-27T02:17:57.302" v="625" actId="20577"/>
        <pc:sldMkLst>
          <pc:docMk/>
          <pc:sldMk cId="1362471382" sldId="8794"/>
        </pc:sldMkLst>
        <pc:spChg chg="mod">
          <ac:chgData name="Jivrajani, Dharini" userId="9f28c9a6-e07b-4de5-8682-ac3f5c875595" providerId="ADAL" clId="{AA0012B1-29D9-44BE-BA30-5DF235B3B89A}" dt="2020-06-27T02:17:57.302" v="625" actId="20577"/>
          <ac:spMkLst>
            <pc:docMk/>
            <pc:sldMk cId="1362471382" sldId="8794"/>
            <ac:spMk id="3" creationId="{79CFB8E1-D662-4233-ACD8-579A7B5BC495}"/>
          </ac:spMkLst>
        </pc:spChg>
      </pc:sldChg>
      <pc:sldChg chg="delSp">
        <pc:chgData name="Jivrajani, Dharini" userId="9f28c9a6-e07b-4de5-8682-ac3f5c875595" providerId="ADAL" clId="{AA0012B1-29D9-44BE-BA30-5DF235B3B89A}" dt="2020-07-13T16:55:28.776" v="707" actId="478"/>
        <pc:sldMkLst>
          <pc:docMk/>
          <pc:sldMk cId="2399400722" sldId="8809"/>
        </pc:sldMkLst>
        <pc:spChg chg="del">
          <ac:chgData name="Jivrajani, Dharini" userId="9f28c9a6-e07b-4de5-8682-ac3f5c875595" providerId="ADAL" clId="{AA0012B1-29D9-44BE-BA30-5DF235B3B89A}" dt="2020-07-13T16:55:28.776" v="707" actId="478"/>
          <ac:spMkLst>
            <pc:docMk/>
            <pc:sldMk cId="2399400722" sldId="8809"/>
            <ac:spMk id="10" creationId="{8CAB0D1E-85D5-451C-8C5C-C2A069564B50}"/>
          </ac:spMkLst>
        </pc:spChg>
      </pc:sldChg>
      <pc:sldChg chg="modSp">
        <pc:chgData name="Jivrajani, Dharini" userId="9f28c9a6-e07b-4de5-8682-ac3f5c875595" providerId="ADAL" clId="{AA0012B1-29D9-44BE-BA30-5DF235B3B89A}" dt="2020-06-26T15:25:19.856" v="32" actId="20577"/>
        <pc:sldMkLst>
          <pc:docMk/>
          <pc:sldMk cId="1954271784" sldId="8811"/>
        </pc:sldMkLst>
        <pc:spChg chg="mod">
          <ac:chgData name="Jivrajani, Dharini" userId="9f28c9a6-e07b-4de5-8682-ac3f5c875595" providerId="ADAL" clId="{AA0012B1-29D9-44BE-BA30-5DF235B3B89A}" dt="2020-06-26T15:25:19.856" v="32" actId="20577"/>
          <ac:spMkLst>
            <pc:docMk/>
            <pc:sldMk cId="1954271784" sldId="8811"/>
            <ac:spMk id="4" creationId="{58C9766A-F6D4-426B-B772-1B9A9FCA872B}"/>
          </ac:spMkLst>
        </pc:spChg>
      </pc:sldChg>
      <pc:sldChg chg="modSp">
        <pc:chgData name="Jivrajani, Dharini" userId="9f28c9a6-e07b-4de5-8682-ac3f5c875595" providerId="ADAL" clId="{AA0012B1-29D9-44BE-BA30-5DF235B3B89A}" dt="2020-06-26T15:32:05.264" v="130" actId="20577"/>
        <pc:sldMkLst>
          <pc:docMk/>
          <pc:sldMk cId="4099786269" sldId="8812"/>
        </pc:sldMkLst>
        <pc:spChg chg="mod">
          <ac:chgData name="Jivrajani, Dharini" userId="9f28c9a6-e07b-4de5-8682-ac3f5c875595" providerId="ADAL" clId="{AA0012B1-29D9-44BE-BA30-5DF235B3B89A}" dt="2020-06-26T15:32:05.264" v="130" actId="20577"/>
          <ac:spMkLst>
            <pc:docMk/>
            <pc:sldMk cId="4099786269" sldId="8812"/>
            <ac:spMk id="2" creationId="{3E132A87-B07E-4654-A6D5-582DD48B752A}"/>
          </ac:spMkLst>
        </pc:spChg>
      </pc:sldChg>
      <pc:sldChg chg="modSp">
        <pc:chgData name="Jivrajani, Dharini" userId="9f28c9a6-e07b-4de5-8682-ac3f5c875595" providerId="ADAL" clId="{AA0012B1-29D9-44BE-BA30-5DF235B3B89A}" dt="2020-07-13T16:41:10.735" v="643" actId="20577"/>
        <pc:sldMkLst>
          <pc:docMk/>
          <pc:sldMk cId="2697511235" sldId="8817"/>
        </pc:sldMkLst>
        <pc:spChg chg="mod">
          <ac:chgData name="Jivrajani, Dharini" userId="9f28c9a6-e07b-4de5-8682-ac3f5c875595" providerId="ADAL" clId="{AA0012B1-29D9-44BE-BA30-5DF235B3B89A}" dt="2020-07-13T16:41:10.735" v="643" actId="20577"/>
          <ac:spMkLst>
            <pc:docMk/>
            <pc:sldMk cId="2697511235" sldId="8817"/>
            <ac:spMk id="4" creationId="{00000000-0000-0000-0000-000000000000}"/>
          </ac:spMkLst>
        </pc:spChg>
      </pc:sldChg>
      <pc:sldChg chg="delSp modSp">
        <pc:chgData name="Jivrajani, Dharini" userId="9f28c9a6-e07b-4de5-8682-ac3f5c875595" providerId="ADAL" clId="{AA0012B1-29D9-44BE-BA30-5DF235B3B89A}" dt="2020-07-13T16:46:13.709" v="699" actId="20577"/>
        <pc:sldMkLst>
          <pc:docMk/>
          <pc:sldMk cId="3260017691" sldId="8819"/>
        </pc:sldMkLst>
        <pc:spChg chg="del">
          <ac:chgData name="Jivrajani, Dharini" userId="9f28c9a6-e07b-4de5-8682-ac3f5c875595" providerId="ADAL" clId="{AA0012B1-29D9-44BE-BA30-5DF235B3B89A}" dt="2020-07-13T16:46:11.136" v="697" actId="478"/>
          <ac:spMkLst>
            <pc:docMk/>
            <pc:sldMk cId="3260017691" sldId="8819"/>
            <ac:spMk id="2" creationId="{D94D685E-FC6B-4CA8-975C-D2759C413B1A}"/>
          </ac:spMkLst>
        </pc:spChg>
        <pc:spChg chg="mod">
          <ac:chgData name="Jivrajani, Dharini" userId="9f28c9a6-e07b-4de5-8682-ac3f5c875595" providerId="ADAL" clId="{AA0012B1-29D9-44BE-BA30-5DF235B3B89A}" dt="2020-07-13T16:46:13.709" v="699" actId="20577"/>
          <ac:spMkLst>
            <pc:docMk/>
            <pc:sldMk cId="3260017691" sldId="8819"/>
            <ac:spMk id="4" creationId="{00000000-0000-0000-0000-000000000000}"/>
          </ac:spMkLst>
        </pc:spChg>
      </pc:sldChg>
      <pc:sldChg chg="ord">
        <pc:chgData name="Jivrajani, Dharini" userId="9f28c9a6-e07b-4de5-8682-ac3f5c875595" providerId="ADAL" clId="{AA0012B1-29D9-44BE-BA30-5DF235B3B89A}" dt="2020-07-13T16:56:43.224" v="720"/>
        <pc:sldMkLst>
          <pc:docMk/>
          <pc:sldMk cId="4292778138" sldId="8826"/>
        </pc:sldMkLst>
      </pc:sldChg>
      <pc:sldChg chg="del">
        <pc:chgData name="Jivrajani, Dharini" userId="9f28c9a6-e07b-4de5-8682-ac3f5c875595" providerId="ADAL" clId="{AA0012B1-29D9-44BE-BA30-5DF235B3B89A}" dt="2020-06-26T15:28:10.143" v="35" actId="2696"/>
        <pc:sldMkLst>
          <pc:docMk/>
          <pc:sldMk cId="201486598" sldId="8828"/>
        </pc:sldMkLst>
      </pc:sldChg>
      <pc:sldChg chg="delSp modSp">
        <pc:chgData name="Jivrajani, Dharini" userId="9f28c9a6-e07b-4de5-8682-ac3f5c875595" providerId="ADAL" clId="{AA0012B1-29D9-44BE-BA30-5DF235B3B89A}" dt="2020-07-13T16:55:38.712" v="709" actId="478"/>
        <pc:sldMkLst>
          <pc:docMk/>
          <pc:sldMk cId="3924100793" sldId="8832"/>
        </pc:sldMkLst>
        <pc:spChg chg="del mod">
          <ac:chgData name="Jivrajani, Dharini" userId="9f28c9a6-e07b-4de5-8682-ac3f5c875595" providerId="ADAL" clId="{AA0012B1-29D9-44BE-BA30-5DF235B3B89A}" dt="2020-07-13T16:55:38.712" v="709" actId="478"/>
          <ac:spMkLst>
            <pc:docMk/>
            <pc:sldMk cId="3924100793" sldId="8832"/>
            <ac:spMk id="10" creationId="{F0B3487E-57EA-4798-B0AB-ED87251492E1}"/>
          </ac:spMkLst>
        </pc:spChg>
        <pc:spChg chg="mod">
          <ac:chgData name="Jivrajani, Dharini" userId="9f28c9a6-e07b-4de5-8682-ac3f5c875595" providerId="ADAL" clId="{AA0012B1-29D9-44BE-BA30-5DF235B3B89A}" dt="2020-06-26T15:40:59.214" v="236" actId="20577"/>
          <ac:spMkLst>
            <pc:docMk/>
            <pc:sldMk cId="3924100793" sldId="8832"/>
            <ac:spMk id="15" creationId="{3A2580C5-CA76-46C2-9A0D-5F85045F5460}"/>
          </ac:spMkLst>
        </pc:spChg>
        <pc:spChg chg="mod">
          <ac:chgData name="Jivrajani, Dharini" userId="9f28c9a6-e07b-4de5-8682-ac3f5c875595" providerId="ADAL" clId="{AA0012B1-29D9-44BE-BA30-5DF235B3B89A}" dt="2020-06-26T15:40:30.203" v="212" actId="20577"/>
          <ac:spMkLst>
            <pc:docMk/>
            <pc:sldMk cId="3924100793" sldId="8832"/>
            <ac:spMk id="16" creationId="{710120A0-9CD3-4973-9051-F6B314FD17A7}"/>
          </ac:spMkLst>
        </pc:spChg>
      </pc:sldChg>
      <pc:sldChg chg="modSp add">
        <pc:chgData name="Jivrajani, Dharini" userId="9f28c9a6-e07b-4de5-8682-ac3f5c875595" providerId="ADAL" clId="{AA0012B1-29D9-44BE-BA30-5DF235B3B89A}" dt="2020-07-13T16:50:44.848" v="701" actId="1076"/>
        <pc:sldMkLst>
          <pc:docMk/>
          <pc:sldMk cId="2725184318" sldId="8836"/>
        </pc:sldMkLst>
        <pc:spChg chg="mod">
          <ac:chgData name="Jivrajani, Dharini" userId="9f28c9a6-e07b-4de5-8682-ac3f5c875595" providerId="ADAL" clId="{AA0012B1-29D9-44BE-BA30-5DF235B3B89A}" dt="2020-06-26T15:31:54.419" v="114" actId="14100"/>
          <ac:spMkLst>
            <pc:docMk/>
            <pc:sldMk cId="2725184318" sldId="8836"/>
            <ac:spMk id="2" creationId="{40C9AD2C-9B77-4786-B241-5692E59969CA}"/>
          </ac:spMkLst>
        </pc:spChg>
        <pc:spChg chg="mod">
          <ac:chgData name="Jivrajani, Dharini" userId="9f28c9a6-e07b-4de5-8682-ac3f5c875595" providerId="ADAL" clId="{AA0012B1-29D9-44BE-BA30-5DF235B3B89A}" dt="2020-07-13T16:50:44.848" v="701" actId="1076"/>
          <ac:spMkLst>
            <pc:docMk/>
            <pc:sldMk cId="2725184318" sldId="8836"/>
            <ac:spMk id="7" creationId="{9EAC36A3-F3AD-453B-9CB3-4C7A2D9B7C3B}"/>
          </ac:spMkLst>
        </pc:spChg>
      </pc:sldChg>
      <pc:sldChg chg="add del">
        <pc:chgData name="Jivrajani, Dharini" userId="9f28c9a6-e07b-4de5-8682-ac3f5c875595" providerId="ADAL" clId="{AA0012B1-29D9-44BE-BA30-5DF235B3B89A}" dt="2020-06-26T15:27:18.211" v="34" actId="2696"/>
        <pc:sldMkLst>
          <pc:docMk/>
          <pc:sldMk cId="3627910110" sldId="8836"/>
        </pc:sldMkLst>
      </pc:sldChg>
      <pc:sldChg chg="delSp modSp">
        <pc:chgData name="Jivrajani, Dharini" userId="9f28c9a6-e07b-4de5-8682-ac3f5c875595" providerId="ADAL" clId="{AA0012B1-29D9-44BE-BA30-5DF235B3B89A}" dt="2020-07-13T16:39:45.688" v="633" actId="478"/>
        <pc:sldMkLst>
          <pc:docMk/>
          <pc:sldMk cId="1085851461" sldId="8963"/>
        </pc:sldMkLst>
        <pc:picChg chg="del mod">
          <ac:chgData name="Jivrajani, Dharini" userId="9f28c9a6-e07b-4de5-8682-ac3f5c875595" providerId="ADAL" clId="{AA0012B1-29D9-44BE-BA30-5DF235B3B89A}" dt="2020-07-13T16:39:45.688" v="633" actId="478"/>
          <ac:picMkLst>
            <pc:docMk/>
            <pc:sldMk cId="1085851461" sldId="8963"/>
            <ac:picMk id="112" creationId="{C9657114-F3B0-4939-94BF-4AFDB8C81126}"/>
          </ac:picMkLst>
        </pc:picChg>
      </pc:sldChg>
      <pc:sldChg chg="modSp">
        <pc:chgData name="Jivrajani, Dharini" userId="9f28c9a6-e07b-4de5-8682-ac3f5c875595" providerId="ADAL" clId="{AA0012B1-29D9-44BE-BA30-5DF235B3B89A}" dt="2020-07-13T16:40:58.513" v="642" actId="20577"/>
        <pc:sldMkLst>
          <pc:docMk/>
          <pc:sldMk cId="34444915" sldId="8985"/>
        </pc:sldMkLst>
        <pc:spChg chg="mod">
          <ac:chgData name="Jivrajani, Dharini" userId="9f28c9a6-e07b-4de5-8682-ac3f5c875595" providerId="ADAL" clId="{AA0012B1-29D9-44BE-BA30-5DF235B3B89A}" dt="2020-07-13T16:40:58.513" v="642" actId="20577"/>
          <ac:spMkLst>
            <pc:docMk/>
            <pc:sldMk cId="34444915" sldId="8985"/>
            <ac:spMk id="4" creationId="{00000000-0000-0000-0000-000000000000}"/>
          </ac:spMkLst>
        </pc:spChg>
      </pc:sldChg>
      <pc:sldChg chg="modSp add ord">
        <pc:chgData name="Jivrajani, Dharini" userId="9f28c9a6-e07b-4de5-8682-ac3f5c875595" providerId="ADAL" clId="{AA0012B1-29D9-44BE-BA30-5DF235B3B89A}" dt="2020-07-13T16:56:07.718" v="719" actId="20577"/>
        <pc:sldMkLst>
          <pc:docMk/>
          <pc:sldMk cId="2685096169" sldId="8986"/>
        </pc:sldMkLst>
        <pc:spChg chg="mod">
          <ac:chgData name="Jivrajani, Dharini" userId="9f28c9a6-e07b-4de5-8682-ac3f5c875595" providerId="ADAL" clId="{AA0012B1-29D9-44BE-BA30-5DF235B3B89A}" dt="2020-07-13T16:56:07.718" v="719" actId="20577"/>
          <ac:spMkLst>
            <pc:docMk/>
            <pc:sldMk cId="2685096169" sldId="8986"/>
            <ac:spMk id="4" creationId="{7A9DFF01-0B03-48E4-B42D-F011C5ECF119}"/>
          </ac:spMkLst>
        </pc:spChg>
      </pc:sldChg>
    </pc:docChg>
  </pc:docChgLst>
  <pc:docChgLst>
    <pc:chgData name="Tomy, Elizabeth Mary" userId="589edf38-b99d-4538-8577-22e1fc5296bc" providerId="ADAL" clId="{2448A8F9-C178-4BED-B73E-97AF5571CF8C}"/>
    <pc:docChg chg="undo custSel modSld">
      <pc:chgData name="Tomy, Elizabeth Mary" userId="589edf38-b99d-4538-8577-22e1fc5296bc" providerId="ADAL" clId="{2448A8F9-C178-4BED-B73E-97AF5571CF8C}" dt="2020-11-11T13:21:05.444" v="282" actId="1076"/>
      <pc:docMkLst>
        <pc:docMk/>
      </pc:docMkLst>
      <pc:sldChg chg="addSp delSp modSp">
        <pc:chgData name="Tomy, Elizabeth Mary" userId="589edf38-b99d-4538-8577-22e1fc5296bc" providerId="ADAL" clId="{2448A8F9-C178-4BED-B73E-97AF5571CF8C}" dt="2020-11-11T13:21:05.444" v="282" actId="1076"/>
        <pc:sldMkLst>
          <pc:docMk/>
          <pc:sldMk cId="636999727" sldId="256"/>
        </pc:sldMkLst>
        <pc:spChg chg="del mod">
          <ac:chgData name="Tomy, Elizabeth Mary" userId="589edf38-b99d-4538-8577-22e1fc5296bc" providerId="ADAL" clId="{2448A8F9-C178-4BED-B73E-97AF5571CF8C}" dt="2020-11-11T09:18:27.491" v="159" actId="478"/>
          <ac:spMkLst>
            <pc:docMk/>
            <pc:sldMk cId="636999727" sldId="256"/>
            <ac:spMk id="6" creationId="{A2007924-E21D-494C-A0F0-BAA80744A144}"/>
          </ac:spMkLst>
        </pc:spChg>
        <pc:spChg chg="add">
          <ac:chgData name="Tomy, Elizabeth Mary" userId="589edf38-b99d-4538-8577-22e1fc5296bc" providerId="ADAL" clId="{2448A8F9-C178-4BED-B73E-97AF5571CF8C}" dt="2020-11-11T13:20:51.896" v="279"/>
          <ac:spMkLst>
            <pc:docMk/>
            <pc:sldMk cId="636999727" sldId="256"/>
            <ac:spMk id="8" creationId="{4A1CC3F3-B8AA-4BD4-AFED-1CDFBF935664}"/>
          </ac:spMkLst>
        </pc:spChg>
        <pc:picChg chg="mod">
          <ac:chgData name="Tomy, Elizabeth Mary" userId="589edf38-b99d-4538-8577-22e1fc5296bc" providerId="ADAL" clId="{2448A8F9-C178-4BED-B73E-97AF5571CF8C}" dt="2020-11-11T13:21:00.141" v="281" actId="1076"/>
          <ac:picMkLst>
            <pc:docMk/>
            <pc:sldMk cId="636999727" sldId="256"/>
            <ac:picMk id="4" creationId="{B3C49C56-DBBD-4F92-AB32-0BF6891565C7}"/>
          </ac:picMkLst>
        </pc:picChg>
        <pc:picChg chg="add mod">
          <ac:chgData name="Tomy, Elizabeth Mary" userId="589edf38-b99d-4538-8577-22e1fc5296bc" providerId="ADAL" clId="{2448A8F9-C178-4BED-B73E-97AF5571CF8C}" dt="2020-11-11T13:21:05.444" v="282" actId="1076"/>
          <ac:picMkLst>
            <pc:docMk/>
            <pc:sldMk cId="636999727" sldId="256"/>
            <ac:picMk id="7" creationId="{51A7DA61-C621-4750-808F-AA81F1A36ED3}"/>
          </ac:picMkLst>
        </pc:picChg>
      </pc:sldChg>
      <pc:sldChg chg="delSp modSp">
        <pc:chgData name="Tomy, Elizabeth Mary" userId="589edf38-b99d-4538-8577-22e1fc5296bc" providerId="ADAL" clId="{2448A8F9-C178-4BED-B73E-97AF5571CF8C}" dt="2020-11-11T12:14:35.490" v="272" actId="478"/>
        <pc:sldMkLst>
          <pc:docMk/>
          <pc:sldMk cId="2138715199" sldId="8833"/>
        </pc:sldMkLst>
        <pc:spChg chg="del">
          <ac:chgData name="Tomy, Elizabeth Mary" userId="589edf38-b99d-4538-8577-22e1fc5296bc" providerId="ADAL" clId="{2448A8F9-C178-4BED-B73E-97AF5571CF8C}" dt="2020-11-11T12:14:35.490" v="272" actId="478"/>
          <ac:spMkLst>
            <pc:docMk/>
            <pc:sldMk cId="2138715199" sldId="8833"/>
            <ac:spMk id="5" creationId="{04E3B074-3CBA-41FE-9B88-0578E5E688CC}"/>
          </ac:spMkLst>
        </pc:spChg>
        <pc:graphicFrameChg chg="mod modGraphic">
          <ac:chgData name="Tomy, Elizabeth Mary" userId="589edf38-b99d-4538-8577-22e1fc5296bc" providerId="ADAL" clId="{2448A8F9-C178-4BED-B73E-97AF5571CF8C}" dt="2020-11-11T09:29:52.898" v="271"/>
          <ac:graphicFrameMkLst>
            <pc:docMk/>
            <pc:sldMk cId="2138715199" sldId="8833"/>
            <ac:graphicFrameMk id="2" creationId="{DBFB0C01-4024-4DDF-BB08-6AA678F60360}"/>
          </ac:graphicFrameMkLst>
        </pc:graphicFrameChg>
      </pc:sldChg>
      <pc:sldChg chg="addSp delSp modSp">
        <pc:chgData name="Tomy, Elizabeth Mary" userId="589edf38-b99d-4538-8577-22e1fc5296bc" providerId="ADAL" clId="{2448A8F9-C178-4BED-B73E-97AF5571CF8C}" dt="2020-11-11T13:20:45.293" v="278" actId="1076"/>
        <pc:sldMkLst>
          <pc:docMk/>
          <pc:sldMk cId="2725184318" sldId="8836"/>
        </pc:sldMkLst>
        <pc:spChg chg="add del mod">
          <ac:chgData name="Tomy, Elizabeth Mary" userId="589edf38-b99d-4538-8577-22e1fc5296bc" providerId="ADAL" clId="{2448A8F9-C178-4BED-B73E-97AF5571CF8C}" dt="2020-11-11T13:20:45.293" v="278" actId="1076"/>
          <ac:spMkLst>
            <pc:docMk/>
            <pc:sldMk cId="2725184318" sldId="8836"/>
            <ac:spMk id="4" creationId="{C676C181-32FC-49A3-B41E-9812E455596B}"/>
          </ac:spMkLst>
        </pc:spChg>
        <pc:spChg chg="mod">
          <ac:chgData name="Tomy, Elizabeth Mary" userId="589edf38-b99d-4538-8577-22e1fc5296bc" providerId="ADAL" clId="{2448A8F9-C178-4BED-B73E-97AF5571CF8C}" dt="2020-11-11T09:16:21.905" v="149" actId="20577"/>
          <ac:spMkLst>
            <pc:docMk/>
            <pc:sldMk cId="2725184318" sldId="8836"/>
            <ac:spMk id="13" creationId="{00000000-0000-0000-0000-000000000000}"/>
          </ac:spMkLst>
        </pc:spChg>
      </pc:sldChg>
    </pc:docChg>
  </pc:docChgLst>
  <pc:docChgLst>
    <pc:chgData name="Bharade, Priyanka" userId="S::pbharade@deloitte.com::8427f5fe-fa70-4b3a-bb14-60c8eb5c3a5c" providerId="AD" clId="Web-{073A57F7-C283-4A56-B2C2-A587D4C0A324}"/>
    <pc:docChg chg="modSld">
      <pc:chgData name="Bharade, Priyanka" userId="S::pbharade@deloitte.com::8427f5fe-fa70-4b3a-bb14-60c8eb5c3a5c" providerId="AD" clId="Web-{073A57F7-C283-4A56-B2C2-A587D4C0A324}" dt="2021-03-15T10:49:03.083" v="273"/>
      <pc:docMkLst>
        <pc:docMk/>
      </pc:docMkLst>
      <pc:sldChg chg="modSp">
        <pc:chgData name="Bharade, Priyanka" userId="S::pbharade@deloitte.com::8427f5fe-fa70-4b3a-bb14-60c8eb5c3a5c" providerId="AD" clId="Web-{073A57F7-C283-4A56-B2C2-A587D4C0A324}" dt="2021-03-15T10:37:28.434" v="106"/>
        <pc:sldMkLst>
          <pc:docMk/>
          <pc:sldMk cId="3491360341" sldId="8786"/>
        </pc:sldMkLst>
        <pc:graphicFrameChg chg="mod modGraphic">
          <ac:chgData name="Bharade, Priyanka" userId="S::pbharade@deloitte.com::8427f5fe-fa70-4b3a-bb14-60c8eb5c3a5c" providerId="AD" clId="Web-{073A57F7-C283-4A56-B2C2-A587D4C0A324}" dt="2021-03-15T10:37:28.434" v="106"/>
          <ac:graphicFrameMkLst>
            <pc:docMk/>
            <pc:sldMk cId="3491360341" sldId="8786"/>
            <ac:graphicFrameMk id="4" creationId="{FE664A44-2B52-48E1-842B-86373307A2AD}"/>
          </ac:graphicFrameMkLst>
        </pc:graphicFrameChg>
      </pc:sldChg>
      <pc:sldChg chg="modSp">
        <pc:chgData name="Bharade, Priyanka" userId="S::pbharade@deloitte.com::8427f5fe-fa70-4b3a-bb14-60c8eb5c3a5c" providerId="AD" clId="Web-{073A57F7-C283-4A56-B2C2-A587D4C0A324}" dt="2021-03-15T10:49:03.083" v="273"/>
        <pc:sldMkLst>
          <pc:docMk/>
          <pc:sldMk cId="847777020" sldId="8791"/>
        </pc:sldMkLst>
        <pc:graphicFrameChg chg="mod modGraphic">
          <ac:chgData name="Bharade, Priyanka" userId="S::pbharade@deloitte.com::8427f5fe-fa70-4b3a-bb14-60c8eb5c3a5c" providerId="AD" clId="Web-{073A57F7-C283-4A56-B2C2-A587D4C0A324}" dt="2021-03-15T10:49:03.083" v="273"/>
          <ac:graphicFrameMkLst>
            <pc:docMk/>
            <pc:sldMk cId="847777020" sldId="8791"/>
            <ac:graphicFrameMk id="2" creationId="{047A132D-3FAE-48C5-BD5F-C01213AAD2F4}"/>
          </ac:graphicFrameMkLst>
        </pc:graphicFrameChg>
      </pc:sldChg>
    </pc:docChg>
  </pc:docChgLst>
  <pc:docChgLst>
    <pc:chgData name="Ghosh, Anindya" userId="S::anighosh@deloitte.com::1c8636f3-f28e-411c-9bbf-d78a395a60f5" providerId="AD" clId="Web-{D5678BAF-4E28-4439-BF98-C9EC038E2625}"/>
    <pc:docChg chg="modSld">
      <pc:chgData name="Ghosh, Anindya" userId="S::anighosh@deloitte.com::1c8636f3-f28e-411c-9bbf-d78a395a60f5" providerId="AD" clId="Web-{D5678BAF-4E28-4439-BF98-C9EC038E2625}" dt="2021-07-10T12:20:45.696" v="20" actId="20577"/>
      <pc:docMkLst>
        <pc:docMk/>
      </pc:docMkLst>
      <pc:sldChg chg="modSp">
        <pc:chgData name="Ghosh, Anindya" userId="S::anighosh@deloitte.com::1c8636f3-f28e-411c-9bbf-d78a395a60f5" providerId="AD" clId="Web-{D5678BAF-4E28-4439-BF98-C9EC038E2625}" dt="2021-07-10T12:20:45.696" v="20" actId="20577"/>
        <pc:sldMkLst>
          <pc:docMk/>
          <pc:sldMk cId="4169581344" sldId="8798"/>
        </pc:sldMkLst>
        <pc:spChg chg="mod">
          <ac:chgData name="Ghosh, Anindya" userId="S::anighosh@deloitte.com::1c8636f3-f28e-411c-9bbf-d78a395a60f5" providerId="AD" clId="Web-{D5678BAF-4E28-4439-BF98-C9EC038E2625}" dt="2021-07-10T12:20:45.696" v="20" actId="20577"/>
          <ac:spMkLst>
            <pc:docMk/>
            <pc:sldMk cId="4169581344" sldId="8798"/>
            <ac:spMk id="3" creationId="{BCEB1B60-2A70-48F8-B225-997AF7F15017}"/>
          </ac:spMkLst>
        </pc:spChg>
      </pc:sldChg>
    </pc:docChg>
  </pc:docChgLst>
  <pc:docChgLst>
    <pc:chgData name="Jivrajani, Dharini" userId="S::djivrajani@deloitte.com::9f28c9a6-e07b-4de5-8682-ac3f5c875595" providerId="AD" clId="Web-{3C6415C9-7F5E-4F37-A91E-80FB1DAA24B3}"/>
    <pc:docChg chg="modSld">
      <pc:chgData name="Jivrajani, Dharini" userId="S::djivrajani@deloitte.com::9f28c9a6-e07b-4de5-8682-ac3f5c875595" providerId="AD" clId="Web-{3C6415C9-7F5E-4F37-A91E-80FB1DAA24B3}" dt="2021-07-07T14:48:58.232" v="416" actId="20577"/>
      <pc:docMkLst>
        <pc:docMk/>
      </pc:docMkLst>
      <pc:sldChg chg="modSp">
        <pc:chgData name="Jivrajani, Dharini" userId="S::djivrajani@deloitte.com::9f28c9a6-e07b-4de5-8682-ac3f5c875595" providerId="AD" clId="Web-{3C6415C9-7F5E-4F37-A91E-80FB1DAA24B3}" dt="2021-07-07T14:48:58.232" v="416" actId="20577"/>
        <pc:sldMkLst>
          <pc:docMk/>
          <pc:sldMk cId="24609206" sldId="2104"/>
        </pc:sldMkLst>
        <pc:spChg chg="mod">
          <ac:chgData name="Jivrajani, Dharini" userId="S::djivrajani@deloitte.com::9f28c9a6-e07b-4de5-8682-ac3f5c875595" providerId="AD" clId="Web-{3C6415C9-7F5E-4F37-A91E-80FB1DAA24B3}" dt="2021-07-07T14:48:58.232" v="416" actId="20577"/>
          <ac:spMkLst>
            <pc:docMk/>
            <pc:sldMk cId="24609206" sldId="2104"/>
            <ac:spMk id="5" creationId="{5B812393-1D4C-44E5-88C8-52EB15B2AC90}"/>
          </ac:spMkLst>
        </pc:spChg>
        <pc:spChg chg="mod">
          <ac:chgData name="Jivrajani, Dharini" userId="S::djivrajani@deloitte.com::9f28c9a6-e07b-4de5-8682-ac3f5c875595" providerId="AD" clId="Web-{3C6415C9-7F5E-4F37-A91E-80FB1DAA24B3}" dt="2021-07-07T14:48:49.935" v="402" actId="20577"/>
          <ac:spMkLst>
            <pc:docMk/>
            <pc:sldMk cId="24609206" sldId="2104"/>
            <ac:spMk id="7" creationId="{476719EC-B1DB-4732-BE02-19423A42D17D}"/>
          </ac:spMkLst>
        </pc:spChg>
      </pc:sldChg>
      <pc:sldChg chg="modSp">
        <pc:chgData name="Jivrajani, Dharini" userId="S::djivrajani@deloitte.com::9f28c9a6-e07b-4de5-8682-ac3f5c875595" providerId="AD" clId="Web-{3C6415C9-7F5E-4F37-A91E-80FB1DAA24B3}" dt="2021-07-07T14:30:21.225" v="33"/>
        <pc:sldMkLst>
          <pc:docMk/>
          <pc:sldMk cId="1039189330" sldId="8774"/>
        </pc:sldMkLst>
        <pc:graphicFrameChg chg="mod modGraphic">
          <ac:chgData name="Jivrajani, Dharini" userId="S::djivrajani@deloitte.com::9f28c9a6-e07b-4de5-8682-ac3f5c875595" providerId="AD" clId="Web-{3C6415C9-7F5E-4F37-A91E-80FB1DAA24B3}" dt="2021-07-07T14:30:21.225" v="33"/>
          <ac:graphicFrameMkLst>
            <pc:docMk/>
            <pc:sldMk cId="1039189330" sldId="8774"/>
            <ac:graphicFrameMk id="4" creationId="{2AAAC88F-F4B4-4FE3-956E-C3F806D71324}"/>
          </ac:graphicFrameMkLst>
        </pc:graphicFrameChg>
      </pc:sldChg>
      <pc:sldChg chg="modSp">
        <pc:chgData name="Jivrajani, Dharini" userId="S::djivrajani@deloitte.com::9f28c9a6-e07b-4de5-8682-ac3f5c875595" providerId="AD" clId="Web-{3C6415C9-7F5E-4F37-A91E-80FB1DAA24B3}" dt="2021-07-07T14:30:45.757" v="41"/>
        <pc:sldMkLst>
          <pc:docMk/>
          <pc:sldMk cId="2407685793" sldId="8775"/>
        </pc:sldMkLst>
        <pc:graphicFrameChg chg="mod modGraphic">
          <ac:chgData name="Jivrajani, Dharini" userId="S::djivrajani@deloitte.com::9f28c9a6-e07b-4de5-8682-ac3f5c875595" providerId="AD" clId="Web-{3C6415C9-7F5E-4F37-A91E-80FB1DAA24B3}" dt="2021-07-07T14:30:45.757" v="41"/>
          <ac:graphicFrameMkLst>
            <pc:docMk/>
            <pc:sldMk cId="2407685793" sldId="8775"/>
            <ac:graphicFrameMk id="4" creationId="{2AAAC88F-F4B4-4FE3-956E-C3F806D71324}"/>
          </ac:graphicFrameMkLst>
        </pc:graphicFrameChg>
      </pc:sldChg>
      <pc:sldChg chg="modSp">
        <pc:chgData name="Jivrajani, Dharini" userId="S::djivrajani@deloitte.com::9f28c9a6-e07b-4de5-8682-ac3f5c875595" providerId="AD" clId="Web-{3C6415C9-7F5E-4F37-A91E-80FB1DAA24B3}" dt="2021-07-07T14:33:38.938" v="52" actId="20577"/>
        <pc:sldMkLst>
          <pc:docMk/>
          <pc:sldMk cId="975902523" sldId="9033"/>
        </pc:sldMkLst>
        <pc:spChg chg="mod">
          <ac:chgData name="Jivrajani, Dharini" userId="S::djivrajani@deloitte.com::9f28c9a6-e07b-4de5-8682-ac3f5c875595" providerId="AD" clId="Web-{3C6415C9-7F5E-4F37-A91E-80FB1DAA24B3}" dt="2021-07-07T14:33:38.938" v="52" actId="20577"/>
          <ac:spMkLst>
            <pc:docMk/>
            <pc:sldMk cId="975902523" sldId="9033"/>
            <ac:spMk id="15" creationId="{2AE3758D-7C33-4FE4-A382-D35FFA709335}"/>
          </ac:spMkLst>
        </pc:spChg>
        <pc:spChg chg="mod">
          <ac:chgData name="Jivrajani, Dharini" userId="S::djivrajani@deloitte.com::9f28c9a6-e07b-4de5-8682-ac3f5c875595" providerId="AD" clId="Web-{3C6415C9-7F5E-4F37-A91E-80FB1DAA24B3}" dt="2021-07-07T14:33:17.999" v="44" actId="20577"/>
          <ac:spMkLst>
            <pc:docMk/>
            <pc:sldMk cId="975902523" sldId="9033"/>
            <ac:spMk id="20" creationId="{6E754AEB-26AB-48BA-AD37-21E8E60DC65B}"/>
          </ac:spMkLst>
        </pc:spChg>
      </pc:sldChg>
      <pc:sldChg chg="modSp">
        <pc:chgData name="Jivrajani, Dharini" userId="S::djivrajani@deloitte.com::9f28c9a6-e07b-4de5-8682-ac3f5c875595" providerId="AD" clId="Web-{3C6415C9-7F5E-4F37-A91E-80FB1DAA24B3}" dt="2021-07-07T14:33:55.595" v="57" actId="20577"/>
        <pc:sldMkLst>
          <pc:docMk/>
          <pc:sldMk cId="1921268355" sldId="9047"/>
        </pc:sldMkLst>
        <pc:spChg chg="mod">
          <ac:chgData name="Jivrajani, Dharini" userId="S::djivrajani@deloitte.com::9f28c9a6-e07b-4de5-8682-ac3f5c875595" providerId="AD" clId="Web-{3C6415C9-7F5E-4F37-A91E-80FB1DAA24B3}" dt="2021-07-07T14:33:55.595" v="57" actId="20577"/>
          <ac:spMkLst>
            <pc:docMk/>
            <pc:sldMk cId="1921268355" sldId="9047"/>
            <ac:spMk id="29" creationId="{E000F57D-05FA-4E5A-8E44-848A42C21BE2}"/>
          </ac:spMkLst>
        </pc:spChg>
      </pc:sldChg>
      <pc:sldChg chg="modSp">
        <pc:chgData name="Jivrajani, Dharini" userId="S::djivrajani@deloitte.com::9f28c9a6-e07b-4de5-8682-ac3f5c875595" providerId="AD" clId="Web-{3C6415C9-7F5E-4F37-A91E-80FB1DAA24B3}" dt="2021-07-07T14:47:55.885" v="397" actId="1076"/>
        <pc:sldMkLst>
          <pc:docMk/>
          <pc:sldMk cId="53167518" sldId="9060"/>
        </pc:sldMkLst>
        <pc:spChg chg="mod">
          <ac:chgData name="Jivrajani, Dharini" userId="S::djivrajani@deloitte.com::9f28c9a6-e07b-4de5-8682-ac3f5c875595" providerId="AD" clId="Web-{3C6415C9-7F5E-4F37-A91E-80FB1DAA24B3}" dt="2021-07-07T14:47:30.071" v="394" actId="1076"/>
          <ac:spMkLst>
            <pc:docMk/>
            <pc:sldMk cId="53167518" sldId="9060"/>
            <ac:spMk id="2" creationId="{88F2756D-BFEC-4C0E-A280-EEE3D75C996A}"/>
          </ac:spMkLst>
        </pc:spChg>
        <pc:spChg chg="mod">
          <ac:chgData name="Jivrajani, Dharini" userId="S::djivrajani@deloitte.com::9f28c9a6-e07b-4de5-8682-ac3f5c875595" providerId="AD" clId="Web-{3C6415C9-7F5E-4F37-A91E-80FB1DAA24B3}" dt="2021-07-07T14:44:51.111" v="356" actId="14100"/>
          <ac:spMkLst>
            <pc:docMk/>
            <pc:sldMk cId="53167518" sldId="9060"/>
            <ac:spMk id="3" creationId="{221918E3-ABCE-4B86-AAE5-097AF77F6E06}"/>
          </ac:spMkLst>
        </pc:spChg>
        <pc:spChg chg="mod">
          <ac:chgData name="Jivrajani, Dharini" userId="S::djivrajani@deloitte.com::9f28c9a6-e07b-4de5-8682-ac3f5c875595" providerId="AD" clId="Web-{3C6415C9-7F5E-4F37-A91E-80FB1DAA24B3}" dt="2021-07-07T14:47:41.744" v="395" actId="1076"/>
          <ac:spMkLst>
            <pc:docMk/>
            <pc:sldMk cId="53167518" sldId="9060"/>
            <ac:spMk id="45" creationId="{E5B82C08-FE36-4E7A-91B6-C4E259006D5B}"/>
          </ac:spMkLst>
        </pc:spChg>
        <pc:spChg chg="mod">
          <ac:chgData name="Jivrajani, Dharini" userId="S::djivrajani@deloitte.com::9f28c9a6-e07b-4de5-8682-ac3f5c875595" providerId="AD" clId="Web-{3C6415C9-7F5E-4F37-A91E-80FB1DAA24B3}" dt="2021-07-07T14:47:55.885" v="397" actId="1076"/>
          <ac:spMkLst>
            <pc:docMk/>
            <pc:sldMk cId="53167518" sldId="9060"/>
            <ac:spMk id="55" creationId="{1CA2DF33-807F-41CA-B003-47F123AFF75B}"/>
          </ac:spMkLst>
        </pc:spChg>
        <pc:graphicFrameChg chg="mod modGraphic">
          <ac:chgData name="Jivrajani, Dharini" userId="S::djivrajani@deloitte.com::9f28c9a6-e07b-4de5-8682-ac3f5c875595" providerId="AD" clId="Web-{3C6415C9-7F5E-4F37-A91E-80FB1DAA24B3}" dt="2021-07-07T14:47:48.338" v="396" actId="1076"/>
          <ac:graphicFrameMkLst>
            <pc:docMk/>
            <pc:sldMk cId="53167518" sldId="9060"/>
            <ac:graphicFrameMk id="4" creationId="{FE664A44-2B52-48E1-842B-86373307A2AD}"/>
          </ac:graphicFrameMkLst>
        </pc:graphicFrameChg>
        <pc:graphicFrameChg chg="mod modGraphic">
          <ac:chgData name="Jivrajani, Dharini" userId="S::djivrajani@deloitte.com::9f28c9a6-e07b-4de5-8682-ac3f5c875595" providerId="AD" clId="Web-{3C6415C9-7F5E-4F37-A91E-80FB1DAA24B3}" dt="2021-07-07T14:46:54.523" v="393"/>
          <ac:graphicFrameMkLst>
            <pc:docMk/>
            <pc:sldMk cId="53167518" sldId="9060"/>
            <ac:graphicFrameMk id="58" creationId="{A6EBFF0D-1699-4F57-AC1F-62AAC56A13FE}"/>
          </ac:graphicFrameMkLst>
        </pc:graphicFrameChg>
      </pc:sldChg>
    </pc:docChg>
  </pc:docChgLst>
  <pc:docChgLst>
    <pc:chgData name="Jivrajani, Dharini" userId="S::djivrajani@deloitte.com::9f28c9a6-e07b-4de5-8682-ac3f5c875595" providerId="AD" clId="Web-{56739230-3E4E-41F1-B02F-88E12F720454}"/>
    <pc:docChg chg="delSld modSld modSection">
      <pc:chgData name="Jivrajani, Dharini" userId="S::djivrajani@deloitte.com::9f28c9a6-e07b-4de5-8682-ac3f5c875595" providerId="AD" clId="Web-{56739230-3E4E-41F1-B02F-88E12F720454}" dt="2021-03-04T04:46:55.829" v="7"/>
      <pc:docMkLst>
        <pc:docMk/>
      </pc:docMkLst>
      <pc:sldChg chg="del">
        <pc:chgData name="Jivrajani, Dharini" userId="S::djivrajani@deloitte.com::9f28c9a6-e07b-4de5-8682-ac3f5c875595" providerId="AD" clId="Web-{56739230-3E4E-41F1-B02F-88E12F720454}" dt="2021-03-04T04:46:46.017" v="3"/>
        <pc:sldMkLst>
          <pc:docMk/>
          <pc:sldMk cId="4043756019" sldId="773"/>
        </pc:sldMkLst>
      </pc:sldChg>
      <pc:sldChg chg="del">
        <pc:chgData name="Jivrajani, Dharini" userId="S::djivrajani@deloitte.com::9f28c9a6-e07b-4de5-8682-ac3f5c875595" providerId="AD" clId="Web-{56739230-3E4E-41F1-B02F-88E12F720454}" dt="2021-03-04T04:46:53.907" v="6"/>
        <pc:sldMkLst>
          <pc:docMk/>
          <pc:sldMk cId="4209568569" sldId="4457"/>
        </pc:sldMkLst>
      </pc:sldChg>
      <pc:sldChg chg="del">
        <pc:chgData name="Jivrajani, Dharini" userId="S::djivrajani@deloitte.com::9f28c9a6-e07b-4de5-8682-ac3f5c875595" providerId="AD" clId="Web-{56739230-3E4E-41F1-B02F-88E12F720454}" dt="2021-03-04T04:46:55.829" v="7"/>
        <pc:sldMkLst>
          <pc:docMk/>
          <pc:sldMk cId="3837006809" sldId="4460"/>
        </pc:sldMkLst>
      </pc:sldChg>
      <pc:sldChg chg="del">
        <pc:chgData name="Jivrajani, Dharini" userId="S::djivrajani@deloitte.com::9f28c9a6-e07b-4de5-8682-ac3f5c875595" providerId="AD" clId="Web-{56739230-3E4E-41F1-B02F-88E12F720454}" dt="2021-03-04T04:46:49.845" v="4"/>
        <pc:sldMkLst>
          <pc:docMk/>
          <pc:sldMk cId="2825250598" sldId="4466"/>
        </pc:sldMkLst>
      </pc:sldChg>
      <pc:sldChg chg="del">
        <pc:chgData name="Jivrajani, Dharini" userId="S::djivrajani@deloitte.com::9f28c9a6-e07b-4de5-8682-ac3f5c875595" providerId="AD" clId="Web-{56739230-3E4E-41F1-B02F-88E12F720454}" dt="2021-03-04T04:46:52.814" v="5"/>
        <pc:sldMkLst>
          <pc:docMk/>
          <pc:sldMk cId="1657039186" sldId="4468"/>
        </pc:sldMkLst>
      </pc:sldChg>
      <pc:sldChg chg="modSp">
        <pc:chgData name="Jivrajani, Dharini" userId="S::djivrajani@deloitte.com::9f28c9a6-e07b-4de5-8682-ac3f5c875595" providerId="AD" clId="Web-{56739230-3E4E-41F1-B02F-88E12F720454}" dt="2021-03-04T04:43:41.496" v="1" actId="20577"/>
        <pc:sldMkLst>
          <pc:docMk/>
          <pc:sldMk cId="3491360341" sldId="8786"/>
        </pc:sldMkLst>
        <pc:spChg chg="mod">
          <ac:chgData name="Jivrajani, Dharini" userId="S::djivrajani@deloitte.com::9f28c9a6-e07b-4de5-8682-ac3f5c875595" providerId="AD" clId="Web-{56739230-3E4E-41F1-B02F-88E12F720454}" dt="2021-03-04T04:43:41.496" v="1" actId="20577"/>
          <ac:spMkLst>
            <pc:docMk/>
            <pc:sldMk cId="3491360341" sldId="8786"/>
            <ac:spMk id="40" creationId="{121719F8-2A26-490B-BE98-0511C598856F}"/>
          </ac:spMkLst>
        </pc:spChg>
      </pc:sldChg>
      <pc:sldChg chg="del">
        <pc:chgData name="Jivrajani, Dharini" userId="S::djivrajani@deloitte.com::9f28c9a6-e07b-4de5-8682-ac3f5c875595" providerId="AD" clId="Web-{56739230-3E4E-41F1-B02F-88E12F720454}" dt="2021-03-04T04:46:44.907" v="2"/>
        <pc:sldMkLst>
          <pc:docMk/>
          <pc:sldMk cId="1871634249" sldId="9016"/>
        </pc:sldMkLst>
      </pc:sldChg>
    </pc:docChg>
  </pc:docChgLst>
  <pc:docChgLst>
    <pc:chgData name="Patel, Jignesh" userId="S::jignpatel@deloitte.com::c8f6f643-687e-4b58-941e-b5f86bf4291b" providerId="AD" clId="Web-{013196E0-DB37-47F6-86E4-0F7D45B14D50}"/>
    <pc:docChg chg="modSld">
      <pc:chgData name="Patel, Jignesh" userId="S::jignpatel@deloitte.com::c8f6f643-687e-4b58-941e-b5f86bf4291b" providerId="AD" clId="Web-{013196E0-DB37-47F6-86E4-0F7D45B14D50}" dt="2021-07-12T19:33:15.459" v="0"/>
      <pc:docMkLst>
        <pc:docMk/>
      </pc:docMkLst>
      <pc:sldChg chg="delSp">
        <pc:chgData name="Patel, Jignesh" userId="S::jignpatel@deloitte.com::c8f6f643-687e-4b58-941e-b5f86bf4291b" providerId="AD" clId="Web-{013196E0-DB37-47F6-86E4-0F7D45B14D50}" dt="2021-07-12T19:33:15.459" v="0"/>
        <pc:sldMkLst>
          <pc:docMk/>
          <pc:sldMk cId="3424447147" sldId="9001"/>
        </pc:sldMkLst>
        <pc:spChg chg="del">
          <ac:chgData name="Patel, Jignesh" userId="S::jignpatel@deloitte.com::c8f6f643-687e-4b58-941e-b5f86bf4291b" providerId="AD" clId="Web-{013196E0-DB37-47F6-86E4-0F7D45B14D50}" dt="2021-07-12T19:33:15.459" v="0"/>
          <ac:spMkLst>
            <pc:docMk/>
            <pc:sldMk cId="3424447147" sldId="9001"/>
            <ac:spMk id="13" creationId="{84A6542E-CBD5-46D6-93FD-D228C2D2256A}"/>
          </ac:spMkLst>
        </pc:spChg>
      </pc:sldChg>
    </pc:docChg>
  </pc:docChgLst>
  <pc:docChgLst>
    <pc:chgData name="Thilakan, Andrew" userId="1f143052-8546-4a36-b467-ac96e3b8e64e" providerId="ADAL" clId="{E808CADC-64DD-4762-A7BD-C52B264FDFDB}"/>
    <pc:docChg chg="delSld modSld modSection">
      <pc:chgData name="Thilakan, Andrew" userId="1f143052-8546-4a36-b467-ac96e3b8e64e" providerId="ADAL" clId="{E808CADC-64DD-4762-A7BD-C52B264FDFDB}" dt="2021-07-12T12:51:39.228" v="212" actId="20577"/>
      <pc:docMkLst>
        <pc:docMk/>
      </pc:docMkLst>
      <pc:sldChg chg="modSp mod">
        <pc:chgData name="Thilakan, Andrew" userId="1f143052-8546-4a36-b467-ac96e3b8e64e" providerId="ADAL" clId="{E808CADC-64DD-4762-A7BD-C52B264FDFDB}" dt="2021-07-09T20:21:12.214" v="5" actId="20577"/>
        <pc:sldMkLst>
          <pc:docMk/>
          <pc:sldMk cId="1369081146" sldId="8773"/>
        </pc:sldMkLst>
        <pc:graphicFrameChg chg="modGraphic">
          <ac:chgData name="Thilakan, Andrew" userId="1f143052-8546-4a36-b467-ac96e3b8e64e" providerId="ADAL" clId="{E808CADC-64DD-4762-A7BD-C52B264FDFDB}" dt="2021-07-09T20:21:12.214" v="5" actId="20577"/>
          <ac:graphicFrameMkLst>
            <pc:docMk/>
            <pc:sldMk cId="1369081146" sldId="8773"/>
            <ac:graphicFrameMk id="4" creationId="{2AAAC88F-F4B4-4FE3-956E-C3F806D71324}"/>
          </ac:graphicFrameMkLst>
        </pc:graphicFrameChg>
      </pc:sldChg>
      <pc:sldChg chg="modSp mod">
        <pc:chgData name="Thilakan, Andrew" userId="1f143052-8546-4a36-b467-ac96e3b8e64e" providerId="ADAL" clId="{E808CADC-64DD-4762-A7BD-C52B264FDFDB}" dt="2021-07-12T12:51:39.228" v="212" actId="20577"/>
        <pc:sldMkLst>
          <pc:docMk/>
          <pc:sldMk cId="2246163936" sldId="8788"/>
        </pc:sldMkLst>
        <pc:spChg chg="mod">
          <ac:chgData name="Thilakan, Andrew" userId="1f143052-8546-4a36-b467-ac96e3b8e64e" providerId="ADAL" clId="{E808CADC-64DD-4762-A7BD-C52B264FDFDB}" dt="2021-07-09T20:24:41.377" v="7" actId="20577"/>
          <ac:spMkLst>
            <pc:docMk/>
            <pc:sldMk cId="2246163936" sldId="8788"/>
            <ac:spMk id="4" creationId="{DF132C2F-19E4-4E49-B70A-03886CF0AF13}"/>
          </ac:spMkLst>
        </pc:spChg>
        <pc:spChg chg="mod">
          <ac:chgData name="Thilakan, Andrew" userId="1f143052-8546-4a36-b467-ac96e3b8e64e" providerId="ADAL" clId="{E808CADC-64DD-4762-A7BD-C52B264FDFDB}" dt="2021-07-09T20:26:37.968" v="27" actId="14100"/>
          <ac:spMkLst>
            <pc:docMk/>
            <pc:sldMk cId="2246163936" sldId="8788"/>
            <ac:spMk id="5" creationId="{9ECF369E-8279-4FEE-BB0D-51136CBDCDB7}"/>
          </ac:spMkLst>
        </pc:spChg>
        <pc:graphicFrameChg chg="mod modGraphic">
          <ac:chgData name="Thilakan, Andrew" userId="1f143052-8546-4a36-b467-ac96e3b8e64e" providerId="ADAL" clId="{E808CADC-64DD-4762-A7BD-C52B264FDFDB}" dt="2021-07-12T12:51:39.228" v="212" actId="20577"/>
          <ac:graphicFrameMkLst>
            <pc:docMk/>
            <pc:sldMk cId="2246163936" sldId="8788"/>
            <ac:graphicFrameMk id="2" creationId="{DBFB0C01-4024-4DDF-BB08-6AA678F60360}"/>
          </ac:graphicFrameMkLst>
        </pc:graphicFrameChg>
      </pc:sldChg>
      <pc:sldChg chg="del">
        <pc:chgData name="Thilakan, Andrew" userId="1f143052-8546-4a36-b467-ac96e3b8e64e" providerId="ADAL" clId="{E808CADC-64DD-4762-A7BD-C52B264FDFDB}" dt="2021-07-09T20:24:27.600" v="6" actId="47"/>
        <pc:sldMkLst>
          <pc:docMk/>
          <pc:sldMk cId="1867916483" sldId="8795"/>
        </pc:sldMkLst>
      </pc:sldChg>
    </pc:docChg>
  </pc:docChgLst>
  <pc:docChgLst>
    <pc:chgData name="Krishnendu" userId="8df999e8-a9d6-4973-bdc2-708772ae3d9d" providerId="ADAL" clId="{4444FBD4-92E5-4AF3-B73D-F1EEDCEA4EDB}"/>
    <pc:docChg chg="undo modSld">
      <pc:chgData name="Krishnendu" userId="8df999e8-a9d6-4973-bdc2-708772ae3d9d" providerId="ADAL" clId="{4444FBD4-92E5-4AF3-B73D-F1EEDCEA4EDB}" dt="2021-03-24T02:44:00.100" v="327" actId="20577"/>
      <pc:docMkLst>
        <pc:docMk/>
      </pc:docMkLst>
      <pc:sldChg chg="modSp">
        <pc:chgData name="Krishnendu" userId="8df999e8-a9d6-4973-bdc2-708772ae3d9d" providerId="ADAL" clId="{4444FBD4-92E5-4AF3-B73D-F1EEDCEA4EDB}" dt="2021-03-24T02:44:00.100" v="327" actId="20577"/>
        <pc:sldMkLst>
          <pc:docMk/>
          <pc:sldMk cId="2138715199" sldId="8833"/>
        </pc:sldMkLst>
        <pc:graphicFrameChg chg="mod modGraphic">
          <ac:chgData name="Krishnendu" userId="8df999e8-a9d6-4973-bdc2-708772ae3d9d" providerId="ADAL" clId="{4444FBD4-92E5-4AF3-B73D-F1EEDCEA4EDB}" dt="2021-03-24T02:44:00.100" v="327" actId="20577"/>
          <ac:graphicFrameMkLst>
            <pc:docMk/>
            <pc:sldMk cId="2138715199" sldId="8833"/>
            <ac:graphicFrameMk id="2" creationId="{DBFB0C01-4024-4DDF-BB08-6AA678F60360}"/>
          </ac:graphicFrameMkLst>
        </pc:graphicFrameChg>
      </pc:sldChg>
      <pc:sldChg chg="modSp">
        <pc:chgData name="Krishnendu" userId="8df999e8-a9d6-4973-bdc2-708772ae3d9d" providerId="ADAL" clId="{4444FBD4-92E5-4AF3-B73D-F1EEDCEA4EDB}" dt="2021-03-23T09:43:16.135" v="65" actId="20577"/>
        <pc:sldMkLst>
          <pc:docMk/>
          <pc:sldMk cId="678701893" sldId="9006"/>
        </pc:sldMkLst>
        <pc:spChg chg="mod">
          <ac:chgData name="Krishnendu" userId="8df999e8-a9d6-4973-bdc2-708772ae3d9d" providerId="ADAL" clId="{4444FBD4-92E5-4AF3-B73D-F1EEDCEA4EDB}" dt="2021-03-23T09:43:16.135" v="65" actId="20577"/>
          <ac:spMkLst>
            <pc:docMk/>
            <pc:sldMk cId="678701893" sldId="9006"/>
            <ac:spMk id="2" creationId="{AC0E8FDC-CD5C-4B99-AE0F-E1A478E15DB5}"/>
          </ac:spMkLst>
        </pc:spChg>
      </pc:sldChg>
    </pc:docChg>
  </pc:docChgLst>
  <pc:docChgLst>
    <pc:chgData name="Mukherjee, Krishnendu" userId="S::krmukherjee@deloitte.com::8df999e8-a9d6-4973-bdc2-708772ae3d9d" providerId="AD" clId="Web-{25B7E9B3-CBDB-42C0-8E27-A1F5CFD1AAE9}"/>
    <pc:docChg chg="modSld">
      <pc:chgData name="Mukherjee, Krishnendu" userId="S::krmukherjee@deloitte.com::8df999e8-a9d6-4973-bdc2-708772ae3d9d" providerId="AD" clId="Web-{25B7E9B3-CBDB-42C0-8E27-A1F5CFD1AAE9}" dt="2020-12-02T10:47:43.352" v="9" actId="20577"/>
      <pc:docMkLst>
        <pc:docMk/>
      </pc:docMkLst>
      <pc:sldChg chg="modSp">
        <pc:chgData name="Mukherjee, Krishnendu" userId="S::krmukherjee@deloitte.com::8df999e8-a9d6-4973-bdc2-708772ae3d9d" providerId="AD" clId="Web-{25B7E9B3-CBDB-42C0-8E27-A1F5CFD1AAE9}" dt="2020-12-02T10:47:43.352" v="8" actId="20577"/>
        <pc:sldMkLst>
          <pc:docMk/>
          <pc:sldMk cId="678701893" sldId="9006"/>
        </pc:sldMkLst>
        <pc:spChg chg="mod">
          <ac:chgData name="Mukherjee, Krishnendu" userId="S::krmukherjee@deloitte.com::8df999e8-a9d6-4973-bdc2-708772ae3d9d" providerId="AD" clId="Web-{25B7E9B3-CBDB-42C0-8E27-A1F5CFD1AAE9}" dt="2020-12-02T10:47:43.352" v="8" actId="20577"/>
          <ac:spMkLst>
            <pc:docMk/>
            <pc:sldMk cId="678701893" sldId="9006"/>
            <ac:spMk id="7" creationId="{23BFA5EA-56E0-451D-8744-A431A8B9C40E}"/>
          </ac:spMkLst>
        </pc:spChg>
      </pc:sldChg>
    </pc:docChg>
  </pc:docChgLst>
  <pc:docChgLst>
    <pc:chgData name="Chinda, Sowjanya" userId="S::schinda@deloitte.com::fc5c6afc-3b7c-40b3-bf0d-c9a2eae19122" providerId="AD" clId="Web-{A3F63394-DE8B-4095-BBD7-DE10B405376A}"/>
    <pc:docChg chg="modSld">
      <pc:chgData name="Chinda, Sowjanya" userId="S::schinda@deloitte.com::fc5c6afc-3b7c-40b3-bf0d-c9a2eae19122" providerId="AD" clId="Web-{A3F63394-DE8B-4095-BBD7-DE10B405376A}" dt="2021-03-22T12:04:37.676" v="2" actId="20577"/>
      <pc:docMkLst>
        <pc:docMk/>
      </pc:docMkLst>
      <pc:sldChg chg="modSp">
        <pc:chgData name="Chinda, Sowjanya" userId="S::schinda@deloitte.com::fc5c6afc-3b7c-40b3-bf0d-c9a2eae19122" providerId="AD" clId="Web-{A3F63394-DE8B-4095-BBD7-DE10B405376A}" dt="2021-03-22T12:04:37.676" v="2" actId="20577"/>
        <pc:sldMkLst>
          <pc:docMk/>
          <pc:sldMk cId="847777020" sldId="8791"/>
        </pc:sldMkLst>
        <pc:spChg chg="mod">
          <ac:chgData name="Chinda, Sowjanya" userId="S::schinda@deloitte.com::fc5c6afc-3b7c-40b3-bf0d-c9a2eae19122" providerId="AD" clId="Web-{A3F63394-DE8B-4095-BBD7-DE10B405376A}" dt="2021-03-22T12:04:37.676" v="2" actId="20577"/>
          <ac:spMkLst>
            <pc:docMk/>
            <pc:sldMk cId="847777020" sldId="8791"/>
            <ac:spMk id="5" creationId="{177263DA-30B8-4B43-A64D-715B93D231FB}"/>
          </ac:spMkLst>
        </pc:spChg>
      </pc:sldChg>
    </pc:docChg>
  </pc:docChgLst>
  <pc:docChgLst>
    <pc:chgData name="Kommatreddy, Chaitanya" userId="S::ckommatreddy@deloitte.com::44a1469f-b03c-453c-8c31-90f831355cdb" providerId="AD" clId="Web-{6538D756-BBDD-43CC-9E51-DC490DD47742}"/>
    <pc:docChg chg="modSld">
      <pc:chgData name="Kommatreddy, Chaitanya" userId="S::ckommatreddy@deloitte.com::44a1469f-b03c-453c-8c31-90f831355cdb" providerId="AD" clId="Web-{6538D756-BBDD-43CC-9E51-DC490DD47742}" dt="2020-11-16T10:27:29.605" v="32" actId="20577"/>
      <pc:docMkLst>
        <pc:docMk/>
      </pc:docMkLst>
      <pc:sldChg chg="modSp">
        <pc:chgData name="Kommatreddy, Chaitanya" userId="S::ckommatreddy@deloitte.com::44a1469f-b03c-453c-8c31-90f831355cdb" providerId="AD" clId="Web-{6538D756-BBDD-43CC-9E51-DC490DD47742}" dt="2020-11-16T10:27:29.605" v="32" actId="20577"/>
        <pc:sldMkLst>
          <pc:docMk/>
          <pc:sldMk cId="3148283714" sldId="8987"/>
        </pc:sldMkLst>
        <pc:spChg chg="mod">
          <ac:chgData name="Kommatreddy, Chaitanya" userId="S::ckommatreddy@deloitte.com::44a1469f-b03c-453c-8c31-90f831355cdb" providerId="AD" clId="Web-{6538D756-BBDD-43CC-9E51-DC490DD47742}" dt="2020-11-16T10:27:29.605" v="32" actId="20577"/>
          <ac:spMkLst>
            <pc:docMk/>
            <pc:sldMk cId="3148283714" sldId="8987"/>
            <ac:spMk id="13" creationId="{00000000-0000-0000-0000-000000000000}"/>
          </ac:spMkLst>
        </pc:spChg>
      </pc:sldChg>
      <pc:sldChg chg="delSp modSp">
        <pc:chgData name="Kommatreddy, Chaitanya" userId="S::ckommatreddy@deloitte.com::44a1469f-b03c-453c-8c31-90f831355cdb" providerId="AD" clId="Web-{6538D756-BBDD-43CC-9E51-DC490DD47742}" dt="2020-11-16T10:26:53.979" v="28" actId="20577"/>
        <pc:sldMkLst>
          <pc:docMk/>
          <pc:sldMk cId="883180132" sldId="8992"/>
        </pc:sldMkLst>
        <pc:spChg chg="mod">
          <ac:chgData name="Kommatreddy, Chaitanya" userId="S::ckommatreddy@deloitte.com::44a1469f-b03c-453c-8c31-90f831355cdb" providerId="AD" clId="Web-{6538D756-BBDD-43CC-9E51-DC490DD47742}" dt="2020-11-16T10:26:53.979" v="28" actId="20577"/>
          <ac:spMkLst>
            <pc:docMk/>
            <pc:sldMk cId="883180132" sldId="8992"/>
            <ac:spMk id="4" creationId="{28070241-8247-4E57-B680-44534908C9ED}"/>
          </ac:spMkLst>
        </pc:spChg>
        <pc:spChg chg="del">
          <ac:chgData name="Kommatreddy, Chaitanya" userId="S::ckommatreddy@deloitte.com::44a1469f-b03c-453c-8c31-90f831355cdb" providerId="AD" clId="Web-{6538D756-BBDD-43CC-9E51-DC490DD47742}" dt="2020-11-16T10:26:39.885" v="1"/>
          <ac:spMkLst>
            <pc:docMk/>
            <pc:sldMk cId="883180132" sldId="8992"/>
            <ac:spMk id="7" creationId="{5D8F908C-DB66-4850-9BC9-BA5CDA34BE7C}"/>
          </ac:spMkLst>
        </pc:spChg>
        <pc:picChg chg="del">
          <ac:chgData name="Kommatreddy, Chaitanya" userId="S::ckommatreddy@deloitte.com::44a1469f-b03c-453c-8c31-90f831355cdb" providerId="AD" clId="Web-{6538D756-BBDD-43CC-9E51-DC490DD47742}" dt="2020-11-16T10:26:34.978" v="0"/>
          <ac:picMkLst>
            <pc:docMk/>
            <pc:sldMk cId="883180132" sldId="8992"/>
            <ac:picMk id="8" creationId="{AD57D89E-AD80-46DE-A831-891516284290}"/>
          </ac:picMkLst>
        </pc:picChg>
      </pc:sldChg>
    </pc:docChg>
  </pc:docChgLst>
  <pc:docChgLst>
    <pc:chgData name="Hamilton, Benedict" userId="S::benhamilton@deloitte.com::2d0b5eb9-705c-4e00-86df-cc05939905b7" providerId="AD" clId="Web-{80C7F3F1-3347-4420-9908-BE6BC589849A}"/>
    <pc:docChg chg="delSld modSld sldOrd modSection">
      <pc:chgData name="Hamilton, Benedict" userId="S::benhamilton@deloitte.com::2d0b5eb9-705c-4e00-86df-cc05939905b7" providerId="AD" clId="Web-{80C7F3F1-3347-4420-9908-BE6BC589849A}" dt="2020-11-30T21:40:03.063" v="5"/>
      <pc:docMkLst>
        <pc:docMk/>
      </pc:docMkLst>
      <pc:sldChg chg="del">
        <pc:chgData name="Hamilton, Benedict" userId="S::benhamilton@deloitte.com::2d0b5eb9-705c-4e00-86df-cc05939905b7" providerId="AD" clId="Web-{80C7F3F1-3347-4420-9908-BE6BC589849A}" dt="2020-11-30T21:33:44.637" v="1"/>
        <pc:sldMkLst>
          <pc:docMk/>
          <pc:sldMk cId="378404546" sldId="451"/>
        </pc:sldMkLst>
      </pc:sldChg>
      <pc:sldChg chg="delSp">
        <pc:chgData name="Hamilton, Benedict" userId="S::benhamilton@deloitte.com::2d0b5eb9-705c-4e00-86df-cc05939905b7" providerId="AD" clId="Web-{80C7F3F1-3347-4420-9908-BE6BC589849A}" dt="2020-11-30T21:33:32.246" v="0"/>
        <pc:sldMkLst>
          <pc:docMk/>
          <pc:sldMk cId="2545999528" sldId="2078"/>
        </pc:sldMkLst>
        <pc:spChg chg="del">
          <ac:chgData name="Hamilton, Benedict" userId="S::benhamilton@deloitte.com::2d0b5eb9-705c-4e00-86df-cc05939905b7" providerId="AD" clId="Web-{80C7F3F1-3347-4420-9908-BE6BC589849A}" dt="2020-11-30T21:33:32.246" v="0"/>
          <ac:spMkLst>
            <pc:docMk/>
            <pc:sldMk cId="2545999528" sldId="2078"/>
            <ac:spMk id="19" creationId="{A0DB5BBA-D158-4B58-9002-8BEC66C283DA}"/>
          </ac:spMkLst>
        </pc:spChg>
      </pc:sldChg>
      <pc:sldChg chg="del">
        <pc:chgData name="Hamilton, Benedict" userId="S::benhamilton@deloitte.com::2d0b5eb9-705c-4e00-86df-cc05939905b7" providerId="AD" clId="Web-{80C7F3F1-3347-4420-9908-BE6BC589849A}" dt="2020-11-30T21:39:22.891" v="3"/>
        <pc:sldMkLst>
          <pc:docMk/>
          <pc:sldMk cId="583554324" sldId="8476"/>
        </pc:sldMkLst>
      </pc:sldChg>
      <pc:sldChg chg="del">
        <pc:chgData name="Hamilton, Benedict" userId="S::benhamilton@deloitte.com::2d0b5eb9-705c-4e00-86df-cc05939905b7" providerId="AD" clId="Web-{80C7F3F1-3347-4420-9908-BE6BC589849A}" dt="2020-11-30T21:33:44.637" v="2"/>
        <pc:sldMkLst>
          <pc:docMk/>
          <pc:sldMk cId="1085851461" sldId="8963"/>
        </pc:sldMkLst>
      </pc:sldChg>
      <pc:sldChg chg="ord">
        <pc:chgData name="Hamilton, Benedict" userId="S::benhamilton@deloitte.com::2d0b5eb9-705c-4e00-86df-cc05939905b7" providerId="AD" clId="Web-{80C7F3F1-3347-4420-9908-BE6BC589849A}" dt="2020-11-30T21:40:03.063" v="5"/>
        <pc:sldMkLst>
          <pc:docMk/>
          <pc:sldMk cId="2797225936" sldId="8974"/>
        </pc:sldMkLst>
      </pc:sldChg>
    </pc:docChg>
  </pc:docChgLst>
  <pc:docChgLst>
    <pc:chgData name="Jivrajani, Dharini" userId="S::djivrajani@deloitte.com::9f28c9a6-e07b-4de5-8682-ac3f5c875595" providerId="AD" clId="Web-{FB3C2E47-6076-4F52-B7DE-8F7606C1B658}"/>
    <pc:docChg chg="modSld">
      <pc:chgData name="Jivrajani, Dharini" userId="S::djivrajani@deloitte.com::9f28c9a6-e07b-4de5-8682-ac3f5c875595" providerId="AD" clId="Web-{FB3C2E47-6076-4F52-B7DE-8F7606C1B658}" dt="2021-07-14T11:25:42.889" v="116"/>
      <pc:docMkLst>
        <pc:docMk/>
      </pc:docMkLst>
      <pc:sldChg chg="modSp">
        <pc:chgData name="Jivrajani, Dharini" userId="S::djivrajani@deloitte.com::9f28c9a6-e07b-4de5-8682-ac3f5c875595" providerId="AD" clId="Web-{FB3C2E47-6076-4F52-B7DE-8F7606C1B658}" dt="2021-07-14T11:25:42.889" v="116"/>
        <pc:sldMkLst>
          <pc:docMk/>
          <pc:sldMk cId="53167518" sldId="9060"/>
        </pc:sldMkLst>
        <pc:graphicFrameChg chg="mod modGraphic">
          <ac:chgData name="Jivrajani, Dharini" userId="S::djivrajani@deloitte.com::9f28c9a6-e07b-4de5-8682-ac3f5c875595" providerId="AD" clId="Web-{FB3C2E47-6076-4F52-B7DE-8F7606C1B658}" dt="2021-07-14T11:25:42.889" v="116"/>
          <ac:graphicFrameMkLst>
            <pc:docMk/>
            <pc:sldMk cId="53167518" sldId="9060"/>
            <ac:graphicFrameMk id="4" creationId="{FE664A44-2B52-48E1-842B-86373307A2AD}"/>
          </ac:graphicFrameMkLst>
        </pc:graphicFrameChg>
        <pc:graphicFrameChg chg="mod modGraphic">
          <ac:chgData name="Jivrajani, Dharini" userId="S::djivrajani@deloitte.com::9f28c9a6-e07b-4de5-8682-ac3f5c875595" providerId="AD" clId="Web-{FB3C2E47-6076-4F52-B7DE-8F7606C1B658}" dt="2021-07-14T11:24:10.902" v="54"/>
          <ac:graphicFrameMkLst>
            <pc:docMk/>
            <pc:sldMk cId="53167518" sldId="9060"/>
            <ac:graphicFrameMk id="58" creationId="{A6EBFF0D-1699-4F57-AC1F-62AAC56A13FE}"/>
          </ac:graphicFrameMkLst>
        </pc:graphicFrameChg>
      </pc:sldChg>
    </pc:docChg>
  </pc:docChgLst>
  <pc:docChgLst>
    <pc:chgData name="Kutas-Hille, Janine" userId="S::jkutashille@deloitte.com::0788d68a-0adc-44ef-94ed-31189926cb8f" providerId="AD" clId="Web-{F2BD38AA-296D-0AEB-69E3-8772A92543DB}"/>
    <pc:docChg chg="modSld">
      <pc:chgData name="Kutas-Hille, Janine" userId="S::jkutashille@deloitte.com::0788d68a-0adc-44ef-94ed-31189926cb8f" providerId="AD" clId="Web-{F2BD38AA-296D-0AEB-69E3-8772A92543DB}" dt="2020-07-14T03:14:09.744" v="227" actId="20577"/>
      <pc:docMkLst>
        <pc:docMk/>
      </pc:docMkLst>
      <pc:sldChg chg="modSp">
        <pc:chgData name="Kutas-Hille, Janine" userId="S::jkutashille@deloitte.com::0788d68a-0adc-44ef-94ed-31189926cb8f" providerId="AD" clId="Web-{F2BD38AA-296D-0AEB-69E3-8772A92543DB}" dt="2020-07-14T03:14:09.744" v="226" actId="20577"/>
        <pc:sldMkLst>
          <pc:docMk/>
          <pc:sldMk cId="1180582917" sldId="8835"/>
        </pc:sldMkLst>
        <pc:spChg chg="mod">
          <ac:chgData name="Kutas-Hille, Janine" userId="S::jkutashille@deloitte.com::0788d68a-0adc-44ef-94ed-31189926cb8f" providerId="AD" clId="Web-{F2BD38AA-296D-0AEB-69E3-8772A92543DB}" dt="2020-07-14T03:14:09.744" v="226" actId="20577"/>
          <ac:spMkLst>
            <pc:docMk/>
            <pc:sldMk cId="1180582917" sldId="8835"/>
            <ac:spMk id="3" creationId="{21BBA9DD-83F9-4617-84E4-6CAA74E3B9FB}"/>
          </ac:spMkLst>
        </pc:spChg>
      </pc:sldChg>
    </pc:docChg>
  </pc:docChgLst>
  <pc:docChgLst>
    <pc:chgData name="Kommatreddy, Chaitanya" userId="S::ckommatreddy@deloitte.com::44a1469f-b03c-453c-8c31-90f831355cdb" providerId="AD" clId="Web-{33072895-E30E-42BA-AF95-CE5ED626B38C}"/>
    <pc:docChg chg="delSld modSld modSection">
      <pc:chgData name="Kommatreddy, Chaitanya" userId="S::ckommatreddy@deloitte.com::44a1469f-b03c-453c-8c31-90f831355cdb" providerId="AD" clId="Web-{33072895-E30E-42BA-AF95-CE5ED626B38C}" dt="2020-07-13T11:12:25.119" v="5" actId="20577"/>
      <pc:docMkLst>
        <pc:docMk/>
      </pc:docMkLst>
      <pc:sldChg chg="del">
        <pc:chgData name="Kommatreddy, Chaitanya" userId="S::ckommatreddy@deloitte.com::44a1469f-b03c-453c-8c31-90f831355cdb" providerId="AD" clId="Web-{33072895-E30E-42BA-AF95-CE5ED626B38C}" dt="2020-07-13T11:12:17.697" v="4"/>
        <pc:sldMkLst>
          <pc:docMk/>
          <pc:sldMk cId="4105570737" sldId="256"/>
        </pc:sldMkLst>
      </pc:sldChg>
      <pc:sldChg chg="modSp">
        <pc:chgData name="Kommatreddy, Chaitanya" userId="S::ckommatreddy@deloitte.com::44a1469f-b03c-453c-8c31-90f831355cdb" providerId="AD" clId="Web-{33072895-E30E-42BA-AF95-CE5ED626B38C}" dt="2020-07-13T11:12:25.119" v="5" actId="20577"/>
        <pc:sldMkLst>
          <pc:docMk/>
          <pc:sldMk cId="3493385288" sldId="8816"/>
        </pc:sldMkLst>
        <pc:spChg chg="mod">
          <ac:chgData name="Kommatreddy, Chaitanya" userId="S::ckommatreddy@deloitte.com::44a1469f-b03c-453c-8c31-90f831355cdb" providerId="AD" clId="Web-{33072895-E30E-42BA-AF95-CE5ED626B38C}" dt="2020-07-13T11:12:25.119" v="5" actId="20577"/>
          <ac:spMkLst>
            <pc:docMk/>
            <pc:sldMk cId="3493385288" sldId="8816"/>
            <ac:spMk id="13" creationId="{00000000-0000-0000-0000-000000000000}"/>
          </ac:spMkLst>
        </pc:spChg>
      </pc:sldChg>
      <pc:sldChg chg="modSp">
        <pc:chgData name="Kommatreddy, Chaitanya" userId="S::ckommatreddy@deloitte.com::44a1469f-b03c-453c-8c31-90f831355cdb" providerId="AD" clId="Web-{33072895-E30E-42BA-AF95-CE5ED626B38C}" dt="2020-07-13T11:11:37.806" v="1" actId="20577"/>
        <pc:sldMkLst>
          <pc:docMk/>
          <pc:sldMk cId="208755446" sldId="8837"/>
        </pc:sldMkLst>
        <pc:spChg chg="mod">
          <ac:chgData name="Kommatreddy, Chaitanya" userId="S::ckommatreddy@deloitte.com::44a1469f-b03c-453c-8c31-90f831355cdb" providerId="AD" clId="Web-{33072895-E30E-42BA-AF95-CE5ED626B38C}" dt="2020-07-13T11:11:37.806" v="1" actId="20577"/>
          <ac:spMkLst>
            <pc:docMk/>
            <pc:sldMk cId="208755446" sldId="8837"/>
            <ac:spMk id="13" creationId="{00000000-0000-0000-0000-000000000000}"/>
          </ac:spMkLst>
        </pc:spChg>
      </pc:sldChg>
      <pc:sldChg chg="modSp">
        <pc:chgData name="Kommatreddy, Chaitanya" userId="S::ckommatreddy@deloitte.com::44a1469f-b03c-453c-8c31-90f831355cdb" providerId="AD" clId="Web-{33072895-E30E-42BA-AF95-CE5ED626B38C}" dt="2020-07-13T11:11:46.009" v="3" actId="20577"/>
        <pc:sldMkLst>
          <pc:docMk/>
          <pc:sldMk cId="860965959" sldId="8839"/>
        </pc:sldMkLst>
        <pc:spChg chg="mod">
          <ac:chgData name="Kommatreddy, Chaitanya" userId="S::ckommatreddy@deloitte.com::44a1469f-b03c-453c-8c31-90f831355cdb" providerId="AD" clId="Web-{33072895-E30E-42BA-AF95-CE5ED626B38C}" dt="2020-07-13T11:11:46.009" v="3" actId="20577"/>
          <ac:spMkLst>
            <pc:docMk/>
            <pc:sldMk cId="860965959" sldId="8839"/>
            <ac:spMk id="13" creationId="{00000000-0000-0000-0000-000000000000}"/>
          </ac:spMkLst>
        </pc:spChg>
      </pc:sldChg>
    </pc:docChg>
  </pc:docChgLst>
  <pc:docChgLst>
    <pc:chgData name="Sharma Palla, Rakesh" userId="10f9904b-c976-486e-940c-ca5698800d24" providerId="ADAL" clId="{E1D93DC0-8AEA-4623-9ED7-822EB6975348}"/>
    <pc:docChg chg="undo custSel modSld">
      <pc:chgData name="Sharma Palla, Rakesh" userId="10f9904b-c976-486e-940c-ca5698800d24" providerId="ADAL" clId="{E1D93DC0-8AEA-4623-9ED7-822EB6975348}" dt="2021-07-12T18:26:24.901" v="565" actId="1076"/>
      <pc:docMkLst>
        <pc:docMk/>
      </pc:docMkLst>
      <pc:sldChg chg="modSp mod">
        <pc:chgData name="Sharma Palla, Rakesh" userId="10f9904b-c976-486e-940c-ca5698800d24" providerId="ADAL" clId="{E1D93DC0-8AEA-4623-9ED7-822EB6975348}" dt="2021-07-12T10:09:36.341" v="57" actId="20577"/>
        <pc:sldMkLst>
          <pc:docMk/>
          <pc:sldMk cId="1078693895" sldId="268"/>
        </pc:sldMkLst>
        <pc:spChg chg="mod">
          <ac:chgData name="Sharma Palla, Rakesh" userId="10f9904b-c976-486e-940c-ca5698800d24" providerId="ADAL" clId="{E1D93DC0-8AEA-4623-9ED7-822EB6975348}" dt="2021-07-12T10:09:36.341" v="57" actId="20577"/>
          <ac:spMkLst>
            <pc:docMk/>
            <pc:sldMk cId="1078693895" sldId="268"/>
            <ac:spMk id="20" creationId="{97F95232-FAF7-4FBD-A394-067DD3DBBE84}"/>
          </ac:spMkLst>
        </pc:spChg>
      </pc:sldChg>
      <pc:sldChg chg="modSp mod">
        <pc:chgData name="Sharma Palla, Rakesh" userId="10f9904b-c976-486e-940c-ca5698800d24" providerId="ADAL" clId="{E1D93DC0-8AEA-4623-9ED7-822EB6975348}" dt="2021-07-12T10:32:22.044" v="557" actId="6549"/>
        <pc:sldMkLst>
          <pc:docMk/>
          <pc:sldMk cId="847777020" sldId="8791"/>
        </pc:sldMkLst>
        <pc:spChg chg="mod">
          <ac:chgData name="Sharma Palla, Rakesh" userId="10f9904b-c976-486e-940c-ca5698800d24" providerId="ADAL" clId="{E1D93DC0-8AEA-4623-9ED7-822EB6975348}" dt="2021-07-12T10:11:41.531" v="58" actId="1076"/>
          <ac:spMkLst>
            <pc:docMk/>
            <pc:sldMk cId="847777020" sldId="8791"/>
            <ac:spMk id="4" creationId="{2956E5C3-5937-43E8-8A96-5606BB4B6A36}"/>
          </ac:spMkLst>
        </pc:spChg>
        <pc:graphicFrameChg chg="mod modGraphic">
          <ac:chgData name="Sharma Palla, Rakesh" userId="10f9904b-c976-486e-940c-ca5698800d24" providerId="ADAL" clId="{E1D93DC0-8AEA-4623-9ED7-822EB6975348}" dt="2021-07-12T10:32:22.044" v="557" actId="6549"/>
          <ac:graphicFrameMkLst>
            <pc:docMk/>
            <pc:sldMk cId="847777020" sldId="8791"/>
            <ac:graphicFrameMk id="2" creationId="{047A132D-3FAE-48C5-BD5F-C01213AAD2F4}"/>
          </ac:graphicFrameMkLst>
        </pc:graphicFrameChg>
      </pc:sldChg>
      <pc:sldChg chg="modSp mod">
        <pc:chgData name="Sharma Palla, Rakesh" userId="10f9904b-c976-486e-940c-ca5698800d24" providerId="ADAL" clId="{E1D93DC0-8AEA-4623-9ED7-822EB6975348}" dt="2021-07-12T18:26:24.901" v="565" actId="1076"/>
        <pc:sldMkLst>
          <pc:docMk/>
          <pc:sldMk cId="1983421167" sldId="9059"/>
        </pc:sldMkLst>
        <pc:spChg chg="mod">
          <ac:chgData name="Sharma Palla, Rakesh" userId="10f9904b-c976-486e-940c-ca5698800d24" providerId="ADAL" clId="{E1D93DC0-8AEA-4623-9ED7-822EB6975348}" dt="2021-07-12T18:26:23.850" v="564" actId="1076"/>
          <ac:spMkLst>
            <pc:docMk/>
            <pc:sldMk cId="1983421167" sldId="9059"/>
            <ac:spMk id="3" creationId="{A1AE85E8-A8FC-49F4-92AB-44FB9221F9F9}"/>
          </ac:spMkLst>
        </pc:spChg>
        <pc:picChg chg="mod">
          <ac:chgData name="Sharma Palla, Rakesh" userId="10f9904b-c976-486e-940c-ca5698800d24" providerId="ADAL" clId="{E1D93DC0-8AEA-4623-9ED7-822EB6975348}" dt="2021-07-12T18:26:24.901" v="565" actId="1076"/>
          <ac:picMkLst>
            <pc:docMk/>
            <pc:sldMk cId="1983421167" sldId="9059"/>
            <ac:picMk id="2" creationId="{D935FC68-DACB-4A36-B0E6-DCEC04C590C4}"/>
          </ac:picMkLst>
        </pc:picChg>
      </pc:sldChg>
    </pc:docChg>
  </pc:docChgLst>
  <pc:docChgLst>
    <pc:chgData name="Jivrajani, Dharini" userId="S::djivrajani@deloitte.com::9f28c9a6-e07b-4de5-8682-ac3f5c875595" providerId="AD" clId="Web-{D5559453-3265-4E41-BE66-DA7D118466F5}"/>
    <pc:docChg chg="modSld">
      <pc:chgData name="Jivrajani, Dharini" userId="S::djivrajani@deloitte.com::9f28c9a6-e07b-4de5-8682-ac3f5c875595" providerId="AD" clId="Web-{D5559453-3265-4E41-BE66-DA7D118466F5}" dt="2020-11-17T17:35:45.079" v="129" actId="14100"/>
      <pc:docMkLst>
        <pc:docMk/>
      </pc:docMkLst>
      <pc:sldChg chg="modSp">
        <pc:chgData name="Jivrajani, Dharini" userId="S::djivrajani@deloitte.com::9f28c9a6-e07b-4de5-8682-ac3f5c875595" providerId="AD" clId="Web-{D5559453-3265-4E41-BE66-DA7D118466F5}" dt="2020-11-17T17:34:42.170" v="116" actId="20577"/>
        <pc:sldMkLst>
          <pc:docMk/>
          <pc:sldMk cId="3661564267" sldId="257"/>
        </pc:sldMkLst>
        <pc:spChg chg="mod">
          <ac:chgData name="Jivrajani, Dharini" userId="S::djivrajani@deloitte.com::9f28c9a6-e07b-4de5-8682-ac3f5c875595" providerId="AD" clId="Web-{D5559453-3265-4E41-BE66-DA7D118466F5}" dt="2020-11-17T17:34:42.170" v="116" actId="20577"/>
          <ac:spMkLst>
            <pc:docMk/>
            <pc:sldMk cId="3661564267" sldId="257"/>
            <ac:spMk id="4" creationId="{00000000-0000-0000-0000-000000000000}"/>
          </ac:spMkLst>
        </pc:spChg>
      </pc:sldChg>
      <pc:sldChg chg="addSp delSp modSp">
        <pc:chgData name="Jivrajani, Dharini" userId="S::djivrajani@deloitte.com::9f28c9a6-e07b-4de5-8682-ac3f5c875595" providerId="AD" clId="Web-{D5559453-3265-4E41-BE66-DA7D118466F5}" dt="2020-11-17T17:35:45.079" v="129" actId="14100"/>
        <pc:sldMkLst>
          <pc:docMk/>
          <pc:sldMk cId="3339402729" sldId="8973"/>
        </pc:sldMkLst>
        <pc:spChg chg="add del mod">
          <ac:chgData name="Jivrajani, Dharini" userId="S::djivrajani@deloitte.com::9f28c9a6-e07b-4de5-8682-ac3f5c875595" providerId="AD" clId="Web-{D5559453-3265-4E41-BE66-DA7D118466F5}" dt="2020-11-17T17:35:23.547" v="125" actId="20577"/>
          <ac:spMkLst>
            <pc:docMk/>
            <pc:sldMk cId="3339402729" sldId="8973"/>
            <ac:spMk id="13" creationId="{D5F4E4C4-ABD3-4443-859D-F84DA705D7BA}"/>
          </ac:spMkLst>
        </pc:spChg>
        <pc:spChg chg="mod">
          <ac:chgData name="Jivrajani, Dharini" userId="S::djivrajani@deloitte.com::9f28c9a6-e07b-4de5-8682-ac3f5c875595" providerId="AD" clId="Web-{D5559453-3265-4E41-BE66-DA7D118466F5}" dt="2020-11-17T17:35:45.079" v="129" actId="14100"/>
          <ac:spMkLst>
            <pc:docMk/>
            <pc:sldMk cId="3339402729" sldId="8973"/>
            <ac:spMk id="17" creationId="{8CA5C18A-05BA-4818-9C43-6EA487818D45}"/>
          </ac:spMkLst>
        </pc:spChg>
      </pc:sldChg>
    </pc:docChg>
  </pc:docChgLst>
  <pc:docChgLst>
    <pc:chgData name="Jivrajani, Dharini" userId="S::djivrajani@deloitte.com::9f28c9a6-e07b-4de5-8682-ac3f5c875595" providerId="AD" clId="Web-{375D1ABA-F201-465A-AD95-2603FEE488FF}"/>
    <pc:docChg chg="modSld">
      <pc:chgData name="Jivrajani, Dharini" userId="S::djivrajani@deloitte.com::9f28c9a6-e07b-4de5-8682-ac3f5c875595" providerId="AD" clId="Web-{375D1ABA-F201-465A-AD95-2603FEE488FF}" dt="2021-03-22T14:44:31.735" v="56"/>
      <pc:docMkLst>
        <pc:docMk/>
      </pc:docMkLst>
      <pc:sldChg chg="modSp">
        <pc:chgData name="Jivrajani, Dharini" userId="S::djivrajani@deloitte.com::9f28c9a6-e07b-4de5-8682-ac3f5c875595" providerId="AD" clId="Web-{375D1ABA-F201-465A-AD95-2603FEE488FF}" dt="2021-03-22T14:44:31.735" v="56"/>
        <pc:sldMkLst>
          <pc:docMk/>
          <pc:sldMk cId="3491360341" sldId="8786"/>
        </pc:sldMkLst>
        <pc:graphicFrameChg chg="mod modGraphic">
          <ac:chgData name="Jivrajani, Dharini" userId="S::djivrajani@deloitte.com::9f28c9a6-e07b-4de5-8682-ac3f5c875595" providerId="AD" clId="Web-{375D1ABA-F201-465A-AD95-2603FEE488FF}" dt="2021-03-22T14:44:31.735" v="56"/>
          <ac:graphicFrameMkLst>
            <pc:docMk/>
            <pc:sldMk cId="3491360341" sldId="8786"/>
            <ac:graphicFrameMk id="4" creationId="{FE664A44-2B52-48E1-842B-86373307A2AD}"/>
          </ac:graphicFrameMkLst>
        </pc:graphicFrameChg>
      </pc:sldChg>
      <pc:sldChg chg="modSp">
        <pc:chgData name="Jivrajani, Dharini" userId="S::djivrajani@deloitte.com::9f28c9a6-e07b-4de5-8682-ac3f5c875595" providerId="AD" clId="Web-{375D1ABA-F201-465A-AD95-2603FEE488FF}" dt="2021-03-22T14:43:14.936" v="2" actId="20577"/>
        <pc:sldMkLst>
          <pc:docMk/>
          <pc:sldMk cId="945405844" sldId="9037"/>
        </pc:sldMkLst>
        <pc:spChg chg="mod">
          <ac:chgData name="Jivrajani, Dharini" userId="S::djivrajani@deloitte.com::9f28c9a6-e07b-4de5-8682-ac3f5c875595" providerId="AD" clId="Web-{375D1ABA-F201-465A-AD95-2603FEE488FF}" dt="2021-03-22T14:43:14.936" v="2" actId="20577"/>
          <ac:spMkLst>
            <pc:docMk/>
            <pc:sldMk cId="945405844" sldId="9037"/>
            <ac:spMk id="10" creationId="{0B27B325-A52B-440A-906D-8E50421F1124}"/>
          </ac:spMkLst>
        </pc:spChg>
      </pc:sldChg>
    </pc:docChg>
  </pc:docChgLst>
  <pc:docChgLst>
    <pc:chgData name="Jivrajani, Dharini" userId="S::djivrajani@deloitte.com::9f28c9a6-e07b-4de5-8682-ac3f5c875595" providerId="AD" clId="Web-{62F7C1AC-560B-4F14-834B-E6A35D4B52E1}"/>
    <pc:docChg chg="delSld modSld modSection">
      <pc:chgData name="Jivrajani, Dharini" userId="S::djivrajani@deloitte.com::9f28c9a6-e07b-4de5-8682-ac3f5c875595" providerId="AD" clId="Web-{62F7C1AC-560B-4F14-834B-E6A35D4B52E1}" dt="2021-07-12T12:13:52.162" v="352"/>
      <pc:docMkLst>
        <pc:docMk/>
      </pc:docMkLst>
      <pc:sldChg chg="modSp">
        <pc:chgData name="Jivrajani, Dharini" userId="S::djivrajani@deloitte.com::9f28c9a6-e07b-4de5-8682-ac3f5c875595" providerId="AD" clId="Web-{62F7C1AC-560B-4F14-834B-E6A35D4B52E1}" dt="2021-07-12T12:13:52.162" v="352"/>
        <pc:sldMkLst>
          <pc:docMk/>
          <pc:sldMk cId="1369081146" sldId="8773"/>
        </pc:sldMkLst>
        <pc:graphicFrameChg chg="mod modGraphic">
          <ac:chgData name="Jivrajani, Dharini" userId="S::djivrajani@deloitte.com::9f28c9a6-e07b-4de5-8682-ac3f5c875595" providerId="AD" clId="Web-{62F7C1AC-560B-4F14-834B-E6A35D4B52E1}" dt="2021-07-12T12:13:52.162" v="352"/>
          <ac:graphicFrameMkLst>
            <pc:docMk/>
            <pc:sldMk cId="1369081146" sldId="8773"/>
            <ac:graphicFrameMk id="4" creationId="{2AAAC88F-F4B4-4FE3-956E-C3F806D71324}"/>
          </ac:graphicFrameMkLst>
        </pc:graphicFrameChg>
      </pc:sldChg>
      <pc:sldChg chg="modSp">
        <pc:chgData name="Jivrajani, Dharini" userId="S::djivrajani@deloitte.com::9f28c9a6-e07b-4de5-8682-ac3f5c875595" providerId="AD" clId="Web-{62F7C1AC-560B-4F14-834B-E6A35D4B52E1}" dt="2021-07-12T12:06:13.431" v="58" actId="20577"/>
        <pc:sldMkLst>
          <pc:docMk/>
          <pc:sldMk cId="2407685793" sldId="8775"/>
        </pc:sldMkLst>
        <pc:spChg chg="mod">
          <ac:chgData name="Jivrajani, Dharini" userId="S::djivrajani@deloitte.com::9f28c9a6-e07b-4de5-8682-ac3f5c875595" providerId="AD" clId="Web-{62F7C1AC-560B-4F14-834B-E6A35D4B52E1}" dt="2021-07-12T12:06:13.431" v="58" actId="20577"/>
          <ac:spMkLst>
            <pc:docMk/>
            <pc:sldMk cId="2407685793" sldId="8775"/>
            <ac:spMk id="5" creationId="{5BC0E948-6F66-4F47-BA40-6C553B9AB1E4}"/>
          </ac:spMkLst>
        </pc:spChg>
      </pc:sldChg>
      <pc:sldChg chg="addSp delSp">
        <pc:chgData name="Jivrajani, Dharini" userId="S::djivrajani@deloitte.com::9f28c9a6-e07b-4de5-8682-ac3f5c875595" providerId="AD" clId="Web-{62F7C1AC-560B-4F14-834B-E6A35D4B52E1}" dt="2021-07-12T11:44:22.348" v="6"/>
        <pc:sldMkLst>
          <pc:docMk/>
          <pc:sldMk cId="2797225936" sldId="8974"/>
        </pc:sldMkLst>
        <pc:picChg chg="add del">
          <ac:chgData name="Jivrajani, Dharini" userId="S::djivrajani@deloitte.com::9f28c9a6-e07b-4de5-8682-ac3f5c875595" providerId="AD" clId="Web-{62F7C1AC-560B-4F14-834B-E6A35D4B52E1}" dt="2021-07-12T11:44:22.348" v="6"/>
          <ac:picMkLst>
            <pc:docMk/>
            <pc:sldMk cId="2797225936" sldId="8974"/>
            <ac:picMk id="3" creationId="{EA73166E-50CA-804E-954A-042CE692742E}"/>
          </ac:picMkLst>
        </pc:picChg>
      </pc:sldChg>
      <pc:sldChg chg="addSp delSp del">
        <pc:chgData name="Jivrajani, Dharini" userId="S::djivrajani@deloitte.com::9f28c9a6-e07b-4de5-8682-ac3f5c875595" providerId="AD" clId="Web-{62F7C1AC-560B-4F14-834B-E6A35D4B52E1}" dt="2021-07-12T11:44:05.519" v="4"/>
        <pc:sldMkLst>
          <pc:docMk/>
          <pc:sldMk cId="2669552592" sldId="9027"/>
        </pc:sldMkLst>
        <pc:spChg chg="del">
          <ac:chgData name="Jivrajani, Dharini" userId="S::djivrajani@deloitte.com::9f28c9a6-e07b-4de5-8682-ac3f5c875595" providerId="AD" clId="Web-{62F7C1AC-560B-4F14-834B-E6A35D4B52E1}" dt="2021-07-12T11:43:38.519" v="0"/>
          <ac:spMkLst>
            <pc:docMk/>
            <pc:sldMk cId="2669552592" sldId="9027"/>
            <ac:spMk id="3" creationId="{D42CFBB1-D039-4D96-A24A-12DFA976ECCE}"/>
          </ac:spMkLst>
        </pc:spChg>
        <pc:spChg chg="del">
          <ac:chgData name="Jivrajani, Dharini" userId="S::djivrajani@deloitte.com::9f28c9a6-e07b-4de5-8682-ac3f5c875595" providerId="AD" clId="Web-{62F7C1AC-560B-4F14-834B-E6A35D4B52E1}" dt="2021-07-12T11:44:01.644" v="3"/>
          <ac:spMkLst>
            <pc:docMk/>
            <pc:sldMk cId="2669552592" sldId="9027"/>
            <ac:spMk id="4" creationId="{1F21A1A3-6CED-4570-90BE-BBEF43763459}"/>
          </ac:spMkLst>
        </pc:spChg>
        <pc:picChg chg="add del">
          <ac:chgData name="Jivrajani, Dharini" userId="S::djivrajani@deloitte.com::9f28c9a6-e07b-4de5-8682-ac3f5c875595" providerId="AD" clId="Web-{62F7C1AC-560B-4F14-834B-E6A35D4B52E1}" dt="2021-07-12T11:43:50.675" v="2"/>
          <ac:picMkLst>
            <pc:docMk/>
            <pc:sldMk cId="2669552592" sldId="9027"/>
            <ac:picMk id="5" creationId="{6F684850-714F-43B7-B05D-F816F89CEDB5}"/>
          </ac:picMkLst>
        </pc:picChg>
      </pc:sldChg>
      <pc:sldChg chg="modSp">
        <pc:chgData name="Jivrajani, Dharini" userId="S::djivrajani@deloitte.com::9f28c9a6-e07b-4de5-8682-ac3f5c875595" providerId="AD" clId="Web-{62F7C1AC-560B-4F14-834B-E6A35D4B52E1}" dt="2021-07-12T12:04:17.896" v="45" actId="20577"/>
        <pc:sldMkLst>
          <pc:docMk/>
          <pc:sldMk cId="633251387" sldId="9036"/>
        </pc:sldMkLst>
        <pc:spChg chg="mod">
          <ac:chgData name="Jivrajani, Dharini" userId="S::djivrajani@deloitte.com::9f28c9a6-e07b-4de5-8682-ac3f5c875595" providerId="AD" clId="Web-{62F7C1AC-560B-4F14-834B-E6A35D4B52E1}" dt="2021-07-12T12:04:17.896" v="45" actId="20577"/>
          <ac:spMkLst>
            <pc:docMk/>
            <pc:sldMk cId="633251387" sldId="9036"/>
            <ac:spMk id="19" creationId="{7111F526-39E7-4973-AD26-42B4A4C98B3D}"/>
          </ac:spMkLst>
        </pc:spChg>
      </pc:sldChg>
      <pc:sldChg chg="modSp">
        <pc:chgData name="Jivrajani, Dharini" userId="S::djivrajani@deloitte.com::9f28c9a6-e07b-4de5-8682-ac3f5c875595" providerId="AD" clId="Web-{62F7C1AC-560B-4F14-834B-E6A35D4B52E1}" dt="2021-07-12T11:49:31.044" v="26" actId="20577"/>
        <pc:sldMkLst>
          <pc:docMk/>
          <pc:sldMk cId="302263831" sldId="9048"/>
        </pc:sldMkLst>
        <pc:spChg chg="mod">
          <ac:chgData name="Jivrajani, Dharini" userId="S::djivrajani@deloitte.com::9f28c9a6-e07b-4de5-8682-ac3f5c875595" providerId="AD" clId="Web-{62F7C1AC-560B-4F14-834B-E6A35D4B52E1}" dt="2021-07-12T11:48:14.854" v="18" actId="20577"/>
          <ac:spMkLst>
            <pc:docMk/>
            <pc:sldMk cId="302263831" sldId="9048"/>
            <ac:spMk id="14" creationId="{A29AD221-CF2A-4E37-B85D-5E741C5C69E6}"/>
          </ac:spMkLst>
        </pc:spChg>
        <pc:spChg chg="mod">
          <ac:chgData name="Jivrajani, Dharini" userId="S::djivrajani@deloitte.com::9f28c9a6-e07b-4de5-8682-ac3f5c875595" providerId="AD" clId="Web-{62F7C1AC-560B-4F14-834B-E6A35D4B52E1}" dt="2021-07-12T11:49:31.044" v="26" actId="20577"/>
          <ac:spMkLst>
            <pc:docMk/>
            <pc:sldMk cId="302263831" sldId="9048"/>
            <ac:spMk id="15" creationId="{2B44DC9A-1DE4-4B24-8493-D9073A6B5DAE}"/>
          </ac:spMkLst>
        </pc:spChg>
        <pc:spChg chg="mod">
          <ac:chgData name="Jivrajani, Dharini" userId="S::djivrajani@deloitte.com::9f28c9a6-e07b-4de5-8682-ac3f5c875595" providerId="AD" clId="Web-{62F7C1AC-560B-4F14-834B-E6A35D4B52E1}" dt="2021-07-12T11:48:45.386" v="24" actId="20577"/>
          <ac:spMkLst>
            <pc:docMk/>
            <pc:sldMk cId="302263831" sldId="9048"/>
            <ac:spMk id="17" creationId="{3FAEEAA9-008B-43F6-BAE2-39F36A6706FE}"/>
          </ac:spMkLst>
        </pc:spChg>
      </pc:sldChg>
      <pc:sldChg chg="modSp">
        <pc:chgData name="Jivrajani, Dharini" userId="S::djivrajani@deloitte.com::9f28c9a6-e07b-4de5-8682-ac3f5c875595" providerId="AD" clId="Web-{62F7C1AC-560B-4F14-834B-E6A35D4B52E1}" dt="2021-07-12T12:03:13.394" v="34"/>
        <pc:sldMkLst>
          <pc:docMk/>
          <pc:sldMk cId="2269658214" sldId="9063"/>
        </pc:sldMkLst>
        <pc:graphicFrameChg chg="mod modGraphic">
          <ac:chgData name="Jivrajani, Dharini" userId="S::djivrajani@deloitte.com::9f28c9a6-e07b-4de5-8682-ac3f5c875595" providerId="AD" clId="Web-{62F7C1AC-560B-4F14-834B-E6A35D4B52E1}" dt="2021-07-12T12:03:13.394" v="34"/>
          <ac:graphicFrameMkLst>
            <pc:docMk/>
            <pc:sldMk cId="2269658214" sldId="9063"/>
            <ac:graphicFrameMk id="2" creationId="{7D8F2493-A0C4-4740-A16F-E066BC79CDD8}"/>
          </ac:graphicFrameMkLst>
        </pc:graphicFrameChg>
      </pc:sldChg>
    </pc:docChg>
  </pc:docChgLst>
  <pc:docChgLst>
    <pc:chgData name="Eng, Debbie" userId="286d73c1-a15a-4753-a336-00ed9074670a" providerId="ADAL" clId="{E5E8516C-3DA2-4A2A-A286-A94BB658C174}"/>
    <pc:docChg chg="undo custSel modSld">
      <pc:chgData name="Eng, Debbie" userId="286d73c1-a15a-4753-a336-00ed9074670a" providerId="ADAL" clId="{E5E8516C-3DA2-4A2A-A286-A94BB658C174}" dt="2021-03-22T17:41:24.816" v="627" actId="20577"/>
      <pc:docMkLst>
        <pc:docMk/>
      </pc:docMkLst>
      <pc:sldChg chg="modSp">
        <pc:chgData name="Eng, Debbie" userId="286d73c1-a15a-4753-a336-00ed9074670a" providerId="ADAL" clId="{E5E8516C-3DA2-4A2A-A286-A94BB658C174}" dt="2021-03-22T17:41:13.598" v="619" actId="20577"/>
        <pc:sldMkLst>
          <pc:docMk/>
          <pc:sldMk cId="1078693895" sldId="268"/>
        </pc:sldMkLst>
        <pc:spChg chg="mod">
          <ac:chgData name="Eng, Debbie" userId="286d73c1-a15a-4753-a336-00ed9074670a" providerId="ADAL" clId="{E5E8516C-3DA2-4A2A-A286-A94BB658C174}" dt="2021-03-22T17:41:13.598" v="619" actId="20577"/>
          <ac:spMkLst>
            <pc:docMk/>
            <pc:sldMk cId="1078693895" sldId="268"/>
            <ac:spMk id="20" creationId="{97F95232-FAF7-4FBD-A394-067DD3DBBE84}"/>
          </ac:spMkLst>
        </pc:spChg>
        <pc:spChg chg="mod">
          <ac:chgData name="Eng, Debbie" userId="286d73c1-a15a-4753-a336-00ed9074670a" providerId="ADAL" clId="{E5E8516C-3DA2-4A2A-A286-A94BB658C174}" dt="2021-03-18T16:19:13.203" v="292"/>
          <ac:spMkLst>
            <pc:docMk/>
            <pc:sldMk cId="1078693895" sldId="268"/>
            <ac:spMk id="22" creationId="{E4EEB0BB-CEA4-435D-930A-B95795FCC5A9}"/>
          </ac:spMkLst>
        </pc:spChg>
      </pc:sldChg>
      <pc:sldChg chg="addSp delSp modSp">
        <pc:chgData name="Eng, Debbie" userId="286d73c1-a15a-4753-a336-00ed9074670a" providerId="ADAL" clId="{E5E8516C-3DA2-4A2A-A286-A94BB658C174}" dt="2021-03-18T18:22:30.806" v="543" actId="20577"/>
        <pc:sldMkLst>
          <pc:docMk/>
          <pc:sldMk cId="2803360750" sldId="271"/>
        </pc:sldMkLst>
        <pc:spChg chg="add mod">
          <ac:chgData name="Eng, Debbie" userId="286d73c1-a15a-4753-a336-00ed9074670a" providerId="ADAL" clId="{E5E8516C-3DA2-4A2A-A286-A94BB658C174}" dt="2021-03-18T18:22:30.806" v="543" actId="20577"/>
          <ac:spMkLst>
            <pc:docMk/>
            <pc:sldMk cId="2803360750" sldId="271"/>
            <ac:spMk id="9" creationId="{3A2B0C01-82A4-4B64-8162-76528B850FFA}"/>
          </ac:spMkLst>
        </pc:spChg>
        <pc:picChg chg="add mod">
          <ac:chgData name="Eng, Debbie" userId="286d73c1-a15a-4753-a336-00ed9074670a" providerId="ADAL" clId="{E5E8516C-3DA2-4A2A-A286-A94BB658C174}" dt="2021-03-18T18:21:35.402" v="502" actId="1076"/>
          <ac:picMkLst>
            <pc:docMk/>
            <pc:sldMk cId="2803360750" sldId="271"/>
            <ac:picMk id="7" creationId="{C323880D-DA38-41EA-AE94-DEE5D6FF306E}"/>
          </ac:picMkLst>
        </pc:picChg>
        <pc:picChg chg="add del">
          <ac:chgData name="Eng, Debbie" userId="286d73c1-a15a-4753-a336-00ed9074670a" providerId="ADAL" clId="{E5E8516C-3DA2-4A2A-A286-A94BB658C174}" dt="2021-03-18T18:21:47.629" v="504"/>
          <ac:picMkLst>
            <pc:docMk/>
            <pc:sldMk cId="2803360750" sldId="271"/>
            <ac:picMk id="8" creationId="{1E3B3D12-A264-4E83-AC01-D64B06296DC5}"/>
          </ac:picMkLst>
        </pc:picChg>
      </pc:sldChg>
      <pc:sldChg chg="modSp">
        <pc:chgData name="Eng, Debbie" userId="286d73c1-a15a-4753-a336-00ed9074670a" providerId="ADAL" clId="{E5E8516C-3DA2-4A2A-A286-A94BB658C174}" dt="2021-03-18T16:16:23.318" v="291" actId="20577"/>
        <pc:sldMkLst>
          <pc:docMk/>
          <pc:sldMk cId="1369081146" sldId="8773"/>
        </pc:sldMkLst>
        <pc:graphicFrameChg chg="modGraphic">
          <ac:chgData name="Eng, Debbie" userId="286d73c1-a15a-4753-a336-00ed9074670a" providerId="ADAL" clId="{E5E8516C-3DA2-4A2A-A286-A94BB658C174}" dt="2021-03-18T16:16:23.318" v="291" actId="20577"/>
          <ac:graphicFrameMkLst>
            <pc:docMk/>
            <pc:sldMk cId="1369081146" sldId="8773"/>
            <ac:graphicFrameMk id="4" creationId="{2AAAC88F-F4B4-4FE3-956E-C3F806D71324}"/>
          </ac:graphicFrameMkLst>
        </pc:graphicFrameChg>
      </pc:sldChg>
      <pc:sldChg chg="modSp">
        <pc:chgData name="Eng, Debbie" userId="286d73c1-a15a-4753-a336-00ed9074670a" providerId="ADAL" clId="{E5E8516C-3DA2-4A2A-A286-A94BB658C174}" dt="2021-03-22T13:09:07.441" v="567" actId="20577"/>
        <pc:sldMkLst>
          <pc:docMk/>
          <pc:sldMk cId="3491360341" sldId="8786"/>
        </pc:sldMkLst>
        <pc:graphicFrameChg chg="modGraphic">
          <ac:chgData name="Eng, Debbie" userId="286d73c1-a15a-4753-a336-00ed9074670a" providerId="ADAL" clId="{E5E8516C-3DA2-4A2A-A286-A94BB658C174}" dt="2021-03-22T13:09:07.441" v="567" actId="20577"/>
          <ac:graphicFrameMkLst>
            <pc:docMk/>
            <pc:sldMk cId="3491360341" sldId="8786"/>
            <ac:graphicFrameMk id="4" creationId="{FE664A44-2B52-48E1-842B-86373307A2AD}"/>
          </ac:graphicFrameMkLst>
        </pc:graphicFrameChg>
      </pc:sldChg>
      <pc:sldChg chg="modSp">
        <pc:chgData name="Eng, Debbie" userId="286d73c1-a15a-4753-a336-00ed9074670a" providerId="ADAL" clId="{E5E8516C-3DA2-4A2A-A286-A94BB658C174}" dt="2021-03-22T17:41:24.816" v="627" actId="20577"/>
        <pc:sldMkLst>
          <pc:docMk/>
          <pc:sldMk cId="847777020" sldId="8791"/>
        </pc:sldMkLst>
        <pc:spChg chg="mod">
          <ac:chgData name="Eng, Debbie" userId="286d73c1-a15a-4753-a336-00ed9074670a" providerId="ADAL" clId="{E5E8516C-3DA2-4A2A-A286-A94BB658C174}" dt="2021-03-18T17:15:13.542" v="331" actId="1076"/>
          <ac:spMkLst>
            <pc:docMk/>
            <pc:sldMk cId="847777020" sldId="8791"/>
            <ac:spMk id="5" creationId="{177263DA-30B8-4B43-A64D-715B93D231FB}"/>
          </ac:spMkLst>
        </pc:spChg>
        <pc:spChg chg="mod">
          <ac:chgData name="Eng, Debbie" userId="286d73c1-a15a-4753-a336-00ed9074670a" providerId="ADAL" clId="{E5E8516C-3DA2-4A2A-A286-A94BB658C174}" dt="2021-03-18T16:14:21.801" v="284" actId="20577"/>
          <ac:spMkLst>
            <pc:docMk/>
            <pc:sldMk cId="847777020" sldId="8791"/>
            <ac:spMk id="6" creationId="{3A1B4E52-1783-4186-9061-FBE7AEA94430}"/>
          </ac:spMkLst>
        </pc:spChg>
        <pc:graphicFrameChg chg="mod modGraphic">
          <ac:chgData name="Eng, Debbie" userId="286d73c1-a15a-4753-a336-00ed9074670a" providerId="ADAL" clId="{E5E8516C-3DA2-4A2A-A286-A94BB658C174}" dt="2021-03-22T17:41:24.816" v="627" actId="20577"/>
          <ac:graphicFrameMkLst>
            <pc:docMk/>
            <pc:sldMk cId="847777020" sldId="8791"/>
            <ac:graphicFrameMk id="2" creationId="{047A132D-3FAE-48C5-BD5F-C01213AAD2F4}"/>
          </ac:graphicFrameMkLst>
        </pc:graphicFrameChg>
      </pc:sldChg>
      <pc:sldChg chg="modSp">
        <pc:chgData name="Eng, Debbie" userId="286d73c1-a15a-4753-a336-00ed9074670a" providerId="ADAL" clId="{E5E8516C-3DA2-4A2A-A286-A94BB658C174}" dt="2021-03-18T17:24:44.663" v="500" actId="20577"/>
        <pc:sldMkLst>
          <pc:docMk/>
          <pc:sldMk cId="1686814665" sldId="9034"/>
        </pc:sldMkLst>
        <pc:spChg chg="mod">
          <ac:chgData name="Eng, Debbie" userId="286d73c1-a15a-4753-a336-00ed9074670a" providerId="ADAL" clId="{E5E8516C-3DA2-4A2A-A286-A94BB658C174}" dt="2021-03-18T17:24:19.534" v="492" actId="20577"/>
          <ac:spMkLst>
            <pc:docMk/>
            <pc:sldMk cId="1686814665" sldId="9034"/>
            <ac:spMk id="13" creationId="{900D62B6-90C9-4A98-BD85-D27F78539001}"/>
          </ac:spMkLst>
        </pc:spChg>
        <pc:spChg chg="mod">
          <ac:chgData name="Eng, Debbie" userId="286d73c1-a15a-4753-a336-00ed9074670a" providerId="ADAL" clId="{E5E8516C-3DA2-4A2A-A286-A94BB658C174}" dt="2021-03-18T17:24:44.663" v="500" actId="20577"/>
          <ac:spMkLst>
            <pc:docMk/>
            <pc:sldMk cId="1686814665" sldId="9034"/>
            <ac:spMk id="14" creationId="{4429595C-361E-4574-9F33-3FE856B88F5B}"/>
          </ac:spMkLst>
        </pc:spChg>
      </pc:sldChg>
    </pc:docChg>
  </pc:docChgLst>
  <pc:docChgLst>
    <pc:chgData name="Ghosh, Anindya" userId="S::anighosh@deloitte.com::1c8636f3-f28e-411c-9bbf-d78a395a60f5" providerId="AD" clId="Web-{1C223509-A24E-48A7-9D90-FA6A0D167311}"/>
    <pc:docChg chg="modSld">
      <pc:chgData name="Ghosh, Anindya" userId="S::anighosh@deloitte.com::1c8636f3-f28e-411c-9bbf-d78a395a60f5" providerId="AD" clId="Web-{1C223509-A24E-48A7-9D90-FA6A0D167311}" dt="2021-07-08T15:16:43.033" v="57" actId="20577"/>
      <pc:docMkLst>
        <pc:docMk/>
      </pc:docMkLst>
      <pc:sldChg chg="modSp">
        <pc:chgData name="Ghosh, Anindya" userId="S::anighosh@deloitte.com::1c8636f3-f28e-411c-9bbf-d78a395a60f5" providerId="AD" clId="Web-{1C223509-A24E-48A7-9D90-FA6A0D167311}" dt="2021-07-08T15:16:43.033" v="57" actId="20577"/>
        <pc:sldMkLst>
          <pc:docMk/>
          <pc:sldMk cId="4169581344" sldId="8798"/>
        </pc:sldMkLst>
        <pc:spChg chg="mod">
          <ac:chgData name="Ghosh, Anindya" userId="S::anighosh@deloitte.com::1c8636f3-f28e-411c-9bbf-d78a395a60f5" providerId="AD" clId="Web-{1C223509-A24E-48A7-9D90-FA6A0D167311}" dt="2021-07-08T15:11:05.111" v="45" actId="20577"/>
          <ac:spMkLst>
            <pc:docMk/>
            <pc:sldMk cId="4169581344" sldId="8798"/>
            <ac:spMk id="3" creationId="{BCEB1B60-2A70-48F8-B225-997AF7F15017}"/>
          </ac:spMkLst>
        </pc:spChg>
        <pc:spChg chg="mod">
          <ac:chgData name="Ghosh, Anindya" userId="S::anighosh@deloitte.com::1c8636f3-f28e-411c-9bbf-d78a395a60f5" providerId="AD" clId="Web-{1C223509-A24E-48A7-9D90-FA6A0D167311}" dt="2021-07-08T15:16:43.033" v="57" actId="20577"/>
          <ac:spMkLst>
            <pc:docMk/>
            <pc:sldMk cId="4169581344" sldId="8798"/>
            <ac:spMk id="8" creationId="{71212121-086E-4BFC-AAF6-26CCEC0960A9}"/>
          </ac:spMkLst>
        </pc:spChg>
        <pc:spChg chg="mod">
          <ac:chgData name="Ghosh, Anindya" userId="S::anighosh@deloitte.com::1c8636f3-f28e-411c-9bbf-d78a395a60f5" providerId="AD" clId="Web-{1C223509-A24E-48A7-9D90-FA6A0D167311}" dt="2021-07-08T15:11:10.220" v="46" actId="1076"/>
          <ac:spMkLst>
            <pc:docMk/>
            <pc:sldMk cId="4169581344" sldId="8798"/>
            <ac:spMk id="10" creationId="{216C39D2-8C6A-49A9-B1CB-50DC4A5CF567}"/>
          </ac:spMkLst>
        </pc:spChg>
      </pc:sldChg>
    </pc:docChg>
  </pc:docChgLst>
  <pc:docChgLst>
    <pc:chgData name="Prakash, Ankur" userId="S::anprakash@deloitte.com::e5ec4ef6-a8ef-421f-ae1a-afd967453ffe" providerId="AD" clId="Web-{6B9DBB7B-EE37-43CA-9696-C710EAF1A5AB}"/>
    <pc:docChg chg="modSld">
      <pc:chgData name="Prakash, Ankur" userId="S::anprakash@deloitte.com::e5ec4ef6-a8ef-421f-ae1a-afd967453ffe" providerId="AD" clId="Web-{6B9DBB7B-EE37-43CA-9696-C710EAF1A5AB}" dt="2020-07-09T11:35:46.026" v="27" actId="1076"/>
      <pc:docMkLst>
        <pc:docMk/>
      </pc:docMkLst>
      <pc:sldChg chg="modSp">
        <pc:chgData name="Prakash, Ankur" userId="S::anprakash@deloitte.com::e5ec4ef6-a8ef-421f-ae1a-afd967453ffe" providerId="AD" clId="Web-{6B9DBB7B-EE37-43CA-9696-C710EAF1A5AB}" dt="2020-07-09T11:30:27.837" v="22" actId="20577"/>
        <pc:sldMkLst>
          <pc:docMk/>
          <pc:sldMk cId="3661564267" sldId="257"/>
        </pc:sldMkLst>
        <pc:spChg chg="mod">
          <ac:chgData name="Prakash, Ankur" userId="S::anprakash@deloitte.com::e5ec4ef6-a8ef-421f-ae1a-afd967453ffe" providerId="AD" clId="Web-{6B9DBB7B-EE37-43CA-9696-C710EAF1A5AB}" dt="2020-07-09T11:30:27.837" v="22" actId="20577"/>
          <ac:spMkLst>
            <pc:docMk/>
            <pc:sldMk cId="3661564267" sldId="257"/>
            <ac:spMk id="4" creationId="{00000000-0000-0000-0000-000000000000}"/>
          </ac:spMkLst>
        </pc:spChg>
      </pc:sldChg>
      <pc:sldChg chg="modSp">
        <pc:chgData name="Prakash, Ankur" userId="S::anprakash@deloitte.com::e5ec4ef6-a8ef-421f-ae1a-afd967453ffe" providerId="AD" clId="Web-{6B9DBB7B-EE37-43CA-9696-C710EAF1A5AB}" dt="2020-07-09T11:35:29.635" v="25" actId="1076"/>
        <pc:sldMkLst>
          <pc:docMk/>
          <pc:sldMk cId="378404546" sldId="451"/>
        </pc:sldMkLst>
        <pc:spChg chg="mod">
          <ac:chgData name="Prakash, Ankur" userId="S::anprakash@deloitte.com::e5ec4ef6-a8ef-421f-ae1a-afd967453ffe" providerId="AD" clId="Web-{6B9DBB7B-EE37-43CA-9696-C710EAF1A5AB}" dt="2020-07-09T11:35:29.635" v="25" actId="1076"/>
          <ac:spMkLst>
            <pc:docMk/>
            <pc:sldMk cId="378404546" sldId="451"/>
            <ac:spMk id="2" creationId="{00000000-0000-0000-0000-000000000000}"/>
          </ac:spMkLst>
        </pc:spChg>
        <pc:spChg chg="mod">
          <ac:chgData name="Prakash, Ankur" userId="S::anprakash@deloitte.com::e5ec4ef6-a8ef-421f-ae1a-afd967453ffe" providerId="AD" clId="Web-{6B9DBB7B-EE37-43CA-9696-C710EAF1A5AB}" dt="2020-07-09T11:35:24.651" v="24" actId="1076"/>
          <ac:spMkLst>
            <pc:docMk/>
            <pc:sldMk cId="378404546" sldId="451"/>
            <ac:spMk id="3" creationId="{00000000-0000-0000-0000-000000000000}"/>
          </ac:spMkLst>
        </pc:spChg>
      </pc:sldChg>
      <pc:sldChg chg="modSp">
        <pc:chgData name="Prakash, Ankur" userId="S::anprakash@deloitte.com::e5ec4ef6-a8ef-421f-ae1a-afd967453ffe" providerId="AD" clId="Web-{6B9DBB7B-EE37-43CA-9696-C710EAF1A5AB}" dt="2020-07-09T11:35:46.026" v="27" actId="1076"/>
        <pc:sldMkLst>
          <pc:docMk/>
          <pc:sldMk cId="351411677" sldId="458"/>
        </pc:sldMkLst>
        <pc:spChg chg="mod">
          <ac:chgData name="Prakash, Ankur" userId="S::anprakash@deloitte.com::e5ec4ef6-a8ef-421f-ae1a-afd967453ffe" providerId="AD" clId="Web-{6B9DBB7B-EE37-43CA-9696-C710EAF1A5AB}" dt="2020-07-09T11:35:46.026" v="27" actId="1076"/>
          <ac:spMkLst>
            <pc:docMk/>
            <pc:sldMk cId="351411677" sldId="458"/>
            <ac:spMk id="2" creationId="{00000000-0000-0000-0000-000000000000}"/>
          </ac:spMkLst>
        </pc:spChg>
        <pc:spChg chg="mod">
          <ac:chgData name="Prakash, Ankur" userId="S::anprakash@deloitte.com::e5ec4ef6-a8ef-421f-ae1a-afd967453ffe" providerId="AD" clId="Web-{6B9DBB7B-EE37-43CA-9696-C710EAF1A5AB}" dt="2020-07-09T11:35:42.666" v="26" actId="1076"/>
          <ac:spMkLst>
            <pc:docMk/>
            <pc:sldMk cId="351411677" sldId="458"/>
            <ac:spMk id="3" creationId="{00000000-0000-0000-0000-000000000000}"/>
          </ac:spMkLst>
        </pc:spChg>
      </pc:sldChg>
    </pc:docChg>
  </pc:docChgLst>
  <pc:docChgLst>
    <pc:chgData name="Jivrajani, Dharini" userId="9f28c9a6-e07b-4de5-8682-ac3f5c875595" providerId="ADAL" clId="{64F78168-BAD1-48BB-B1E6-DD23DB408FAF}"/>
    <pc:docChg chg="undo custSel modSld">
      <pc:chgData name="Jivrajani, Dharini" userId="9f28c9a6-e07b-4de5-8682-ac3f5c875595" providerId="ADAL" clId="{64F78168-BAD1-48BB-B1E6-DD23DB408FAF}" dt="2021-06-28T11:32:01.654" v="826" actId="20577"/>
      <pc:docMkLst>
        <pc:docMk/>
      </pc:docMkLst>
      <pc:sldChg chg="addSp modSp mod">
        <pc:chgData name="Jivrajani, Dharini" userId="9f28c9a6-e07b-4de5-8682-ac3f5c875595" providerId="ADAL" clId="{64F78168-BAD1-48BB-B1E6-DD23DB408FAF}" dt="2021-06-28T11:13:38.830" v="706" actId="1076"/>
        <pc:sldMkLst>
          <pc:docMk/>
          <pc:sldMk cId="636999727" sldId="256"/>
        </pc:sldMkLst>
        <pc:spChg chg="add mod">
          <ac:chgData name="Jivrajani, Dharini" userId="9f28c9a6-e07b-4de5-8682-ac3f5c875595" providerId="ADAL" clId="{64F78168-BAD1-48BB-B1E6-DD23DB408FAF}" dt="2021-06-28T11:13:38.830" v="706" actId="1076"/>
          <ac:spMkLst>
            <pc:docMk/>
            <pc:sldMk cId="636999727" sldId="256"/>
            <ac:spMk id="7" creationId="{89B7F33D-FFA1-4D0B-8368-43049242856F}"/>
          </ac:spMkLst>
        </pc:spChg>
      </pc:sldChg>
      <pc:sldChg chg="addSp modSp mod">
        <pc:chgData name="Jivrajani, Dharini" userId="9f28c9a6-e07b-4de5-8682-ac3f5c875595" providerId="ADAL" clId="{64F78168-BAD1-48BB-B1E6-DD23DB408FAF}" dt="2021-06-28T11:09:13.095" v="476" actId="20577"/>
        <pc:sldMkLst>
          <pc:docMk/>
          <pc:sldMk cId="1078693895" sldId="268"/>
        </pc:sldMkLst>
        <pc:spChg chg="add mod">
          <ac:chgData name="Jivrajani, Dharini" userId="9f28c9a6-e07b-4de5-8682-ac3f5c875595" providerId="ADAL" clId="{64F78168-BAD1-48BB-B1E6-DD23DB408FAF}" dt="2021-06-28T11:09:13.095" v="476" actId="20577"/>
          <ac:spMkLst>
            <pc:docMk/>
            <pc:sldMk cId="1078693895" sldId="268"/>
            <ac:spMk id="8" creationId="{9C3F0425-3E6B-4AE1-A79F-5F24555AF6D0}"/>
          </ac:spMkLst>
        </pc:spChg>
      </pc:sldChg>
      <pc:sldChg chg="addSp delSp modSp">
        <pc:chgData name="Jivrajani, Dharini" userId="9f28c9a6-e07b-4de5-8682-ac3f5c875595" providerId="ADAL" clId="{64F78168-BAD1-48BB-B1E6-DD23DB408FAF}" dt="2021-06-28T11:11:44.374" v="550"/>
        <pc:sldMkLst>
          <pc:docMk/>
          <pc:sldMk cId="3756249856" sldId="398"/>
        </pc:sldMkLst>
        <pc:spChg chg="add del mod">
          <ac:chgData name="Jivrajani, Dharini" userId="9f28c9a6-e07b-4de5-8682-ac3f5c875595" providerId="ADAL" clId="{64F78168-BAD1-48BB-B1E6-DD23DB408FAF}" dt="2021-06-28T11:11:30.773" v="549"/>
          <ac:spMkLst>
            <pc:docMk/>
            <pc:sldMk cId="3756249856" sldId="398"/>
            <ac:spMk id="8" creationId="{5E5389F1-9F28-4126-BF2A-DD45177E6176}"/>
          </ac:spMkLst>
        </pc:spChg>
        <pc:spChg chg="add mod">
          <ac:chgData name="Jivrajani, Dharini" userId="9f28c9a6-e07b-4de5-8682-ac3f5c875595" providerId="ADAL" clId="{64F78168-BAD1-48BB-B1E6-DD23DB408FAF}" dt="2021-06-28T11:11:44.374" v="550"/>
          <ac:spMkLst>
            <pc:docMk/>
            <pc:sldMk cId="3756249856" sldId="398"/>
            <ac:spMk id="9" creationId="{BB95B3A2-8F4B-40F0-9F2C-D2556AD407D6}"/>
          </ac:spMkLst>
        </pc:spChg>
      </pc:sldChg>
      <pc:sldChg chg="addSp modSp mod">
        <pc:chgData name="Jivrajani, Dharini" userId="9f28c9a6-e07b-4de5-8682-ac3f5c875595" providerId="ADAL" clId="{64F78168-BAD1-48BB-B1E6-DD23DB408FAF}" dt="2021-06-28T11:14:17.609" v="755" actId="20577"/>
        <pc:sldMkLst>
          <pc:docMk/>
          <pc:sldMk cId="3007601309" sldId="442"/>
        </pc:sldMkLst>
        <pc:spChg chg="add mod">
          <ac:chgData name="Jivrajani, Dharini" userId="9f28c9a6-e07b-4de5-8682-ac3f5c875595" providerId="ADAL" clId="{64F78168-BAD1-48BB-B1E6-DD23DB408FAF}" dt="2021-06-28T11:14:17.609" v="755" actId="20577"/>
          <ac:spMkLst>
            <pc:docMk/>
            <pc:sldMk cId="3007601309" sldId="442"/>
            <ac:spMk id="7" creationId="{2E623CC9-D241-42DF-9F7C-3608CD532564}"/>
          </ac:spMkLst>
        </pc:spChg>
      </pc:sldChg>
      <pc:sldChg chg="addSp modSp mod">
        <pc:chgData name="Jivrajani, Dharini" userId="9f28c9a6-e07b-4de5-8682-ac3f5c875595" providerId="ADAL" clId="{64F78168-BAD1-48BB-B1E6-DD23DB408FAF}" dt="2021-06-28T11:14:24.400" v="766" actId="20577"/>
        <pc:sldMkLst>
          <pc:docMk/>
          <pc:sldMk cId="2286709491" sldId="443"/>
        </pc:sldMkLst>
        <pc:spChg chg="add mod">
          <ac:chgData name="Jivrajani, Dharini" userId="9f28c9a6-e07b-4de5-8682-ac3f5c875595" providerId="ADAL" clId="{64F78168-BAD1-48BB-B1E6-DD23DB408FAF}" dt="2021-06-28T11:14:24.400" v="766" actId="20577"/>
          <ac:spMkLst>
            <pc:docMk/>
            <pc:sldMk cId="2286709491" sldId="443"/>
            <ac:spMk id="41" creationId="{A7187061-34A7-4895-927C-DEB2F034C0F8}"/>
          </ac:spMkLst>
        </pc:spChg>
      </pc:sldChg>
      <pc:sldChg chg="addSp modSp mod">
        <pc:chgData name="Jivrajani, Dharini" userId="9f28c9a6-e07b-4de5-8682-ac3f5c875595" providerId="ADAL" clId="{64F78168-BAD1-48BB-B1E6-DD23DB408FAF}" dt="2021-06-28T11:14:31.644" v="777" actId="20577"/>
        <pc:sldMkLst>
          <pc:docMk/>
          <pc:sldMk cId="793120422" sldId="444"/>
        </pc:sldMkLst>
        <pc:spChg chg="add mod">
          <ac:chgData name="Jivrajani, Dharini" userId="9f28c9a6-e07b-4de5-8682-ac3f5c875595" providerId="ADAL" clId="{64F78168-BAD1-48BB-B1E6-DD23DB408FAF}" dt="2021-06-28T11:14:31.644" v="777" actId="20577"/>
          <ac:spMkLst>
            <pc:docMk/>
            <pc:sldMk cId="793120422" sldId="444"/>
            <ac:spMk id="5" creationId="{65E99BAC-81A0-4BE8-B7AD-DFD87A484AB9}"/>
          </ac:spMkLst>
        </pc:spChg>
      </pc:sldChg>
      <pc:sldChg chg="addSp modSp">
        <pc:chgData name="Jivrajani, Dharini" userId="9f28c9a6-e07b-4de5-8682-ac3f5c875595" providerId="ADAL" clId="{64F78168-BAD1-48BB-B1E6-DD23DB408FAF}" dt="2021-06-28T11:08:47.589" v="464"/>
        <pc:sldMkLst>
          <pc:docMk/>
          <pc:sldMk cId="2134256953" sldId="457"/>
        </pc:sldMkLst>
        <pc:spChg chg="add mod">
          <ac:chgData name="Jivrajani, Dharini" userId="9f28c9a6-e07b-4de5-8682-ac3f5c875595" providerId="ADAL" clId="{64F78168-BAD1-48BB-B1E6-DD23DB408FAF}" dt="2021-06-28T11:08:47.589" v="464"/>
          <ac:spMkLst>
            <pc:docMk/>
            <pc:sldMk cId="2134256953" sldId="457"/>
            <ac:spMk id="6" creationId="{C9039B4E-1BAF-4C29-80E9-E81CE470D8C1}"/>
          </ac:spMkLst>
        </pc:spChg>
      </pc:sldChg>
      <pc:sldChg chg="addSp modSp">
        <pc:chgData name="Jivrajani, Dharini" userId="9f28c9a6-e07b-4de5-8682-ac3f5c875595" providerId="ADAL" clId="{64F78168-BAD1-48BB-B1E6-DD23DB408FAF}" dt="2021-06-28T11:09:00.714" v="467"/>
        <pc:sldMkLst>
          <pc:docMk/>
          <pc:sldMk cId="2545999528" sldId="2078"/>
        </pc:sldMkLst>
        <pc:spChg chg="add mod">
          <ac:chgData name="Jivrajani, Dharini" userId="9f28c9a6-e07b-4de5-8682-ac3f5c875595" providerId="ADAL" clId="{64F78168-BAD1-48BB-B1E6-DD23DB408FAF}" dt="2021-06-28T11:09:00.714" v="467"/>
          <ac:spMkLst>
            <pc:docMk/>
            <pc:sldMk cId="2545999528" sldId="2078"/>
            <ac:spMk id="19" creationId="{E8100364-430E-4DB7-A80D-786478F68DEE}"/>
          </ac:spMkLst>
        </pc:spChg>
      </pc:sldChg>
      <pc:sldChg chg="addSp modSp mod">
        <pc:chgData name="Jivrajani, Dharini" userId="9f28c9a6-e07b-4de5-8682-ac3f5c875595" providerId="ADAL" clId="{64F78168-BAD1-48BB-B1E6-DD23DB408FAF}" dt="2021-06-28T11:15:09.818" v="813" actId="20577"/>
        <pc:sldMkLst>
          <pc:docMk/>
          <pc:sldMk cId="24609206" sldId="2104"/>
        </pc:sldMkLst>
        <pc:spChg chg="add mod">
          <ac:chgData name="Jivrajani, Dharini" userId="9f28c9a6-e07b-4de5-8682-ac3f5c875595" providerId="ADAL" clId="{64F78168-BAD1-48BB-B1E6-DD23DB408FAF}" dt="2021-06-28T11:15:09.818" v="813" actId="20577"/>
          <ac:spMkLst>
            <pc:docMk/>
            <pc:sldMk cId="24609206" sldId="2104"/>
            <ac:spMk id="7" creationId="{476719EC-B1DB-4732-BE02-19423A42D17D}"/>
          </ac:spMkLst>
        </pc:spChg>
      </pc:sldChg>
      <pc:sldChg chg="addSp modSp mod">
        <pc:chgData name="Jivrajani, Dharini" userId="9f28c9a6-e07b-4de5-8682-ac3f5c875595" providerId="ADAL" clId="{64F78168-BAD1-48BB-B1E6-DD23DB408FAF}" dt="2021-06-28T11:08:44.533" v="463" actId="1076"/>
        <pc:sldMkLst>
          <pc:docMk/>
          <pc:sldMk cId="1851280809" sldId="2427"/>
        </pc:sldMkLst>
        <pc:spChg chg="add mod">
          <ac:chgData name="Jivrajani, Dharini" userId="9f28c9a6-e07b-4de5-8682-ac3f5c875595" providerId="ADAL" clId="{64F78168-BAD1-48BB-B1E6-DD23DB408FAF}" dt="2021-06-28T11:08:44.533" v="463" actId="1076"/>
          <ac:spMkLst>
            <pc:docMk/>
            <pc:sldMk cId="1851280809" sldId="2427"/>
            <ac:spMk id="5" creationId="{59CF4A2C-7B38-43A8-B6CA-33B8BDE01941}"/>
          </ac:spMkLst>
        </pc:spChg>
        <pc:spChg chg="mod">
          <ac:chgData name="Jivrajani, Dharini" userId="9f28c9a6-e07b-4de5-8682-ac3f5c875595" providerId="ADAL" clId="{64F78168-BAD1-48BB-B1E6-DD23DB408FAF}" dt="2021-06-28T11:07:43.708" v="438" actId="20577"/>
          <ac:spMkLst>
            <pc:docMk/>
            <pc:sldMk cId="1851280809" sldId="2427"/>
            <ac:spMk id="11" creationId="{F32F14D0-C537-43F7-8089-0F1C5BFCE76C}"/>
          </ac:spMkLst>
        </pc:spChg>
      </pc:sldChg>
      <pc:sldChg chg="delSp modSp mod">
        <pc:chgData name="Jivrajani, Dharini" userId="9f28c9a6-e07b-4de5-8682-ac3f5c875595" providerId="ADAL" clId="{64F78168-BAD1-48BB-B1E6-DD23DB408FAF}" dt="2021-06-28T11:07:09.673" v="432" actId="14100"/>
        <pc:sldMkLst>
          <pc:docMk/>
          <pc:sldMk cId="3491360341" sldId="8786"/>
        </pc:sldMkLst>
        <pc:spChg chg="del mod">
          <ac:chgData name="Jivrajani, Dharini" userId="9f28c9a6-e07b-4de5-8682-ac3f5c875595" providerId="ADAL" clId="{64F78168-BAD1-48BB-B1E6-DD23DB408FAF}" dt="2021-06-28T11:07:05.160" v="431" actId="478"/>
          <ac:spMkLst>
            <pc:docMk/>
            <pc:sldMk cId="3491360341" sldId="8786"/>
            <ac:spMk id="5" creationId="{02DEB1AA-D738-40F6-A7DD-D454C53CCBCE}"/>
          </ac:spMkLst>
        </pc:spChg>
        <pc:spChg chg="mod">
          <ac:chgData name="Jivrajani, Dharini" userId="9f28c9a6-e07b-4de5-8682-ac3f5c875595" providerId="ADAL" clId="{64F78168-BAD1-48BB-B1E6-DD23DB408FAF}" dt="2021-06-28T11:06:54.306" v="428" actId="14100"/>
          <ac:spMkLst>
            <pc:docMk/>
            <pc:sldMk cId="3491360341" sldId="8786"/>
            <ac:spMk id="40" creationId="{121719F8-2A26-490B-BE98-0511C598856F}"/>
          </ac:spMkLst>
        </pc:spChg>
        <pc:spChg chg="del">
          <ac:chgData name="Jivrajani, Dharini" userId="9f28c9a6-e07b-4de5-8682-ac3f5c875595" providerId="ADAL" clId="{64F78168-BAD1-48BB-B1E6-DD23DB408FAF}" dt="2021-06-28T11:05:57.416" v="420" actId="478"/>
          <ac:spMkLst>
            <pc:docMk/>
            <pc:sldMk cId="3491360341" sldId="8786"/>
            <ac:spMk id="42" creationId="{50471594-1AF3-4C47-8266-E7625F004450}"/>
          </ac:spMkLst>
        </pc:spChg>
        <pc:grpChg chg="mod">
          <ac:chgData name="Jivrajani, Dharini" userId="9f28c9a6-e07b-4de5-8682-ac3f5c875595" providerId="ADAL" clId="{64F78168-BAD1-48BB-B1E6-DD23DB408FAF}" dt="2021-06-28T11:06:48.399" v="427" actId="1076"/>
          <ac:grpSpMkLst>
            <pc:docMk/>
            <pc:sldMk cId="3491360341" sldId="8786"/>
            <ac:grpSpMk id="6" creationId="{E07FABE6-2EC8-4D51-A59C-8476977608C6}"/>
          </ac:grpSpMkLst>
        </pc:grpChg>
        <pc:graphicFrameChg chg="mod modGraphic">
          <ac:chgData name="Jivrajani, Dharini" userId="9f28c9a6-e07b-4de5-8682-ac3f5c875595" providerId="ADAL" clId="{64F78168-BAD1-48BB-B1E6-DD23DB408FAF}" dt="2021-06-28T11:07:09.673" v="432" actId="14100"/>
          <ac:graphicFrameMkLst>
            <pc:docMk/>
            <pc:sldMk cId="3491360341" sldId="8786"/>
            <ac:graphicFrameMk id="4" creationId="{FE664A44-2B52-48E1-842B-86373307A2AD}"/>
          </ac:graphicFrameMkLst>
        </pc:graphicFrameChg>
        <pc:picChg chg="del">
          <ac:chgData name="Jivrajani, Dharini" userId="9f28c9a6-e07b-4de5-8682-ac3f5c875595" providerId="ADAL" clId="{64F78168-BAD1-48BB-B1E6-DD23DB408FAF}" dt="2021-06-28T11:06:59.631" v="429" actId="478"/>
          <ac:picMkLst>
            <pc:docMk/>
            <pc:sldMk cId="3491360341" sldId="8786"/>
            <ac:picMk id="43" creationId="{D42EB5C4-1D93-4CD3-A553-1ED3BBDFB70B}"/>
          </ac:picMkLst>
        </pc:picChg>
      </pc:sldChg>
      <pc:sldChg chg="addSp modSp mod">
        <pc:chgData name="Jivrajani, Dharini" userId="9f28c9a6-e07b-4de5-8682-ac3f5c875595" providerId="ADAL" clId="{64F78168-BAD1-48BB-B1E6-DD23DB408FAF}" dt="2021-06-28T11:10:15.805" v="485" actId="20577"/>
        <pc:sldMkLst>
          <pc:docMk/>
          <pc:sldMk cId="800771401" sldId="8787"/>
        </pc:sldMkLst>
        <pc:spChg chg="add mod">
          <ac:chgData name="Jivrajani, Dharini" userId="9f28c9a6-e07b-4de5-8682-ac3f5c875595" providerId="ADAL" clId="{64F78168-BAD1-48BB-B1E6-DD23DB408FAF}" dt="2021-06-28T11:10:15.805" v="485" actId="20577"/>
          <ac:spMkLst>
            <pc:docMk/>
            <pc:sldMk cId="800771401" sldId="8787"/>
            <ac:spMk id="4" creationId="{8D167E41-356D-496C-BAEC-04593EC17913}"/>
          </ac:spMkLst>
        </pc:spChg>
      </pc:sldChg>
      <pc:sldChg chg="addSp modSp mod">
        <pc:chgData name="Jivrajani, Dharini" userId="9f28c9a6-e07b-4de5-8682-ac3f5c875595" providerId="ADAL" clId="{64F78168-BAD1-48BB-B1E6-DD23DB408FAF}" dt="2021-06-28T11:10:48.739" v="518" actId="20577"/>
        <pc:sldMkLst>
          <pc:docMk/>
          <pc:sldMk cId="2246163936" sldId="8788"/>
        </pc:sldMkLst>
        <pc:spChg chg="add mod">
          <ac:chgData name="Jivrajani, Dharini" userId="9f28c9a6-e07b-4de5-8682-ac3f5c875595" providerId="ADAL" clId="{64F78168-BAD1-48BB-B1E6-DD23DB408FAF}" dt="2021-06-28T11:10:48.739" v="518" actId="20577"/>
          <ac:spMkLst>
            <pc:docMk/>
            <pc:sldMk cId="2246163936" sldId="8788"/>
            <ac:spMk id="5" creationId="{9ECF369E-8279-4FEE-BB0D-51136CBDCDB7}"/>
          </ac:spMkLst>
        </pc:spChg>
      </pc:sldChg>
      <pc:sldChg chg="addSp modSp mod">
        <pc:chgData name="Jivrajani, Dharini" userId="9f28c9a6-e07b-4de5-8682-ac3f5c875595" providerId="ADAL" clId="{64F78168-BAD1-48BB-B1E6-DD23DB408FAF}" dt="2021-06-28T11:11:14.459" v="542" actId="20577"/>
        <pc:sldMkLst>
          <pc:docMk/>
          <pc:sldMk cId="847777020" sldId="8791"/>
        </pc:sldMkLst>
        <pc:spChg chg="add mod">
          <ac:chgData name="Jivrajani, Dharini" userId="9f28c9a6-e07b-4de5-8682-ac3f5c875595" providerId="ADAL" clId="{64F78168-BAD1-48BB-B1E6-DD23DB408FAF}" dt="2021-06-28T11:11:14.459" v="542" actId="20577"/>
          <ac:spMkLst>
            <pc:docMk/>
            <pc:sldMk cId="847777020" sldId="8791"/>
            <ac:spMk id="4" creationId="{2956E5C3-5937-43E8-8A96-5606BB4B6A36}"/>
          </ac:spMkLst>
        </pc:spChg>
      </pc:sldChg>
      <pc:sldChg chg="addSp modSp mod">
        <pc:chgData name="Jivrajani, Dharini" userId="9f28c9a6-e07b-4de5-8682-ac3f5c875595" providerId="ADAL" clId="{64F78168-BAD1-48BB-B1E6-DD23DB408FAF}" dt="2021-06-28T11:11:01.991" v="534" actId="20577"/>
        <pc:sldMkLst>
          <pc:docMk/>
          <pc:sldMk cId="1867916483" sldId="8795"/>
        </pc:sldMkLst>
        <pc:spChg chg="add mod">
          <ac:chgData name="Jivrajani, Dharini" userId="9f28c9a6-e07b-4de5-8682-ac3f5c875595" providerId="ADAL" clId="{64F78168-BAD1-48BB-B1E6-DD23DB408FAF}" dt="2021-06-28T11:11:01.991" v="534" actId="20577"/>
          <ac:spMkLst>
            <pc:docMk/>
            <pc:sldMk cId="1867916483" sldId="8795"/>
            <ac:spMk id="5" creationId="{AF92CA7A-3777-4F0D-8B95-68EC43759E46}"/>
          </ac:spMkLst>
        </pc:spChg>
      </pc:sldChg>
      <pc:sldChg chg="addSp modSp mod">
        <pc:chgData name="Jivrajani, Dharini" userId="9f28c9a6-e07b-4de5-8682-ac3f5c875595" providerId="ADAL" clId="{64F78168-BAD1-48BB-B1E6-DD23DB408FAF}" dt="2021-06-28T11:32:01.654" v="826" actId="20577"/>
        <pc:sldMkLst>
          <pc:docMk/>
          <pc:sldMk cId="4169581344" sldId="8798"/>
        </pc:sldMkLst>
        <pc:spChg chg="add mod">
          <ac:chgData name="Jivrajani, Dharini" userId="9f28c9a6-e07b-4de5-8682-ac3f5c875595" providerId="ADAL" clId="{64F78168-BAD1-48BB-B1E6-DD23DB408FAF}" dt="2021-06-28T11:32:01.654" v="826" actId="20577"/>
          <ac:spMkLst>
            <pc:docMk/>
            <pc:sldMk cId="4169581344" sldId="8798"/>
            <ac:spMk id="5" creationId="{D7B203DC-82C0-4825-8C79-4C2B9DBACBA5}"/>
          </ac:spMkLst>
        </pc:spChg>
      </pc:sldChg>
      <pc:sldChg chg="addSp modSp mod">
        <pc:chgData name="Jivrajani, Dharini" userId="9f28c9a6-e07b-4de5-8682-ac3f5c875595" providerId="ADAL" clId="{64F78168-BAD1-48BB-B1E6-DD23DB408FAF}" dt="2021-06-28T11:13:56.964" v="725" actId="20577"/>
        <pc:sldMkLst>
          <pc:docMk/>
          <pc:sldMk cId="4099786269" sldId="8812"/>
        </pc:sldMkLst>
        <pc:spChg chg="add mod">
          <ac:chgData name="Jivrajani, Dharini" userId="9f28c9a6-e07b-4de5-8682-ac3f5c875595" providerId="ADAL" clId="{64F78168-BAD1-48BB-B1E6-DD23DB408FAF}" dt="2021-06-28T11:13:56.964" v="725" actId="20577"/>
          <ac:spMkLst>
            <pc:docMk/>
            <pc:sldMk cId="4099786269" sldId="8812"/>
            <ac:spMk id="6" creationId="{7387E7E7-F260-4B44-B38C-69D8397159B1}"/>
          </ac:spMkLst>
        </pc:spChg>
      </pc:sldChg>
      <pc:sldChg chg="modSp mod">
        <pc:chgData name="Jivrajani, Dharini" userId="9f28c9a6-e07b-4de5-8682-ac3f5c875595" providerId="ADAL" clId="{64F78168-BAD1-48BB-B1E6-DD23DB408FAF}" dt="2021-06-28T11:27:30.896" v="824" actId="20577"/>
        <pc:sldMkLst>
          <pc:docMk/>
          <pc:sldMk cId="960965317" sldId="8822"/>
        </pc:sldMkLst>
        <pc:spChg chg="mod">
          <ac:chgData name="Jivrajani, Dharini" userId="9f28c9a6-e07b-4de5-8682-ac3f5c875595" providerId="ADAL" clId="{64F78168-BAD1-48BB-B1E6-DD23DB408FAF}" dt="2021-06-28T11:27:30.896" v="824" actId="20577"/>
          <ac:spMkLst>
            <pc:docMk/>
            <pc:sldMk cId="960965317" sldId="8822"/>
            <ac:spMk id="2" creationId="{128AC169-3E22-4BE7-A66C-85FDCD0D9814}"/>
          </ac:spMkLst>
        </pc:spChg>
      </pc:sldChg>
      <pc:sldChg chg="addSp modSp">
        <pc:chgData name="Jivrajani, Dharini" userId="9f28c9a6-e07b-4de5-8682-ac3f5c875595" providerId="ADAL" clId="{64F78168-BAD1-48BB-B1E6-DD23DB408FAF}" dt="2021-06-28T11:11:52.631" v="553"/>
        <pc:sldMkLst>
          <pc:docMk/>
          <pc:sldMk cId="2138715199" sldId="8833"/>
        </pc:sldMkLst>
        <pc:spChg chg="add mod">
          <ac:chgData name="Jivrajani, Dharini" userId="9f28c9a6-e07b-4de5-8682-ac3f5c875595" providerId="ADAL" clId="{64F78168-BAD1-48BB-B1E6-DD23DB408FAF}" dt="2021-06-28T11:11:52.631" v="553"/>
          <ac:spMkLst>
            <pc:docMk/>
            <pc:sldMk cId="2138715199" sldId="8833"/>
            <ac:spMk id="5" creationId="{7707BA4E-3C38-44C4-B244-2CD400BFBB6B}"/>
          </ac:spMkLst>
        </pc:spChg>
      </pc:sldChg>
      <pc:sldChg chg="addSp modSp mod">
        <pc:chgData name="Jivrajani, Dharini" userId="9f28c9a6-e07b-4de5-8682-ac3f5c875595" providerId="ADAL" clId="{64F78168-BAD1-48BB-B1E6-DD23DB408FAF}" dt="2021-06-28T11:13:22.221" v="693" actId="20577"/>
        <pc:sldMkLst>
          <pc:docMk/>
          <pc:sldMk cId="2725184318" sldId="8836"/>
        </pc:sldMkLst>
        <pc:spChg chg="add mod">
          <ac:chgData name="Jivrajani, Dharini" userId="9f28c9a6-e07b-4de5-8682-ac3f5c875595" providerId="ADAL" clId="{64F78168-BAD1-48BB-B1E6-DD23DB408FAF}" dt="2021-06-28T11:13:22.221" v="693" actId="20577"/>
          <ac:spMkLst>
            <pc:docMk/>
            <pc:sldMk cId="2725184318" sldId="8836"/>
            <ac:spMk id="4" creationId="{1C071B3B-B0F7-42FE-B961-199ECB788819}"/>
          </ac:spMkLst>
        </pc:spChg>
      </pc:sldChg>
      <pc:sldChg chg="addSp modSp">
        <pc:chgData name="Jivrajani, Dharini" userId="9f28c9a6-e07b-4de5-8682-ac3f5c875595" providerId="ADAL" clId="{64F78168-BAD1-48BB-B1E6-DD23DB408FAF}" dt="2021-06-28T11:08:56.740" v="466"/>
        <pc:sldMkLst>
          <pc:docMk/>
          <pc:sldMk cId="2797225936" sldId="8974"/>
        </pc:sldMkLst>
        <pc:spChg chg="add mod">
          <ac:chgData name="Jivrajani, Dharini" userId="9f28c9a6-e07b-4de5-8682-ac3f5c875595" providerId="ADAL" clId="{64F78168-BAD1-48BB-B1E6-DD23DB408FAF}" dt="2021-06-28T11:08:56.740" v="466"/>
          <ac:spMkLst>
            <pc:docMk/>
            <pc:sldMk cId="2797225936" sldId="8974"/>
            <ac:spMk id="4" creationId="{C51DE20B-E9C3-4E98-A7DA-60A65E76E21E}"/>
          </ac:spMkLst>
        </pc:spChg>
      </pc:sldChg>
      <pc:sldChg chg="modSp mod">
        <pc:chgData name="Jivrajani, Dharini" userId="9f28c9a6-e07b-4de5-8682-ac3f5c875595" providerId="ADAL" clId="{64F78168-BAD1-48BB-B1E6-DD23DB408FAF}" dt="2021-06-28T11:07:25.444" v="434" actId="20577"/>
        <pc:sldMkLst>
          <pc:docMk/>
          <pc:sldMk cId="34444915" sldId="8985"/>
        </pc:sldMkLst>
        <pc:spChg chg="mod">
          <ac:chgData name="Jivrajani, Dharini" userId="9f28c9a6-e07b-4de5-8682-ac3f5c875595" providerId="ADAL" clId="{64F78168-BAD1-48BB-B1E6-DD23DB408FAF}" dt="2021-06-28T11:07:25.444" v="434" actId="20577"/>
          <ac:spMkLst>
            <pc:docMk/>
            <pc:sldMk cId="34444915" sldId="8985"/>
            <ac:spMk id="4" creationId="{00000000-0000-0000-0000-000000000000}"/>
          </ac:spMkLst>
        </pc:spChg>
      </pc:sldChg>
      <pc:sldChg chg="addSp modSp mod">
        <pc:chgData name="Jivrajani, Dharini" userId="9f28c9a6-e07b-4de5-8682-ac3f5c875595" providerId="ADAL" clId="{64F78168-BAD1-48BB-B1E6-DD23DB408FAF}" dt="2021-06-28T11:12:50.377" v="618" actId="20577"/>
        <pc:sldMkLst>
          <pc:docMk/>
          <pc:sldMk cId="3148283714" sldId="8987"/>
        </pc:sldMkLst>
        <pc:spChg chg="add mod">
          <ac:chgData name="Jivrajani, Dharini" userId="9f28c9a6-e07b-4de5-8682-ac3f5c875595" providerId="ADAL" clId="{64F78168-BAD1-48BB-B1E6-DD23DB408FAF}" dt="2021-06-28T11:12:50.377" v="618" actId="20577"/>
          <ac:spMkLst>
            <pc:docMk/>
            <pc:sldMk cId="3148283714" sldId="8987"/>
            <ac:spMk id="5" creationId="{11D37229-AD3E-4553-9495-CBC563D7CA10}"/>
          </ac:spMkLst>
        </pc:spChg>
      </pc:sldChg>
      <pc:sldChg chg="addSp modSp mod">
        <pc:chgData name="Jivrajani, Dharini" userId="9f28c9a6-e07b-4de5-8682-ac3f5c875595" providerId="ADAL" clId="{64F78168-BAD1-48BB-B1E6-DD23DB408FAF}" dt="2021-06-28T11:10:35.878" v="499" actId="20577"/>
        <pc:sldMkLst>
          <pc:docMk/>
          <pc:sldMk cId="969028718" sldId="8990"/>
        </pc:sldMkLst>
        <pc:spChg chg="add mod">
          <ac:chgData name="Jivrajani, Dharini" userId="9f28c9a6-e07b-4de5-8682-ac3f5c875595" providerId="ADAL" clId="{64F78168-BAD1-48BB-B1E6-DD23DB408FAF}" dt="2021-06-28T11:10:35.878" v="499" actId="20577"/>
          <ac:spMkLst>
            <pc:docMk/>
            <pc:sldMk cId="969028718" sldId="8990"/>
            <ac:spMk id="5" creationId="{84BF9187-B9D4-45D4-88DB-E044DE4BAA12}"/>
          </ac:spMkLst>
        </pc:spChg>
      </pc:sldChg>
      <pc:sldChg chg="addSp modSp mod">
        <pc:chgData name="Jivrajani, Dharini" userId="9f28c9a6-e07b-4de5-8682-ac3f5c875595" providerId="ADAL" clId="{64F78168-BAD1-48BB-B1E6-DD23DB408FAF}" dt="2021-06-28T11:13:13.960" v="681" actId="20577"/>
        <pc:sldMkLst>
          <pc:docMk/>
          <pc:sldMk cId="3424447147" sldId="9001"/>
        </pc:sldMkLst>
        <pc:spChg chg="add mod">
          <ac:chgData name="Jivrajani, Dharini" userId="9f28c9a6-e07b-4de5-8682-ac3f5c875595" providerId="ADAL" clId="{64F78168-BAD1-48BB-B1E6-DD23DB408FAF}" dt="2021-06-28T11:13:13.960" v="681" actId="20577"/>
          <ac:spMkLst>
            <pc:docMk/>
            <pc:sldMk cId="3424447147" sldId="9001"/>
            <ac:spMk id="13" creationId="{84A6542E-CBD5-46D6-93FD-D228C2D2256A}"/>
          </ac:spMkLst>
        </pc:spChg>
      </pc:sldChg>
      <pc:sldChg chg="addSp modSp mod">
        <pc:chgData name="Jivrajani, Dharini" userId="9f28c9a6-e07b-4de5-8682-ac3f5c875595" providerId="ADAL" clId="{64F78168-BAD1-48BB-B1E6-DD23DB408FAF}" dt="2021-06-28T11:11:50.629" v="552" actId="1076"/>
        <pc:sldMkLst>
          <pc:docMk/>
          <pc:sldMk cId="678701893" sldId="9006"/>
        </pc:sldMkLst>
        <pc:spChg chg="add mod">
          <ac:chgData name="Jivrajani, Dharini" userId="9f28c9a6-e07b-4de5-8682-ac3f5c875595" providerId="ADAL" clId="{64F78168-BAD1-48BB-B1E6-DD23DB408FAF}" dt="2021-06-28T11:11:50.629" v="552" actId="1076"/>
          <ac:spMkLst>
            <pc:docMk/>
            <pc:sldMk cId="678701893" sldId="9006"/>
            <ac:spMk id="18" creationId="{9F3E622E-3F97-4819-81FE-46322B40AEB2}"/>
          </ac:spMkLst>
        </pc:spChg>
      </pc:sldChg>
      <pc:sldChg chg="addSp modSp">
        <pc:chgData name="Jivrajani, Dharini" userId="9f28c9a6-e07b-4de5-8682-ac3f5c875595" providerId="ADAL" clId="{64F78168-BAD1-48BB-B1E6-DD23DB408FAF}" dt="2021-06-28T11:09:02.708" v="468"/>
        <pc:sldMkLst>
          <pc:docMk/>
          <pc:sldMk cId="4088066546" sldId="9025"/>
        </pc:sldMkLst>
        <pc:spChg chg="add mod">
          <ac:chgData name="Jivrajani, Dharini" userId="9f28c9a6-e07b-4de5-8682-ac3f5c875595" providerId="ADAL" clId="{64F78168-BAD1-48BB-B1E6-DD23DB408FAF}" dt="2021-06-28T11:09:02.708" v="468"/>
          <ac:spMkLst>
            <pc:docMk/>
            <pc:sldMk cId="4088066546" sldId="9025"/>
            <ac:spMk id="92" creationId="{E4AE0AB6-10D8-4782-97F8-8490E9AED78D}"/>
          </ac:spMkLst>
        </pc:spChg>
      </pc:sldChg>
      <pc:sldChg chg="addSp modSp">
        <pc:chgData name="Jivrajani, Dharini" userId="9f28c9a6-e07b-4de5-8682-ac3f5c875595" providerId="ADAL" clId="{64F78168-BAD1-48BB-B1E6-DD23DB408FAF}" dt="2021-06-28T11:08:54.254" v="465"/>
        <pc:sldMkLst>
          <pc:docMk/>
          <pc:sldMk cId="2669552592" sldId="9027"/>
        </pc:sldMkLst>
        <pc:spChg chg="add mod">
          <ac:chgData name="Jivrajani, Dharini" userId="9f28c9a6-e07b-4de5-8682-ac3f5c875595" providerId="ADAL" clId="{64F78168-BAD1-48BB-B1E6-DD23DB408FAF}" dt="2021-06-28T11:08:54.254" v="465"/>
          <ac:spMkLst>
            <pc:docMk/>
            <pc:sldMk cId="2669552592" sldId="9027"/>
            <ac:spMk id="3" creationId="{D42CFBB1-D039-4D96-A24A-12DFA976ECCE}"/>
          </ac:spMkLst>
        </pc:spChg>
      </pc:sldChg>
      <pc:sldChg chg="addSp modSp mod">
        <pc:chgData name="Jivrajani, Dharini" userId="9f28c9a6-e07b-4de5-8682-ac3f5c875595" providerId="ADAL" clId="{64F78168-BAD1-48BB-B1E6-DD23DB408FAF}" dt="2021-06-28T11:10:25.716" v="492" actId="20577"/>
        <pc:sldMkLst>
          <pc:docMk/>
          <pc:sldMk cId="1920867600" sldId="9038"/>
        </pc:sldMkLst>
        <pc:spChg chg="add mod">
          <ac:chgData name="Jivrajani, Dharini" userId="9f28c9a6-e07b-4de5-8682-ac3f5c875595" providerId="ADAL" clId="{64F78168-BAD1-48BB-B1E6-DD23DB408FAF}" dt="2021-06-28T11:10:25.716" v="492" actId="20577"/>
          <ac:spMkLst>
            <pc:docMk/>
            <pc:sldMk cId="1920867600" sldId="9038"/>
            <ac:spMk id="6" creationId="{3D439989-688E-47AE-A56C-F26E1A303CD2}"/>
          </ac:spMkLst>
        </pc:spChg>
      </pc:sldChg>
      <pc:sldChg chg="addSp modSp mod">
        <pc:chgData name="Jivrajani, Dharini" userId="9f28c9a6-e07b-4de5-8682-ac3f5c875595" providerId="ADAL" clId="{64F78168-BAD1-48BB-B1E6-DD23DB408FAF}" dt="2021-06-28T11:11:23.063" v="547" actId="20577"/>
        <pc:sldMkLst>
          <pc:docMk/>
          <pc:sldMk cId="2524229145" sldId="9040"/>
        </pc:sldMkLst>
        <pc:spChg chg="add mod">
          <ac:chgData name="Jivrajani, Dharini" userId="9f28c9a6-e07b-4de5-8682-ac3f5c875595" providerId="ADAL" clId="{64F78168-BAD1-48BB-B1E6-DD23DB408FAF}" dt="2021-06-28T11:11:23.063" v="547" actId="20577"/>
          <ac:spMkLst>
            <pc:docMk/>
            <pc:sldMk cId="2524229145" sldId="9040"/>
            <ac:spMk id="42" creationId="{8DC02C8C-022B-4580-8740-5019F6F41EFA}"/>
          </ac:spMkLst>
        </pc:spChg>
      </pc:sldChg>
      <pc:sldChg chg="addSp modSp mod">
        <pc:chgData name="Jivrajani, Dharini" userId="9f28c9a6-e07b-4de5-8682-ac3f5c875595" providerId="ADAL" clId="{64F78168-BAD1-48BB-B1E6-DD23DB408FAF}" dt="2021-06-28T11:13:00.389" v="644" actId="20577"/>
        <pc:sldMkLst>
          <pc:docMk/>
          <pc:sldMk cId="2318716816" sldId="9041"/>
        </pc:sldMkLst>
        <pc:spChg chg="add mod">
          <ac:chgData name="Jivrajani, Dharini" userId="9f28c9a6-e07b-4de5-8682-ac3f5c875595" providerId="ADAL" clId="{64F78168-BAD1-48BB-B1E6-DD23DB408FAF}" dt="2021-06-28T11:13:00.389" v="644" actId="20577"/>
          <ac:spMkLst>
            <pc:docMk/>
            <pc:sldMk cId="2318716816" sldId="9041"/>
            <ac:spMk id="5" creationId="{C25A194D-8832-4FB9-A6B7-43CB023BDCA4}"/>
          </ac:spMkLst>
        </pc:spChg>
      </pc:sldChg>
      <pc:sldChg chg="addSp modSp mod">
        <pc:chgData name="Jivrajani, Dharini" userId="9f28c9a6-e07b-4de5-8682-ac3f5c875595" providerId="ADAL" clId="{64F78168-BAD1-48BB-B1E6-DD23DB408FAF}" dt="2021-06-28T11:14:48.322" v="789" actId="20577"/>
        <pc:sldMkLst>
          <pc:docMk/>
          <pc:sldMk cId="4229778780" sldId="9042"/>
        </pc:sldMkLst>
        <pc:spChg chg="add mod">
          <ac:chgData name="Jivrajani, Dharini" userId="9f28c9a6-e07b-4de5-8682-ac3f5c875595" providerId="ADAL" clId="{64F78168-BAD1-48BB-B1E6-DD23DB408FAF}" dt="2021-06-28T11:14:48.322" v="789" actId="20577"/>
          <ac:spMkLst>
            <pc:docMk/>
            <pc:sldMk cId="4229778780" sldId="9042"/>
            <ac:spMk id="5" creationId="{FF0A6567-72DB-449A-8520-40283E54F539}"/>
          </ac:spMkLst>
        </pc:spChg>
      </pc:sldChg>
      <pc:sldChg chg="addSp modSp mod">
        <pc:chgData name="Jivrajani, Dharini" userId="9f28c9a6-e07b-4de5-8682-ac3f5c875595" providerId="ADAL" clId="{64F78168-BAD1-48BB-B1E6-DD23DB408FAF}" dt="2021-06-28T11:14:54.696" v="801" actId="20577"/>
        <pc:sldMkLst>
          <pc:docMk/>
          <pc:sldMk cId="400888471" sldId="9043"/>
        </pc:sldMkLst>
        <pc:spChg chg="add mod">
          <ac:chgData name="Jivrajani, Dharini" userId="9f28c9a6-e07b-4de5-8682-ac3f5c875595" providerId="ADAL" clId="{64F78168-BAD1-48BB-B1E6-DD23DB408FAF}" dt="2021-06-28T11:14:54.696" v="801" actId="20577"/>
          <ac:spMkLst>
            <pc:docMk/>
            <pc:sldMk cId="400888471" sldId="9043"/>
            <ac:spMk id="4" creationId="{4574A883-E379-42AE-8247-71CEF1AFA831}"/>
          </ac:spMkLst>
        </pc:spChg>
      </pc:sldChg>
      <pc:sldChg chg="addSp modSp mod">
        <pc:chgData name="Jivrajani, Dharini" userId="9f28c9a6-e07b-4de5-8682-ac3f5c875595" providerId="ADAL" clId="{64F78168-BAD1-48BB-B1E6-DD23DB408FAF}" dt="2021-06-28T11:13:48.232" v="714" actId="20577"/>
        <pc:sldMkLst>
          <pc:docMk/>
          <pc:sldMk cId="664270981" sldId="9045"/>
        </pc:sldMkLst>
        <pc:spChg chg="add mod">
          <ac:chgData name="Jivrajani, Dharini" userId="9f28c9a6-e07b-4de5-8682-ac3f5c875595" providerId="ADAL" clId="{64F78168-BAD1-48BB-B1E6-DD23DB408FAF}" dt="2021-06-28T11:13:48.232" v="714" actId="20577"/>
          <ac:spMkLst>
            <pc:docMk/>
            <pc:sldMk cId="664270981" sldId="9045"/>
            <ac:spMk id="4" creationId="{448412F6-6033-4795-A496-8F068B70BEA0}"/>
          </ac:spMkLst>
        </pc:spChg>
      </pc:sldChg>
      <pc:sldChg chg="modSp mod">
        <pc:chgData name="Jivrajani, Dharini" userId="9f28c9a6-e07b-4de5-8682-ac3f5c875595" providerId="ADAL" clId="{64F78168-BAD1-48BB-B1E6-DD23DB408FAF}" dt="2021-06-15T18:26:11.485" v="419" actId="20577"/>
        <pc:sldMkLst>
          <pc:docMk/>
          <pc:sldMk cId="2269658214" sldId="9049"/>
        </pc:sldMkLst>
        <pc:graphicFrameChg chg="modGraphic">
          <ac:chgData name="Jivrajani, Dharini" userId="9f28c9a6-e07b-4de5-8682-ac3f5c875595" providerId="ADAL" clId="{64F78168-BAD1-48BB-B1E6-DD23DB408FAF}" dt="2021-06-15T18:26:11.485" v="419" actId="20577"/>
          <ac:graphicFrameMkLst>
            <pc:docMk/>
            <pc:sldMk cId="2269658214" sldId="9049"/>
            <ac:graphicFrameMk id="2" creationId="{7D8F2493-A0C4-4740-A16F-E066BC79CDD8}"/>
          </ac:graphicFrameMkLst>
        </pc:graphicFrameChg>
      </pc:sldChg>
    </pc:docChg>
  </pc:docChgLst>
  <pc:docChgLst>
    <pc:chgData name="Garugu, Ramana Murthy" userId="S::rgarugu@deloitte.com::4d25478e-3d85-4655-8913-d8fa8988088b" providerId="AD" clId="Web-{114F9FCC-7FAB-4379-8755-61704ACD7165}"/>
    <pc:docChg chg="modSld">
      <pc:chgData name="Garugu, Ramana Murthy" userId="S::rgarugu@deloitte.com::4d25478e-3d85-4655-8913-d8fa8988088b" providerId="AD" clId="Web-{114F9FCC-7FAB-4379-8755-61704ACD7165}" dt="2021-07-12T11:50:40.950" v="1" actId="20577"/>
      <pc:docMkLst>
        <pc:docMk/>
      </pc:docMkLst>
      <pc:sldChg chg="modSp">
        <pc:chgData name="Garugu, Ramana Murthy" userId="S::rgarugu@deloitte.com::4d25478e-3d85-4655-8913-d8fa8988088b" providerId="AD" clId="Web-{114F9FCC-7FAB-4379-8755-61704ACD7165}" dt="2021-07-12T11:50:40.950" v="1" actId="20577"/>
        <pc:sldMkLst>
          <pc:docMk/>
          <pc:sldMk cId="302263831" sldId="9048"/>
        </pc:sldMkLst>
        <pc:spChg chg="mod">
          <ac:chgData name="Garugu, Ramana Murthy" userId="S::rgarugu@deloitte.com::4d25478e-3d85-4655-8913-d8fa8988088b" providerId="AD" clId="Web-{114F9FCC-7FAB-4379-8755-61704ACD7165}" dt="2021-07-12T11:50:40.950" v="1" actId="20577"/>
          <ac:spMkLst>
            <pc:docMk/>
            <pc:sldMk cId="302263831" sldId="9048"/>
            <ac:spMk id="17" creationId="{3FAEEAA9-008B-43F6-BAE2-39F36A6706FE}"/>
          </ac:spMkLst>
        </pc:spChg>
      </pc:sldChg>
    </pc:docChg>
  </pc:docChgLst>
  <pc:docChgLst>
    <pc:chgData name="Hussain, Shabab" userId="16e64909-9d15-4f47-9a10-9b72ca56d9f2" providerId="ADAL" clId="{92DCEB70-DCA5-4092-8F54-CEAC95D0D86A}"/>
    <pc:docChg chg="modSld">
      <pc:chgData name="Hussain, Shabab" userId="16e64909-9d15-4f47-9a10-9b72ca56d9f2" providerId="ADAL" clId="{92DCEB70-DCA5-4092-8F54-CEAC95D0D86A}" dt="2021-07-15T13:49:30.717" v="59" actId="20577"/>
      <pc:docMkLst>
        <pc:docMk/>
      </pc:docMkLst>
      <pc:sldChg chg="modSp mod">
        <pc:chgData name="Hussain, Shabab" userId="16e64909-9d15-4f47-9a10-9b72ca56d9f2" providerId="ADAL" clId="{92DCEB70-DCA5-4092-8F54-CEAC95D0D86A}" dt="2021-07-15T13:49:30.717" v="59" actId="20577"/>
        <pc:sldMkLst>
          <pc:docMk/>
          <pc:sldMk cId="53167518" sldId="9060"/>
        </pc:sldMkLst>
        <pc:spChg chg="mod">
          <ac:chgData name="Hussain, Shabab" userId="16e64909-9d15-4f47-9a10-9b72ca56d9f2" providerId="ADAL" clId="{92DCEB70-DCA5-4092-8F54-CEAC95D0D86A}" dt="2021-07-15T13:49:30.717" v="59" actId="20577"/>
          <ac:spMkLst>
            <pc:docMk/>
            <pc:sldMk cId="53167518" sldId="9060"/>
            <ac:spMk id="55" creationId="{1CA2DF33-807F-41CA-B003-47F123AFF75B}"/>
          </ac:spMkLst>
        </pc:spChg>
      </pc:sldChg>
    </pc:docChg>
  </pc:docChgLst>
  <pc:docChgLst>
    <pc:chgData name="Kommatreddy, Chaitanya" userId="44a1469f-b03c-453c-8c31-90f831355cdb" providerId="ADAL" clId="{D7CBBC1B-09BD-4FAE-B0A6-C678B32CC228}"/>
    <pc:docChg chg="modSld">
      <pc:chgData name="Kommatreddy, Chaitanya" userId="44a1469f-b03c-453c-8c31-90f831355cdb" providerId="ADAL" clId="{D7CBBC1B-09BD-4FAE-B0A6-C678B32CC228}" dt="2021-01-20T07:56:14.667" v="0" actId="14100"/>
      <pc:docMkLst>
        <pc:docMk/>
      </pc:docMkLst>
      <pc:sldChg chg="modSp">
        <pc:chgData name="Kommatreddy, Chaitanya" userId="44a1469f-b03c-453c-8c31-90f831355cdb" providerId="ADAL" clId="{D7CBBC1B-09BD-4FAE-B0A6-C678B32CC228}" dt="2021-01-20T07:56:14.667" v="0" actId="14100"/>
        <pc:sldMkLst>
          <pc:docMk/>
          <pc:sldMk cId="4004995028" sldId="9013"/>
        </pc:sldMkLst>
        <pc:spChg chg="mod">
          <ac:chgData name="Kommatreddy, Chaitanya" userId="44a1469f-b03c-453c-8c31-90f831355cdb" providerId="ADAL" clId="{D7CBBC1B-09BD-4FAE-B0A6-C678B32CC228}" dt="2021-01-20T07:56:14.667" v="0" actId="14100"/>
          <ac:spMkLst>
            <pc:docMk/>
            <pc:sldMk cId="4004995028" sldId="9013"/>
            <ac:spMk id="5" creationId="{EFF25AA9-E345-4627-A18F-B8896C94E286}"/>
          </ac:spMkLst>
        </pc:spChg>
      </pc:sldChg>
    </pc:docChg>
  </pc:docChgLst>
  <pc:docChgLst>
    <pc:chgData name="Swarna, Padmini" userId="S::padswarna@deloitte.com::03b348e6-46b3-471e-9507-2b8a34198287" providerId="AD" clId="Web-{45676170-DD94-4C2D-9F88-037A64A3C0F2}"/>
    <pc:docChg chg="modSld">
      <pc:chgData name="Swarna, Padmini" userId="S::padswarna@deloitte.com::03b348e6-46b3-471e-9507-2b8a34198287" providerId="AD" clId="Web-{45676170-DD94-4C2D-9F88-037A64A3C0F2}" dt="2021-02-23T12:01:26.988" v="43" actId="20577"/>
      <pc:docMkLst>
        <pc:docMk/>
      </pc:docMkLst>
      <pc:sldChg chg="modSp">
        <pc:chgData name="Swarna, Padmini" userId="S::padswarna@deloitte.com::03b348e6-46b3-471e-9507-2b8a34198287" providerId="AD" clId="Web-{45676170-DD94-4C2D-9F88-037A64A3C0F2}" dt="2021-02-23T12:01:26.988" v="43" actId="20577"/>
        <pc:sldMkLst>
          <pc:docMk/>
          <pc:sldMk cId="2506138062" sldId="8782"/>
        </pc:sldMkLst>
        <pc:spChg chg="mod">
          <ac:chgData name="Swarna, Padmini" userId="S::padswarna@deloitte.com::03b348e6-46b3-471e-9507-2b8a34198287" providerId="AD" clId="Web-{45676170-DD94-4C2D-9F88-037A64A3C0F2}" dt="2021-02-23T12:01:26.988" v="43" actId="20577"/>
          <ac:spMkLst>
            <pc:docMk/>
            <pc:sldMk cId="2506138062" sldId="8782"/>
            <ac:spMk id="3" creationId="{2B44DC9A-1DE4-4B24-8493-D9073A6B5DAE}"/>
          </ac:spMkLst>
        </pc:spChg>
        <pc:spChg chg="mod">
          <ac:chgData name="Swarna, Padmini" userId="S::padswarna@deloitte.com::03b348e6-46b3-471e-9507-2b8a34198287" providerId="AD" clId="Web-{45676170-DD94-4C2D-9F88-037A64A3C0F2}" dt="2021-02-23T11:46:05.197" v="13" actId="20577"/>
          <ac:spMkLst>
            <pc:docMk/>
            <pc:sldMk cId="2506138062" sldId="8782"/>
            <ac:spMk id="4" creationId="{3FAEEAA9-008B-43F6-BAE2-39F36A6706FE}"/>
          </ac:spMkLst>
        </pc:spChg>
      </pc:sldChg>
    </pc:docChg>
  </pc:docChgLst>
  <pc:docChgLst>
    <pc:chgData name="Chinda, Sowjanya" userId="S::schinda@deloitte.com::fc5c6afc-3b7c-40b3-bf0d-c9a2eae19122" providerId="AD" clId="Web-{2DD00505-A078-411D-9D96-C25C16B830A5}"/>
    <pc:docChg chg="modSld">
      <pc:chgData name="Chinda, Sowjanya" userId="S::schinda@deloitte.com::fc5c6afc-3b7c-40b3-bf0d-c9a2eae19122" providerId="AD" clId="Web-{2DD00505-A078-411D-9D96-C25C16B830A5}" dt="2021-07-13T11:10:00.266" v="5"/>
      <pc:docMkLst>
        <pc:docMk/>
      </pc:docMkLst>
      <pc:sldChg chg="modSp">
        <pc:chgData name="Chinda, Sowjanya" userId="S::schinda@deloitte.com::fc5c6afc-3b7c-40b3-bf0d-c9a2eae19122" providerId="AD" clId="Web-{2DD00505-A078-411D-9D96-C25C16B830A5}" dt="2021-07-13T11:10:00.266" v="5"/>
        <pc:sldMkLst>
          <pc:docMk/>
          <pc:sldMk cId="847777020" sldId="8791"/>
        </pc:sldMkLst>
        <pc:graphicFrameChg chg="mod modGraphic">
          <ac:chgData name="Chinda, Sowjanya" userId="S::schinda@deloitte.com::fc5c6afc-3b7c-40b3-bf0d-c9a2eae19122" providerId="AD" clId="Web-{2DD00505-A078-411D-9D96-C25C16B830A5}" dt="2021-07-13T11:10:00.266" v="5"/>
          <ac:graphicFrameMkLst>
            <pc:docMk/>
            <pc:sldMk cId="847777020" sldId="8791"/>
            <ac:graphicFrameMk id="2" creationId="{047A132D-3FAE-48C5-BD5F-C01213AAD2F4}"/>
          </ac:graphicFrameMkLst>
        </pc:graphicFrameChg>
      </pc:sldChg>
    </pc:docChg>
  </pc:docChgLst>
  <pc:docChgLst>
    <pc:chgData name="Jivrajani, Dharini" userId="S::djivrajani@deloitte.com::9f28c9a6-e07b-4de5-8682-ac3f5c875595" providerId="AD" clId="Web-{D16BD35A-44A8-4793-A561-425CCE7D0487}"/>
    <pc:docChg chg="modSld">
      <pc:chgData name="Jivrajani, Dharini" userId="S::djivrajani@deloitte.com::9f28c9a6-e07b-4de5-8682-ac3f5c875595" providerId="AD" clId="Web-{D16BD35A-44A8-4793-A561-425CCE7D0487}" dt="2020-07-13T11:26:22.715" v="7"/>
      <pc:docMkLst>
        <pc:docMk/>
      </pc:docMkLst>
      <pc:sldChg chg="modSp">
        <pc:chgData name="Jivrajani, Dharini" userId="S::djivrajani@deloitte.com::9f28c9a6-e07b-4de5-8682-ac3f5c875595" providerId="AD" clId="Web-{D16BD35A-44A8-4793-A561-425CCE7D0487}" dt="2020-07-13T11:26:22.715" v="7"/>
        <pc:sldMkLst>
          <pc:docMk/>
          <pc:sldMk cId="1369081146" sldId="8773"/>
        </pc:sldMkLst>
        <pc:graphicFrameChg chg="mod modGraphic">
          <ac:chgData name="Jivrajani, Dharini" userId="S::djivrajani@deloitte.com::9f28c9a6-e07b-4de5-8682-ac3f5c875595" providerId="AD" clId="Web-{D16BD35A-44A8-4793-A561-425CCE7D0487}" dt="2020-07-13T11:26:22.715" v="7"/>
          <ac:graphicFrameMkLst>
            <pc:docMk/>
            <pc:sldMk cId="1369081146" sldId="8773"/>
            <ac:graphicFrameMk id="4" creationId="{2AAAC88F-F4B4-4FE3-956E-C3F806D71324}"/>
          </ac:graphicFrameMkLst>
        </pc:graphicFrameChg>
      </pc:sldChg>
    </pc:docChg>
  </pc:docChgLst>
  <pc:docChgLst>
    <pc:chgData name="Sharma Palla, Rakesh" userId="S::rsharmapalla@deloitte.com::10f9904b-c976-486e-940c-ca5698800d24" providerId="AD" clId="Web-{91ABF923-7844-4F8D-9147-7251D34E83DF}"/>
    <pc:docChg chg="modSld">
      <pc:chgData name="Sharma Palla, Rakesh" userId="S::rsharmapalla@deloitte.com::10f9904b-c976-486e-940c-ca5698800d24" providerId="AD" clId="Web-{91ABF923-7844-4F8D-9147-7251D34E83DF}" dt="2021-03-23T12:10:19.389" v="187"/>
      <pc:docMkLst>
        <pc:docMk/>
      </pc:docMkLst>
      <pc:sldChg chg="modSp">
        <pc:chgData name="Sharma Palla, Rakesh" userId="S::rsharmapalla@deloitte.com::10f9904b-c976-486e-940c-ca5698800d24" providerId="AD" clId="Web-{91ABF923-7844-4F8D-9147-7251D34E83DF}" dt="2021-03-23T12:10:19.389" v="187"/>
        <pc:sldMkLst>
          <pc:docMk/>
          <pc:sldMk cId="847777020" sldId="8791"/>
        </pc:sldMkLst>
        <pc:spChg chg="mod">
          <ac:chgData name="Sharma Palla, Rakesh" userId="S::rsharmapalla@deloitte.com::10f9904b-c976-486e-940c-ca5698800d24" providerId="AD" clId="Web-{91ABF923-7844-4F8D-9147-7251D34E83DF}" dt="2021-03-23T12:03:23.443" v="184" actId="1076"/>
          <ac:spMkLst>
            <pc:docMk/>
            <pc:sldMk cId="847777020" sldId="8791"/>
            <ac:spMk id="6" creationId="{3A1B4E52-1783-4186-9061-FBE7AEA94430}"/>
          </ac:spMkLst>
        </pc:spChg>
        <pc:graphicFrameChg chg="mod modGraphic">
          <ac:chgData name="Sharma Palla, Rakesh" userId="S::rsharmapalla@deloitte.com::10f9904b-c976-486e-940c-ca5698800d24" providerId="AD" clId="Web-{91ABF923-7844-4F8D-9147-7251D34E83DF}" dt="2021-03-23T12:10:19.389" v="187"/>
          <ac:graphicFrameMkLst>
            <pc:docMk/>
            <pc:sldMk cId="847777020" sldId="8791"/>
            <ac:graphicFrameMk id="2" creationId="{047A132D-3FAE-48C5-BD5F-C01213AAD2F4}"/>
          </ac:graphicFrameMkLst>
        </pc:graphicFrameChg>
      </pc:sldChg>
    </pc:docChg>
  </pc:docChgLst>
  <pc:docChgLst>
    <pc:chgData name="Jivrajani, Dharini" userId="S::djivrajani@deloitte.com::9f28c9a6-e07b-4de5-8682-ac3f5c875595" providerId="AD" clId="Web-{B4A982AD-0D16-4C51-A06B-0D032BF1C6CF}"/>
    <pc:docChg chg="modSld">
      <pc:chgData name="Jivrajani, Dharini" userId="S::djivrajani@deloitte.com::9f28c9a6-e07b-4de5-8682-ac3f5c875595" providerId="AD" clId="Web-{B4A982AD-0D16-4C51-A06B-0D032BF1C6CF}" dt="2021-07-14T10:40:44.017" v="88"/>
      <pc:docMkLst>
        <pc:docMk/>
      </pc:docMkLst>
      <pc:sldChg chg="modSp">
        <pc:chgData name="Jivrajani, Dharini" userId="S::djivrajani@deloitte.com::9f28c9a6-e07b-4de5-8682-ac3f5c875595" providerId="AD" clId="Web-{B4A982AD-0D16-4C51-A06B-0D032BF1C6CF}" dt="2021-07-14T10:40:44.017" v="88"/>
        <pc:sldMkLst>
          <pc:docMk/>
          <pc:sldMk cId="53167518" sldId="9060"/>
        </pc:sldMkLst>
        <pc:graphicFrameChg chg="mod modGraphic">
          <ac:chgData name="Jivrajani, Dharini" userId="S::djivrajani@deloitte.com::9f28c9a6-e07b-4de5-8682-ac3f5c875595" providerId="AD" clId="Web-{B4A982AD-0D16-4C51-A06B-0D032BF1C6CF}" dt="2021-07-14T10:39:57.969" v="56"/>
          <ac:graphicFrameMkLst>
            <pc:docMk/>
            <pc:sldMk cId="53167518" sldId="9060"/>
            <ac:graphicFrameMk id="4" creationId="{FE664A44-2B52-48E1-842B-86373307A2AD}"/>
          </ac:graphicFrameMkLst>
        </pc:graphicFrameChg>
        <pc:graphicFrameChg chg="mod modGraphic">
          <ac:chgData name="Jivrajani, Dharini" userId="S::djivrajani@deloitte.com::9f28c9a6-e07b-4de5-8682-ac3f5c875595" providerId="AD" clId="Web-{B4A982AD-0D16-4C51-A06B-0D032BF1C6CF}" dt="2021-07-14T10:40:44.017" v="88"/>
          <ac:graphicFrameMkLst>
            <pc:docMk/>
            <pc:sldMk cId="53167518" sldId="9060"/>
            <ac:graphicFrameMk id="58" creationId="{A6EBFF0D-1699-4F57-AC1F-62AAC56A13FE}"/>
          </ac:graphicFrameMkLst>
        </pc:graphicFrameChg>
      </pc:sldChg>
    </pc:docChg>
  </pc:docChgLst>
  <pc:docChgLst>
    <pc:chgData name="Jackman, Lauren" userId="S::ljackman@deloitte.com::ef96ab20-fb12-476c-a3e0-14bd051fc290" providerId="AD" clId="Web-{D38FC379-D791-4BE9-8FE3-EF6071F14E72}"/>
    <pc:docChg chg="delSld modSld modSection">
      <pc:chgData name="Jackman, Lauren" userId="S::ljackman@deloitte.com::ef96ab20-fb12-476c-a3e0-14bd051fc290" providerId="AD" clId="Web-{D38FC379-D791-4BE9-8FE3-EF6071F14E72}" dt="2021-03-22T18:44:13.969" v="196" actId="20577"/>
      <pc:docMkLst>
        <pc:docMk/>
      </pc:docMkLst>
      <pc:sldChg chg="del">
        <pc:chgData name="Jackman, Lauren" userId="S::ljackman@deloitte.com::ef96ab20-fb12-476c-a3e0-14bd051fc290" providerId="AD" clId="Web-{D38FC379-D791-4BE9-8FE3-EF6071F14E72}" dt="2021-03-22T18:42:59.936" v="134"/>
        <pc:sldMkLst>
          <pc:docMk/>
          <pc:sldMk cId="2803360750" sldId="271"/>
        </pc:sldMkLst>
      </pc:sldChg>
      <pc:sldChg chg="del">
        <pc:chgData name="Jackman, Lauren" userId="S::ljackman@deloitte.com::ef96ab20-fb12-476c-a3e0-14bd051fc290" providerId="AD" clId="Web-{D38FC379-D791-4BE9-8FE3-EF6071F14E72}" dt="2021-03-22T18:42:59.936" v="133"/>
        <pc:sldMkLst>
          <pc:docMk/>
          <pc:sldMk cId="3779940784" sldId="272"/>
        </pc:sldMkLst>
      </pc:sldChg>
      <pc:sldChg chg="del">
        <pc:chgData name="Jackman, Lauren" userId="S::ljackman@deloitte.com::ef96ab20-fb12-476c-a3e0-14bd051fc290" providerId="AD" clId="Web-{D38FC379-D791-4BE9-8FE3-EF6071F14E72}" dt="2021-03-22T18:42:59.936" v="132"/>
        <pc:sldMkLst>
          <pc:docMk/>
          <pc:sldMk cId="2838729022" sldId="273"/>
        </pc:sldMkLst>
      </pc:sldChg>
      <pc:sldChg chg="del">
        <pc:chgData name="Jackman, Lauren" userId="S::ljackman@deloitte.com::ef96ab20-fb12-476c-a3e0-14bd051fc290" providerId="AD" clId="Web-{D38FC379-D791-4BE9-8FE3-EF6071F14E72}" dt="2021-03-22T18:43:07.170" v="137"/>
        <pc:sldMkLst>
          <pc:docMk/>
          <pc:sldMk cId="1298414651" sldId="274"/>
        </pc:sldMkLst>
      </pc:sldChg>
      <pc:sldChg chg="del">
        <pc:chgData name="Jackman, Lauren" userId="S::ljackman@deloitte.com::ef96ab20-fb12-476c-a3e0-14bd051fc290" providerId="AD" clId="Web-{D38FC379-D791-4BE9-8FE3-EF6071F14E72}" dt="2021-03-22T18:43:07.170" v="136"/>
        <pc:sldMkLst>
          <pc:docMk/>
          <pc:sldMk cId="879275369" sldId="275"/>
        </pc:sldMkLst>
      </pc:sldChg>
      <pc:sldChg chg="del">
        <pc:chgData name="Jackman, Lauren" userId="S::ljackman@deloitte.com::ef96ab20-fb12-476c-a3e0-14bd051fc290" providerId="AD" clId="Web-{D38FC379-D791-4BE9-8FE3-EF6071F14E72}" dt="2021-03-22T18:43:07.170" v="135"/>
        <pc:sldMkLst>
          <pc:docMk/>
          <pc:sldMk cId="2823402429" sldId="276"/>
        </pc:sldMkLst>
      </pc:sldChg>
      <pc:sldChg chg="del">
        <pc:chgData name="Jackman, Lauren" userId="S::ljackman@deloitte.com::ef96ab20-fb12-476c-a3e0-14bd051fc290" providerId="AD" clId="Web-{D38FC379-D791-4BE9-8FE3-EF6071F14E72}" dt="2021-03-22T18:43:10.748" v="140"/>
        <pc:sldMkLst>
          <pc:docMk/>
          <pc:sldMk cId="2455683379" sldId="277"/>
        </pc:sldMkLst>
      </pc:sldChg>
      <pc:sldChg chg="del">
        <pc:chgData name="Jackman, Lauren" userId="S::ljackman@deloitte.com::ef96ab20-fb12-476c-a3e0-14bd051fc290" providerId="AD" clId="Web-{D38FC379-D791-4BE9-8FE3-EF6071F14E72}" dt="2021-03-22T18:43:10.748" v="139"/>
        <pc:sldMkLst>
          <pc:docMk/>
          <pc:sldMk cId="2570198846" sldId="278"/>
        </pc:sldMkLst>
      </pc:sldChg>
      <pc:sldChg chg="del">
        <pc:chgData name="Jackman, Lauren" userId="S::ljackman@deloitte.com::ef96ab20-fb12-476c-a3e0-14bd051fc290" providerId="AD" clId="Web-{D38FC379-D791-4BE9-8FE3-EF6071F14E72}" dt="2021-03-22T18:43:10.748" v="138"/>
        <pc:sldMkLst>
          <pc:docMk/>
          <pc:sldMk cId="1595038700" sldId="279"/>
        </pc:sldMkLst>
      </pc:sldChg>
      <pc:sldChg chg="modSp delCm">
        <pc:chgData name="Jackman, Lauren" userId="S::ljackman@deloitte.com::ef96ab20-fb12-476c-a3e0-14bd051fc290" providerId="AD" clId="Web-{D38FC379-D791-4BE9-8FE3-EF6071F14E72}" dt="2021-03-22T18:42:50.935" v="131" actId="20577"/>
        <pc:sldMkLst>
          <pc:docMk/>
          <pc:sldMk cId="24609206" sldId="2104"/>
        </pc:sldMkLst>
        <pc:spChg chg="mod">
          <ac:chgData name="Jackman, Lauren" userId="S::ljackman@deloitte.com::ef96ab20-fb12-476c-a3e0-14bd051fc290" providerId="AD" clId="Web-{D38FC379-D791-4BE9-8FE3-EF6071F14E72}" dt="2021-03-22T18:42:50.935" v="131" actId="20577"/>
          <ac:spMkLst>
            <pc:docMk/>
            <pc:sldMk cId="24609206" sldId="2104"/>
            <ac:spMk id="5" creationId="{5B812393-1D4C-44E5-88C8-52EB15B2AC90}"/>
          </ac:spMkLst>
        </pc:spChg>
      </pc:sldChg>
      <pc:sldChg chg="modSp">
        <pc:chgData name="Jackman, Lauren" userId="S::ljackman@deloitte.com::ef96ab20-fb12-476c-a3e0-14bd051fc290" providerId="AD" clId="Web-{D38FC379-D791-4BE9-8FE3-EF6071F14E72}" dt="2021-03-22T18:22:21.544" v="35"/>
        <pc:sldMkLst>
          <pc:docMk/>
          <pc:sldMk cId="3491360341" sldId="8786"/>
        </pc:sldMkLst>
        <pc:graphicFrameChg chg="mod modGraphic">
          <ac:chgData name="Jackman, Lauren" userId="S::ljackman@deloitte.com::ef96ab20-fb12-476c-a3e0-14bd051fc290" providerId="AD" clId="Web-{D38FC379-D791-4BE9-8FE3-EF6071F14E72}" dt="2021-03-22T18:22:21.544" v="35"/>
          <ac:graphicFrameMkLst>
            <pc:docMk/>
            <pc:sldMk cId="3491360341" sldId="8786"/>
            <ac:graphicFrameMk id="4" creationId="{FE664A44-2B52-48E1-842B-86373307A2AD}"/>
          </ac:graphicFrameMkLst>
        </pc:graphicFrameChg>
      </pc:sldChg>
      <pc:sldChg chg="modSp">
        <pc:chgData name="Jackman, Lauren" userId="S::ljackman@deloitte.com::ef96ab20-fb12-476c-a3e0-14bd051fc290" providerId="AD" clId="Web-{D38FC379-D791-4BE9-8FE3-EF6071F14E72}" dt="2021-03-22T18:44:13.969" v="196" actId="20577"/>
        <pc:sldMkLst>
          <pc:docMk/>
          <pc:sldMk cId="132515051" sldId="9029"/>
        </pc:sldMkLst>
        <pc:spChg chg="mod">
          <ac:chgData name="Jackman, Lauren" userId="S::ljackman@deloitte.com::ef96ab20-fb12-476c-a3e0-14bd051fc290" providerId="AD" clId="Web-{D38FC379-D791-4BE9-8FE3-EF6071F14E72}" dt="2021-03-22T18:44:04.406" v="183" actId="20577"/>
          <ac:spMkLst>
            <pc:docMk/>
            <pc:sldMk cId="132515051" sldId="9029"/>
            <ac:spMk id="3" creationId="{2B44DC9A-1DE4-4B24-8493-D9073A6B5DAE}"/>
          </ac:spMkLst>
        </pc:spChg>
        <pc:spChg chg="mod">
          <ac:chgData name="Jackman, Lauren" userId="S::ljackman@deloitte.com::ef96ab20-fb12-476c-a3e0-14bd051fc290" providerId="AD" clId="Web-{D38FC379-D791-4BE9-8FE3-EF6071F14E72}" dt="2021-03-22T18:44:13.969" v="196" actId="20577"/>
          <ac:spMkLst>
            <pc:docMk/>
            <pc:sldMk cId="132515051" sldId="9029"/>
            <ac:spMk id="4" creationId="{3FAEEAA9-008B-43F6-BAE2-39F36A6706FE}"/>
          </ac:spMkLst>
        </pc:spChg>
      </pc:sldChg>
    </pc:docChg>
  </pc:docChgLst>
  <pc:docChgLst>
    <pc:chgData name="Venkatachalapathy, Vanishree" userId="576e56df-e43c-486e-b899-beb9c57a3735" providerId="ADAL" clId="{55E5B550-10D1-4E15-B13F-FC613F0ABE8A}"/>
    <pc:docChg chg="undo modSld">
      <pc:chgData name="Venkatachalapathy, Vanishree" userId="576e56df-e43c-486e-b899-beb9c57a3735" providerId="ADAL" clId="{55E5B550-10D1-4E15-B13F-FC613F0ABE8A}" dt="2020-12-02T10:26:59.743" v="331" actId="20577"/>
      <pc:docMkLst>
        <pc:docMk/>
      </pc:docMkLst>
      <pc:sldChg chg="addSp modSp">
        <pc:chgData name="Venkatachalapathy, Vanishree" userId="576e56df-e43c-486e-b899-beb9c57a3735" providerId="ADAL" clId="{55E5B550-10D1-4E15-B13F-FC613F0ABE8A}" dt="2020-12-02T10:26:59.743" v="331" actId="20577"/>
        <pc:sldMkLst>
          <pc:docMk/>
          <pc:sldMk cId="2940807522" sldId="8784"/>
        </pc:sldMkLst>
        <pc:spChg chg="mod">
          <ac:chgData name="Venkatachalapathy, Vanishree" userId="576e56df-e43c-486e-b899-beb9c57a3735" providerId="ADAL" clId="{55E5B550-10D1-4E15-B13F-FC613F0ABE8A}" dt="2020-12-02T10:26:15.147" v="303" actId="1037"/>
          <ac:spMkLst>
            <pc:docMk/>
            <pc:sldMk cId="2940807522" sldId="8784"/>
            <ac:spMk id="8" creationId="{3AD73DD1-CA9D-43A7-AE40-783F13202818}"/>
          </ac:spMkLst>
        </pc:spChg>
        <pc:spChg chg="mod">
          <ac:chgData name="Venkatachalapathy, Vanishree" userId="576e56df-e43c-486e-b899-beb9c57a3735" providerId="ADAL" clId="{55E5B550-10D1-4E15-B13F-FC613F0ABE8A}" dt="2020-12-02T10:26:15.147" v="303" actId="1037"/>
          <ac:spMkLst>
            <pc:docMk/>
            <pc:sldMk cId="2940807522" sldId="8784"/>
            <ac:spMk id="9" creationId="{07389087-CF20-4FC5-84F8-9D79CFDD7349}"/>
          </ac:spMkLst>
        </pc:spChg>
        <pc:spChg chg="mod">
          <ac:chgData name="Venkatachalapathy, Vanishree" userId="576e56df-e43c-486e-b899-beb9c57a3735" providerId="ADAL" clId="{55E5B550-10D1-4E15-B13F-FC613F0ABE8A}" dt="2020-12-02T10:26:15.147" v="303" actId="1037"/>
          <ac:spMkLst>
            <pc:docMk/>
            <pc:sldMk cId="2940807522" sldId="8784"/>
            <ac:spMk id="10" creationId="{63C4D4D1-A06E-4F86-8E1F-FBE3DBFA51E8}"/>
          </ac:spMkLst>
        </pc:spChg>
        <pc:spChg chg="mod">
          <ac:chgData name="Venkatachalapathy, Vanishree" userId="576e56df-e43c-486e-b899-beb9c57a3735" providerId="ADAL" clId="{55E5B550-10D1-4E15-B13F-FC613F0ABE8A}" dt="2020-12-02T10:26:15.147" v="303" actId="1037"/>
          <ac:spMkLst>
            <pc:docMk/>
            <pc:sldMk cId="2940807522" sldId="8784"/>
            <ac:spMk id="11" creationId="{E073CBCA-BD37-4F56-AE47-957A7BF5A91A}"/>
          </ac:spMkLst>
        </pc:spChg>
        <pc:spChg chg="mod">
          <ac:chgData name="Venkatachalapathy, Vanishree" userId="576e56df-e43c-486e-b899-beb9c57a3735" providerId="ADAL" clId="{55E5B550-10D1-4E15-B13F-FC613F0ABE8A}" dt="2020-12-02T10:26:25.648" v="323" actId="20577"/>
          <ac:spMkLst>
            <pc:docMk/>
            <pc:sldMk cId="2940807522" sldId="8784"/>
            <ac:spMk id="12" creationId="{19AE7B81-7518-4072-90B7-AA4FF720F67E}"/>
          </ac:spMkLst>
        </pc:spChg>
        <pc:spChg chg="add mod">
          <ac:chgData name="Venkatachalapathy, Vanishree" userId="576e56df-e43c-486e-b899-beb9c57a3735" providerId="ADAL" clId="{55E5B550-10D1-4E15-B13F-FC613F0ABE8A}" dt="2020-12-02T10:26:15.147" v="303" actId="1037"/>
          <ac:spMkLst>
            <pc:docMk/>
            <pc:sldMk cId="2940807522" sldId="8784"/>
            <ac:spMk id="13" creationId="{C357875F-A06B-4F87-9A5C-0CEAB6D18C3C}"/>
          </ac:spMkLst>
        </pc:spChg>
        <pc:spChg chg="mod">
          <ac:chgData name="Venkatachalapathy, Vanishree" userId="576e56df-e43c-486e-b899-beb9c57a3735" providerId="ADAL" clId="{55E5B550-10D1-4E15-B13F-FC613F0ABE8A}" dt="2020-12-02T10:26:59.743" v="331" actId="20577"/>
          <ac:spMkLst>
            <pc:docMk/>
            <pc:sldMk cId="2940807522" sldId="8784"/>
            <ac:spMk id="14" creationId="{4429595C-361E-4574-9F33-3FE856B88F5B}"/>
          </ac:spMkLst>
        </pc:spChg>
        <pc:spChg chg="mod">
          <ac:chgData name="Venkatachalapathy, Vanishree" userId="576e56df-e43c-486e-b899-beb9c57a3735" providerId="ADAL" clId="{55E5B550-10D1-4E15-B13F-FC613F0ABE8A}" dt="2020-12-02T10:25:02.962" v="208" actId="20577"/>
          <ac:spMkLst>
            <pc:docMk/>
            <pc:sldMk cId="2940807522" sldId="8784"/>
            <ac:spMk id="16" creationId="{DFFD532C-E8B5-447D-9A6B-E46D75E74440}"/>
          </ac:spMkLst>
        </pc:spChg>
        <pc:spChg chg="add mod">
          <ac:chgData name="Venkatachalapathy, Vanishree" userId="576e56df-e43c-486e-b899-beb9c57a3735" providerId="ADAL" clId="{55E5B550-10D1-4E15-B13F-FC613F0ABE8A}" dt="2020-12-02T10:26:48.537" v="324" actId="1036"/>
          <ac:spMkLst>
            <pc:docMk/>
            <pc:sldMk cId="2940807522" sldId="8784"/>
            <ac:spMk id="18" creationId="{C0DE563B-A610-4F01-9D76-D4DCC9EAB39C}"/>
          </ac:spMkLst>
        </pc:spChg>
      </pc:sldChg>
    </pc:docChg>
  </pc:docChgLst>
  <pc:docChgLst>
    <pc:chgData name="Jivrajani, Dharini" userId="S::djivrajani@deloitte.com::9f28c9a6-e07b-4de5-8682-ac3f5c875595" providerId="AD" clId="Web-{655353B7-FF45-45C5-BAA7-572E148673E1}"/>
    <pc:docChg chg="modSld">
      <pc:chgData name="Jivrajani, Dharini" userId="S::djivrajani@deloitte.com::9f28c9a6-e07b-4de5-8682-ac3f5c875595" providerId="AD" clId="Web-{655353B7-FF45-45C5-BAA7-572E148673E1}" dt="2021-03-17T01:20:07.521" v="88" actId="20577"/>
      <pc:docMkLst>
        <pc:docMk/>
      </pc:docMkLst>
      <pc:sldChg chg="modSp">
        <pc:chgData name="Jivrajani, Dharini" userId="S::djivrajani@deloitte.com::9f28c9a6-e07b-4de5-8682-ac3f5c875595" providerId="AD" clId="Web-{655353B7-FF45-45C5-BAA7-572E148673E1}" dt="2021-03-17T01:20:07.521" v="88" actId="20577"/>
        <pc:sldMkLst>
          <pc:docMk/>
          <pc:sldMk cId="3491360341" sldId="8786"/>
        </pc:sldMkLst>
        <pc:spChg chg="mod">
          <ac:chgData name="Jivrajani, Dharini" userId="S::djivrajani@deloitte.com::9f28c9a6-e07b-4de5-8682-ac3f5c875595" providerId="AD" clId="Web-{655353B7-FF45-45C5-BAA7-572E148673E1}" dt="2021-03-17T01:20:07.521" v="88" actId="20577"/>
          <ac:spMkLst>
            <pc:docMk/>
            <pc:sldMk cId="3491360341" sldId="8786"/>
            <ac:spMk id="40" creationId="{121719F8-2A26-490B-BE98-0511C598856F}"/>
          </ac:spMkLst>
        </pc:spChg>
      </pc:sldChg>
    </pc:docChg>
  </pc:docChgLst>
  <pc:docChgLst>
    <pc:chgData name="Jivrajani, Dharini" userId="S::djivrajani@deloitte.com::9f28c9a6-e07b-4de5-8682-ac3f5c875595" providerId="AD" clId="Web-{D40FC566-C40E-4C3D-9A30-09C6AD6DDE5A}"/>
    <pc:docChg chg="modSld">
      <pc:chgData name="Jivrajani, Dharini" userId="S::djivrajani@deloitte.com::9f28c9a6-e07b-4de5-8682-ac3f5c875595" providerId="AD" clId="Web-{D40FC566-C40E-4C3D-9A30-09C6AD6DDE5A}" dt="2020-10-27T12:34:44.982" v="40" actId="20577"/>
      <pc:docMkLst>
        <pc:docMk/>
      </pc:docMkLst>
      <pc:sldChg chg="modSp">
        <pc:chgData name="Jivrajani, Dharini" userId="S::djivrajani@deloitte.com::9f28c9a6-e07b-4de5-8682-ac3f5c875595" providerId="AD" clId="Web-{D40FC566-C40E-4C3D-9A30-09C6AD6DDE5A}" dt="2020-10-27T12:34:44.982" v="39" actId="20577"/>
        <pc:sldMkLst>
          <pc:docMk/>
          <pc:sldMk cId="960965317" sldId="8822"/>
        </pc:sldMkLst>
        <pc:spChg chg="mod">
          <ac:chgData name="Jivrajani, Dharini" userId="S::djivrajani@deloitte.com::9f28c9a6-e07b-4de5-8682-ac3f5c875595" providerId="AD" clId="Web-{D40FC566-C40E-4C3D-9A30-09C6AD6DDE5A}" dt="2020-10-27T12:34:44.982" v="39" actId="20577"/>
          <ac:spMkLst>
            <pc:docMk/>
            <pc:sldMk cId="960965317" sldId="8822"/>
            <ac:spMk id="2" creationId="{128AC169-3E22-4BE7-A66C-85FDCD0D9814}"/>
          </ac:spMkLst>
        </pc:spChg>
      </pc:sldChg>
      <pc:sldChg chg="modSp">
        <pc:chgData name="Jivrajani, Dharini" userId="S::djivrajani@deloitte.com::9f28c9a6-e07b-4de5-8682-ac3f5c875595" providerId="AD" clId="Web-{D40FC566-C40E-4C3D-9A30-09C6AD6DDE5A}" dt="2020-10-27T12:33:46.747" v="3" actId="20577"/>
        <pc:sldMkLst>
          <pc:docMk/>
          <pc:sldMk cId="2138715199" sldId="8833"/>
        </pc:sldMkLst>
        <pc:spChg chg="mod">
          <ac:chgData name="Jivrajani, Dharini" userId="S::djivrajani@deloitte.com::9f28c9a6-e07b-4de5-8682-ac3f5c875595" providerId="AD" clId="Web-{D40FC566-C40E-4C3D-9A30-09C6AD6DDE5A}" dt="2020-10-27T12:33:46.747" v="3" actId="20577"/>
          <ac:spMkLst>
            <pc:docMk/>
            <pc:sldMk cId="2138715199" sldId="8833"/>
            <ac:spMk id="5" creationId="{04E3B074-3CBA-41FE-9B88-0578E5E688CC}"/>
          </ac:spMkLst>
        </pc:spChg>
      </pc:sldChg>
      <pc:sldChg chg="modSp">
        <pc:chgData name="Jivrajani, Dharini" userId="S::djivrajani@deloitte.com::9f28c9a6-e07b-4de5-8682-ac3f5c875595" providerId="AD" clId="Web-{D40FC566-C40E-4C3D-9A30-09C6AD6DDE5A}" dt="2020-10-27T12:34:13.654" v="11" actId="20577"/>
        <pc:sldMkLst>
          <pc:docMk/>
          <pc:sldMk cId="3911023700" sldId="8997"/>
        </pc:sldMkLst>
        <pc:spChg chg="mod">
          <ac:chgData name="Jivrajani, Dharini" userId="S::djivrajani@deloitte.com::9f28c9a6-e07b-4de5-8682-ac3f5c875595" providerId="AD" clId="Web-{D40FC566-C40E-4C3D-9A30-09C6AD6DDE5A}" dt="2020-10-27T12:34:13.654" v="11" actId="20577"/>
          <ac:spMkLst>
            <pc:docMk/>
            <pc:sldMk cId="3911023700" sldId="8997"/>
            <ac:spMk id="10" creationId="{9E75445F-C792-417F-A090-F6BCAA106DE8}"/>
          </ac:spMkLst>
        </pc:spChg>
      </pc:sldChg>
    </pc:docChg>
  </pc:docChgLst>
  <pc:docChgLst>
    <pc:chgData name="Sharma Palla, Rakesh" userId="S::rsharmapalla@deloitte.com::10f9904b-c976-486e-940c-ca5698800d24" providerId="AD" clId="Web-{EC400F6C-C306-45C0-8C57-5798517ED835}"/>
    <pc:docChg chg="modSld">
      <pc:chgData name="Sharma Palla, Rakesh" userId="S::rsharmapalla@deloitte.com::10f9904b-c976-486e-940c-ca5698800d24" providerId="AD" clId="Web-{EC400F6C-C306-45C0-8C57-5798517ED835}" dt="2021-03-22T18:30:37.906" v="63"/>
      <pc:docMkLst>
        <pc:docMk/>
      </pc:docMkLst>
      <pc:sldChg chg="modSp">
        <pc:chgData name="Sharma Palla, Rakesh" userId="S::rsharmapalla@deloitte.com::10f9904b-c976-486e-940c-ca5698800d24" providerId="AD" clId="Web-{EC400F6C-C306-45C0-8C57-5798517ED835}" dt="2021-03-22T17:57:55.684" v="3" actId="20577"/>
        <pc:sldMkLst>
          <pc:docMk/>
          <pc:sldMk cId="1078693895" sldId="268"/>
        </pc:sldMkLst>
        <pc:spChg chg="mod">
          <ac:chgData name="Sharma Palla, Rakesh" userId="S::rsharmapalla@deloitte.com::10f9904b-c976-486e-940c-ca5698800d24" providerId="AD" clId="Web-{EC400F6C-C306-45C0-8C57-5798517ED835}" dt="2021-03-22T17:57:55.684" v="3" actId="20577"/>
          <ac:spMkLst>
            <pc:docMk/>
            <pc:sldMk cId="1078693895" sldId="268"/>
            <ac:spMk id="20" creationId="{97F95232-FAF7-4FBD-A394-067DD3DBBE84}"/>
          </ac:spMkLst>
        </pc:spChg>
      </pc:sldChg>
      <pc:sldChg chg="delSp modSp">
        <pc:chgData name="Sharma Palla, Rakesh" userId="S::rsharmapalla@deloitte.com::10f9904b-c976-486e-940c-ca5698800d24" providerId="AD" clId="Web-{EC400F6C-C306-45C0-8C57-5798517ED835}" dt="2021-03-22T18:30:37.906" v="63"/>
        <pc:sldMkLst>
          <pc:docMk/>
          <pc:sldMk cId="847777020" sldId="8791"/>
        </pc:sldMkLst>
        <pc:spChg chg="del mod">
          <ac:chgData name="Sharma Palla, Rakesh" userId="S::rsharmapalla@deloitte.com::10f9904b-c976-486e-940c-ca5698800d24" providerId="AD" clId="Web-{EC400F6C-C306-45C0-8C57-5798517ED835}" dt="2021-03-22T18:25:26.682" v="61"/>
          <ac:spMkLst>
            <pc:docMk/>
            <pc:sldMk cId="847777020" sldId="8791"/>
            <ac:spMk id="5" creationId="{177263DA-30B8-4B43-A64D-715B93D231FB}"/>
          </ac:spMkLst>
        </pc:spChg>
        <pc:graphicFrameChg chg="mod modGraphic">
          <ac:chgData name="Sharma Palla, Rakesh" userId="S::rsharmapalla@deloitte.com::10f9904b-c976-486e-940c-ca5698800d24" providerId="AD" clId="Web-{EC400F6C-C306-45C0-8C57-5798517ED835}" dt="2021-03-22T18:30:37.906" v="63"/>
          <ac:graphicFrameMkLst>
            <pc:docMk/>
            <pc:sldMk cId="847777020" sldId="8791"/>
            <ac:graphicFrameMk id="2" creationId="{047A132D-3FAE-48C5-BD5F-C01213AAD2F4}"/>
          </ac:graphicFrameMkLst>
        </pc:graphicFrameChg>
      </pc:sldChg>
    </pc:docChg>
  </pc:docChgLst>
  <pc:docChgLst>
    <pc:chgData name="Ghosh, Anindya" userId="S::anighosh@deloitte.com::1c8636f3-f28e-411c-9bbf-d78a395a60f5" providerId="AD" clId="Web-{67E822DC-A438-4FDB-8D49-2DAE19CAA63F}"/>
    <pc:docChg chg="modSld">
      <pc:chgData name="Ghosh, Anindya" userId="S::anighosh@deloitte.com::1c8636f3-f28e-411c-9bbf-d78a395a60f5" providerId="AD" clId="Web-{67E822DC-A438-4FDB-8D49-2DAE19CAA63F}" dt="2021-07-08T14:49:28.112" v="34" actId="20577"/>
      <pc:docMkLst>
        <pc:docMk/>
      </pc:docMkLst>
      <pc:sldChg chg="modSp">
        <pc:chgData name="Ghosh, Anindya" userId="S::anighosh@deloitte.com::1c8636f3-f28e-411c-9bbf-d78a395a60f5" providerId="AD" clId="Web-{67E822DC-A438-4FDB-8D49-2DAE19CAA63F}" dt="2021-07-08T14:49:28.112" v="34" actId="20577"/>
        <pc:sldMkLst>
          <pc:docMk/>
          <pc:sldMk cId="4169581344" sldId="8798"/>
        </pc:sldMkLst>
        <pc:spChg chg="mod">
          <ac:chgData name="Ghosh, Anindya" userId="S::anighosh@deloitte.com::1c8636f3-f28e-411c-9bbf-d78a395a60f5" providerId="AD" clId="Web-{67E822DC-A438-4FDB-8D49-2DAE19CAA63F}" dt="2021-07-08T14:49:28.112" v="34" actId="20577"/>
          <ac:spMkLst>
            <pc:docMk/>
            <pc:sldMk cId="4169581344" sldId="8798"/>
            <ac:spMk id="10" creationId="{216C39D2-8C6A-49A9-B1CB-50DC4A5CF567}"/>
          </ac:spMkLst>
        </pc:spChg>
      </pc:sldChg>
    </pc:docChg>
  </pc:docChgLst>
  <pc:docChgLst>
    <pc:chgData name="Jivrajani, Dharini" userId="S::djivrajani@deloitte.com::9f28c9a6-e07b-4de5-8682-ac3f5c875595" providerId="AD" clId="Web-{FA8A1401-E28B-4CF5-935F-C8916F1CFD57}"/>
    <pc:docChg chg="modSld">
      <pc:chgData name="Jivrajani, Dharini" userId="S::djivrajani@deloitte.com::9f28c9a6-e07b-4de5-8682-ac3f5c875595" providerId="AD" clId="Web-{FA8A1401-E28B-4CF5-935F-C8916F1CFD57}" dt="2021-03-04T15:03:05.922" v="15"/>
      <pc:docMkLst>
        <pc:docMk/>
      </pc:docMkLst>
      <pc:sldChg chg="modSp">
        <pc:chgData name="Jivrajani, Dharini" userId="S::djivrajani@deloitte.com::9f28c9a6-e07b-4de5-8682-ac3f5c875595" providerId="AD" clId="Web-{FA8A1401-E28B-4CF5-935F-C8916F1CFD57}" dt="2021-03-04T15:03:05.922" v="15"/>
        <pc:sldMkLst>
          <pc:docMk/>
          <pc:sldMk cId="3377722835" sldId="8772"/>
        </pc:sldMkLst>
        <pc:graphicFrameChg chg="mod modGraphic">
          <ac:chgData name="Jivrajani, Dharini" userId="S::djivrajani@deloitte.com::9f28c9a6-e07b-4de5-8682-ac3f5c875595" providerId="AD" clId="Web-{FA8A1401-E28B-4CF5-935F-C8916F1CFD57}" dt="2021-03-04T15:03:05.922" v="15"/>
          <ac:graphicFrameMkLst>
            <pc:docMk/>
            <pc:sldMk cId="3377722835" sldId="8772"/>
            <ac:graphicFrameMk id="2" creationId="{7D8F2493-A0C4-4740-A16F-E066BC79CDD8}"/>
          </ac:graphicFrameMkLst>
        </pc:graphicFrameChg>
      </pc:sldChg>
    </pc:docChg>
  </pc:docChgLst>
  <pc:docChgLst>
    <pc:chgData name="Jackman, Lauren" userId="ef96ab20-fb12-476c-a3e0-14bd051fc290" providerId="ADAL" clId="{1C4B797E-D8B8-4775-847D-104FBE33A288}"/>
    <pc:docChg chg="custSel delSld modSld modSection">
      <pc:chgData name="Jackman, Lauren" userId="ef96ab20-fb12-476c-a3e0-14bd051fc290" providerId="ADAL" clId="{1C4B797E-D8B8-4775-847D-104FBE33A288}" dt="2021-04-27T20:26:54.474" v="136" actId="13926"/>
      <pc:docMkLst>
        <pc:docMk/>
      </pc:docMkLst>
      <pc:sldChg chg="modSp">
        <pc:chgData name="Jackman, Lauren" userId="ef96ab20-fb12-476c-a3e0-14bd051fc290" providerId="ADAL" clId="{1C4B797E-D8B8-4775-847D-104FBE33A288}" dt="2021-04-27T20:26:54.474" v="136" actId="13926"/>
        <pc:sldMkLst>
          <pc:docMk/>
          <pc:sldMk cId="3007601309" sldId="442"/>
        </pc:sldMkLst>
        <pc:graphicFrameChg chg="modGraphic">
          <ac:chgData name="Jackman, Lauren" userId="ef96ab20-fb12-476c-a3e0-14bd051fc290" providerId="ADAL" clId="{1C4B797E-D8B8-4775-847D-104FBE33A288}" dt="2021-04-27T20:26:54.474" v="136" actId="13926"/>
          <ac:graphicFrameMkLst>
            <pc:docMk/>
            <pc:sldMk cId="3007601309" sldId="442"/>
            <ac:graphicFrameMk id="19" creationId="{00000000-0000-0000-0000-000000000000}"/>
          </ac:graphicFrameMkLst>
        </pc:graphicFrameChg>
      </pc:sldChg>
      <pc:sldChg chg="modSp">
        <pc:chgData name="Jackman, Lauren" userId="ef96ab20-fb12-476c-a3e0-14bd051fc290" providerId="ADAL" clId="{1C4B797E-D8B8-4775-847D-104FBE33A288}" dt="2021-04-27T20:26:07.276" v="133" actId="13926"/>
        <pc:sldMkLst>
          <pc:docMk/>
          <pc:sldMk cId="793120422" sldId="444"/>
        </pc:sldMkLst>
        <pc:graphicFrameChg chg="modGraphic">
          <ac:chgData name="Jackman, Lauren" userId="ef96ab20-fb12-476c-a3e0-14bd051fc290" providerId="ADAL" clId="{1C4B797E-D8B8-4775-847D-104FBE33A288}" dt="2021-04-27T20:26:07.276" v="133" actId="13926"/>
          <ac:graphicFrameMkLst>
            <pc:docMk/>
            <pc:sldMk cId="793120422" sldId="444"/>
            <ac:graphicFrameMk id="19" creationId="{00000000-0000-0000-0000-000000000000}"/>
          </ac:graphicFrameMkLst>
        </pc:graphicFrameChg>
      </pc:sldChg>
      <pc:sldChg chg="modSp">
        <pc:chgData name="Jackman, Lauren" userId="ef96ab20-fb12-476c-a3e0-14bd051fc290" providerId="ADAL" clId="{1C4B797E-D8B8-4775-847D-104FBE33A288}" dt="2021-04-06T20:57:24.122" v="131" actId="20577"/>
        <pc:sldMkLst>
          <pc:docMk/>
          <pc:sldMk cId="3491360341" sldId="8786"/>
        </pc:sldMkLst>
        <pc:spChg chg="mod">
          <ac:chgData name="Jackman, Lauren" userId="ef96ab20-fb12-476c-a3e0-14bd051fc290" providerId="ADAL" clId="{1C4B797E-D8B8-4775-847D-104FBE33A288}" dt="2021-04-06T20:57:24.122" v="131" actId="20577"/>
          <ac:spMkLst>
            <pc:docMk/>
            <pc:sldMk cId="3491360341" sldId="8786"/>
            <ac:spMk id="40" creationId="{121719F8-2A26-490B-BE98-0511C598856F}"/>
          </ac:spMkLst>
        </pc:spChg>
        <pc:graphicFrameChg chg="modGraphic">
          <ac:chgData name="Jackman, Lauren" userId="ef96ab20-fb12-476c-a3e0-14bd051fc290" providerId="ADAL" clId="{1C4B797E-D8B8-4775-847D-104FBE33A288}" dt="2021-04-06T20:38:40.755" v="53" actId="20577"/>
          <ac:graphicFrameMkLst>
            <pc:docMk/>
            <pc:sldMk cId="3491360341" sldId="8786"/>
            <ac:graphicFrameMk id="4" creationId="{FE664A44-2B52-48E1-842B-86373307A2AD}"/>
          </ac:graphicFrameMkLst>
        </pc:graphicFrameChg>
      </pc:sldChg>
      <pc:sldChg chg="del">
        <pc:chgData name="Jackman, Lauren" userId="ef96ab20-fb12-476c-a3e0-14bd051fc290" providerId="ADAL" clId="{1C4B797E-D8B8-4775-847D-104FBE33A288}" dt="2021-03-23T22:30:41.582" v="18" actId="2696"/>
        <pc:sldMkLst>
          <pc:docMk/>
          <pc:sldMk cId="1257928931" sldId="9017"/>
        </pc:sldMkLst>
      </pc:sldChg>
      <pc:sldChg chg="del">
        <pc:chgData name="Jackman, Lauren" userId="ef96ab20-fb12-476c-a3e0-14bd051fc290" providerId="ADAL" clId="{1C4B797E-D8B8-4775-847D-104FBE33A288}" dt="2021-03-23T22:30:40.545" v="17" actId="2696"/>
        <pc:sldMkLst>
          <pc:docMk/>
          <pc:sldMk cId="1038663697" sldId="9018"/>
        </pc:sldMkLst>
      </pc:sldChg>
      <pc:sldChg chg="addSp delSp modSp">
        <pc:chgData name="Jackman, Lauren" userId="ef96ab20-fb12-476c-a3e0-14bd051fc290" providerId="ADAL" clId="{1C4B797E-D8B8-4775-847D-104FBE33A288}" dt="2021-03-23T13:02:54.271" v="16" actId="1076"/>
        <pc:sldMkLst>
          <pc:docMk/>
          <pc:sldMk cId="4088066546" sldId="9025"/>
        </pc:sldMkLst>
        <pc:spChg chg="add mod">
          <ac:chgData name="Jackman, Lauren" userId="ef96ab20-fb12-476c-a3e0-14bd051fc290" providerId="ADAL" clId="{1C4B797E-D8B8-4775-847D-104FBE33A288}" dt="2021-03-23T13:02:54.271" v="16" actId="1076"/>
          <ac:spMkLst>
            <pc:docMk/>
            <pc:sldMk cId="4088066546" sldId="9025"/>
            <ac:spMk id="21" creationId="{919F2914-6AC6-4202-8B62-5498BF0A099B}"/>
          </ac:spMkLst>
        </pc:spChg>
        <pc:spChg chg="add mod">
          <ac:chgData name="Jackman, Lauren" userId="ef96ab20-fb12-476c-a3e0-14bd051fc290" providerId="ADAL" clId="{1C4B797E-D8B8-4775-847D-104FBE33A288}" dt="2021-03-23T13:01:07.427" v="7" actId="20577"/>
          <ac:spMkLst>
            <pc:docMk/>
            <pc:sldMk cId="4088066546" sldId="9025"/>
            <ac:spMk id="88" creationId="{2A1904E0-10C6-4A6A-A8DF-F864F60D0401}"/>
          </ac:spMkLst>
        </pc:spChg>
        <pc:spChg chg="add del mod">
          <ac:chgData name="Jackman, Lauren" userId="ef96ab20-fb12-476c-a3e0-14bd051fc290" providerId="ADAL" clId="{1C4B797E-D8B8-4775-847D-104FBE33A288}" dt="2021-03-23T13:02:48.813" v="14" actId="478"/>
          <ac:spMkLst>
            <pc:docMk/>
            <pc:sldMk cId="4088066546" sldId="9025"/>
            <ac:spMk id="92" creationId="{A1628C7B-2073-4747-ACA1-0EB2BB56BE02}"/>
          </ac:spMkLst>
        </pc:spChg>
        <pc:spChg chg="mod">
          <ac:chgData name="Jackman, Lauren" userId="ef96ab20-fb12-476c-a3e0-14bd051fc290" providerId="ADAL" clId="{1C4B797E-D8B8-4775-847D-104FBE33A288}" dt="2021-03-23T13:01:00.485" v="2" actId="1076"/>
          <ac:spMkLst>
            <pc:docMk/>
            <pc:sldMk cId="4088066546" sldId="9025"/>
            <ac:spMk id="97" creationId="{90BABE5D-A7D1-440C-9502-AE20489792F1}"/>
          </ac:spMkLst>
        </pc:spChg>
      </pc:sldChg>
    </pc:docChg>
  </pc:docChgLst>
  <pc:docChgLst>
    <pc:chgData name="Kutas-Hille, Janine" userId="S::jkutashille@deloitte.com::0788d68a-0adc-44ef-94ed-31189926cb8f" providerId="AD" clId="Web-{6B7D6994-5B48-57F7-BAA2-EEBDBFC35E8C}"/>
    <pc:docChg chg="modSld">
      <pc:chgData name="Kutas-Hille, Janine" userId="S::jkutashille@deloitte.com::0788d68a-0adc-44ef-94ed-31189926cb8f" providerId="AD" clId="Web-{6B7D6994-5B48-57F7-BAA2-EEBDBFC35E8C}" dt="2020-07-14T03:05:16.878" v="9" actId="20577"/>
      <pc:docMkLst>
        <pc:docMk/>
      </pc:docMkLst>
      <pc:sldChg chg="modSp">
        <pc:chgData name="Kutas-Hille, Janine" userId="S::jkutashille@deloitte.com::0788d68a-0adc-44ef-94ed-31189926cb8f" providerId="AD" clId="Web-{6B7D6994-5B48-57F7-BAA2-EEBDBFC35E8C}" dt="2020-07-14T03:05:16.878" v="8" actId="20577"/>
        <pc:sldMkLst>
          <pc:docMk/>
          <pc:sldMk cId="1180582917" sldId="8835"/>
        </pc:sldMkLst>
        <pc:spChg chg="mod">
          <ac:chgData name="Kutas-Hille, Janine" userId="S::jkutashille@deloitte.com::0788d68a-0adc-44ef-94ed-31189926cb8f" providerId="AD" clId="Web-{6B7D6994-5B48-57F7-BAA2-EEBDBFC35E8C}" dt="2020-07-14T03:05:16.878" v="8" actId="20577"/>
          <ac:spMkLst>
            <pc:docMk/>
            <pc:sldMk cId="1180582917" sldId="8835"/>
            <ac:spMk id="3" creationId="{21BBA9DD-83F9-4617-84E4-6CAA74E3B9FB}"/>
          </ac:spMkLst>
        </pc:spChg>
      </pc:sldChg>
    </pc:docChg>
  </pc:docChgLst>
  <pc:docChgLst>
    <pc:chgData name="Pisolkar, Mythili" userId="S::mpisolkar@deloitte.com::5c2e61a5-7599-47da-8a56-475e532f8f3c" providerId="AD" clId="Web-{2BBF26DB-DE04-41C2-B3FC-540A21DE31F7}"/>
    <pc:docChg chg="modSld">
      <pc:chgData name="Pisolkar, Mythili" userId="S::mpisolkar@deloitte.com::5c2e61a5-7599-47da-8a56-475e532f8f3c" providerId="AD" clId="Web-{2BBF26DB-DE04-41C2-B3FC-540A21DE31F7}" dt="2021-07-13T13:08:40.831" v="1" actId="1076"/>
      <pc:docMkLst>
        <pc:docMk/>
      </pc:docMkLst>
      <pc:sldChg chg="modSp">
        <pc:chgData name="Pisolkar, Mythili" userId="S::mpisolkar@deloitte.com::5c2e61a5-7599-47da-8a56-475e532f8f3c" providerId="AD" clId="Web-{2BBF26DB-DE04-41C2-B3FC-540A21DE31F7}" dt="2021-07-13T13:08:40.831" v="1" actId="1076"/>
        <pc:sldMkLst>
          <pc:docMk/>
          <pc:sldMk cId="3424447147" sldId="9001"/>
        </pc:sldMkLst>
        <pc:picChg chg="mod">
          <ac:chgData name="Pisolkar, Mythili" userId="S::mpisolkar@deloitte.com::5c2e61a5-7599-47da-8a56-475e532f8f3c" providerId="AD" clId="Web-{2BBF26DB-DE04-41C2-B3FC-540A21DE31F7}" dt="2021-07-13T13:08:40.831" v="1" actId="1076"/>
          <ac:picMkLst>
            <pc:docMk/>
            <pc:sldMk cId="3424447147" sldId="9001"/>
            <ac:picMk id="26" creationId="{F0C3B2EC-1428-4CD8-A95C-489B086EB384}"/>
          </ac:picMkLst>
        </pc:picChg>
      </pc:sldChg>
    </pc:docChg>
  </pc:docChgLst>
  <pc:docChgLst>
    <pc:chgData name="Bouikidis, Zois" userId="S::zbouikidis@deloitte.com::bd1a3939-50ae-4ed9-9f20-380b71c15406" providerId="AD" clId="Web-{919C9FA2-1CA7-41D0-899E-A1FE489F695F}"/>
    <pc:docChg chg="addSld delSld modSection">
      <pc:chgData name="Bouikidis, Zois" userId="S::zbouikidis@deloitte.com::bd1a3939-50ae-4ed9-9f20-380b71c15406" providerId="AD" clId="Web-{919C9FA2-1CA7-41D0-899E-A1FE489F695F}" dt="2020-07-10T14:55:09.416" v="1"/>
      <pc:docMkLst>
        <pc:docMk/>
      </pc:docMkLst>
      <pc:sldChg chg="new del">
        <pc:chgData name="Bouikidis, Zois" userId="S::zbouikidis@deloitte.com::bd1a3939-50ae-4ed9-9f20-380b71c15406" providerId="AD" clId="Web-{919C9FA2-1CA7-41D0-899E-A1FE489F695F}" dt="2020-07-10T14:55:09.416" v="1"/>
        <pc:sldMkLst>
          <pc:docMk/>
          <pc:sldMk cId="84902294" sldId="8976"/>
        </pc:sldMkLst>
      </pc:sldChg>
    </pc:docChg>
  </pc:docChgLst>
  <pc:docChgLst>
    <pc:chgData name="Rudraraju, Vijaya" userId="106f6c26-77b2-4e0c-8472-1c142b7002a0" providerId="ADAL" clId="{F394C269-629C-42C7-AF10-177E60B8E5D5}"/>
    <pc:docChg chg="modSld">
      <pc:chgData name="Rudraraju, Vijaya" userId="106f6c26-77b2-4e0c-8472-1c142b7002a0" providerId="ADAL" clId="{F394C269-629C-42C7-AF10-177E60B8E5D5}" dt="2021-03-23T03:57:03.631" v="7" actId="20577"/>
      <pc:docMkLst>
        <pc:docMk/>
      </pc:docMkLst>
      <pc:sldChg chg="modSp">
        <pc:chgData name="Rudraraju, Vijaya" userId="106f6c26-77b2-4e0c-8472-1c142b7002a0" providerId="ADAL" clId="{F394C269-629C-42C7-AF10-177E60B8E5D5}" dt="2021-03-23T03:57:03.631" v="7" actId="20577"/>
        <pc:sldMkLst>
          <pc:docMk/>
          <pc:sldMk cId="3491360341" sldId="8786"/>
        </pc:sldMkLst>
        <pc:graphicFrameChg chg="modGraphic">
          <ac:chgData name="Rudraraju, Vijaya" userId="106f6c26-77b2-4e0c-8472-1c142b7002a0" providerId="ADAL" clId="{F394C269-629C-42C7-AF10-177E60B8E5D5}" dt="2021-03-23T03:57:03.631" v="7" actId="20577"/>
          <ac:graphicFrameMkLst>
            <pc:docMk/>
            <pc:sldMk cId="3491360341" sldId="8786"/>
            <ac:graphicFrameMk id="4" creationId="{FE664A44-2B52-48E1-842B-86373307A2AD}"/>
          </ac:graphicFrameMkLst>
        </pc:graphicFrameChg>
      </pc:sldChg>
    </pc:docChg>
  </pc:docChgLst>
  <pc:docChgLst>
    <pc:chgData name="Mukherjee, Krishnendu" userId="8df999e8-a9d6-4973-bdc2-708772ae3d9d" providerId="ADAL" clId="{664AEEFB-CDCE-43FF-B67B-EF36FD9CD8E3}"/>
    <pc:docChg chg="undo custSel addSld modSld">
      <pc:chgData name="Mukherjee, Krishnendu" userId="8df999e8-a9d6-4973-bdc2-708772ae3d9d" providerId="ADAL" clId="{664AEEFB-CDCE-43FF-B67B-EF36FD9CD8E3}" dt="2021-07-14T06:57:03.510" v="1545" actId="1076"/>
      <pc:docMkLst>
        <pc:docMk/>
      </pc:docMkLst>
      <pc:sldChg chg="modSp mod">
        <pc:chgData name="Mukherjee, Krishnendu" userId="8df999e8-a9d6-4973-bdc2-708772ae3d9d" providerId="ADAL" clId="{664AEEFB-CDCE-43FF-B67B-EF36FD9CD8E3}" dt="2021-07-12T12:59:56.363" v="657" actId="6549"/>
        <pc:sldMkLst>
          <pc:docMk/>
          <pc:sldMk cId="1078693895" sldId="268"/>
        </pc:sldMkLst>
        <pc:spChg chg="mod">
          <ac:chgData name="Mukherjee, Krishnendu" userId="8df999e8-a9d6-4973-bdc2-708772ae3d9d" providerId="ADAL" clId="{664AEEFB-CDCE-43FF-B67B-EF36FD9CD8E3}" dt="2021-07-12T12:55:09.747" v="481" actId="20577"/>
          <ac:spMkLst>
            <pc:docMk/>
            <pc:sldMk cId="1078693895" sldId="268"/>
            <ac:spMk id="20" creationId="{97F95232-FAF7-4FBD-A394-067DD3DBBE84}"/>
          </ac:spMkLst>
        </pc:spChg>
        <pc:spChg chg="mod">
          <ac:chgData name="Mukherjee, Krishnendu" userId="8df999e8-a9d6-4973-bdc2-708772ae3d9d" providerId="ADAL" clId="{664AEEFB-CDCE-43FF-B67B-EF36FD9CD8E3}" dt="2021-07-12T12:59:56.363" v="657" actId="6549"/>
          <ac:spMkLst>
            <pc:docMk/>
            <pc:sldMk cId="1078693895" sldId="268"/>
            <ac:spMk id="22" creationId="{E4EEB0BB-CEA4-435D-930A-B95795FCC5A9}"/>
          </ac:spMkLst>
        </pc:spChg>
      </pc:sldChg>
      <pc:sldChg chg="addSp modSp mod">
        <pc:chgData name="Mukherjee, Krishnendu" userId="8df999e8-a9d6-4973-bdc2-708772ae3d9d" providerId="ADAL" clId="{664AEEFB-CDCE-43FF-B67B-EF36FD9CD8E3}" dt="2021-07-14T06:57:03.510" v="1545" actId="1076"/>
        <pc:sldMkLst>
          <pc:docMk/>
          <pc:sldMk cId="2455683379" sldId="277"/>
        </pc:sldMkLst>
        <pc:spChg chg="add mod">
          <ac:chgData name="Mukherjee, Krishnendu" userId="8df999e8-a9d6-4973-bdc2-708772ae3d9d" providerId="ADAL" clId="{664AEEFB-CDCE-43FF-B67B-EF36FD9CD8E3}" dt="2021-07-13T06:08:00.197" v="1458" actId="1076"/>
          <ac:spMkLst>
            <pc:docMk/>
            <pc:sldMk cId="2455683379" sldId="277"/>
            <ac:spMk id="15" creationId="{2871E583-1CC6-40B5-9379-51CCE19870BD}"/>
          </ac:spMkLst>
        </pc:spChg>
        <pc:picChg chg="mod">
          <ac:chgData name="Mukherjee, Krishnendu" userId="8df999e8-a9d6-4973-bdc2-708772ae3d9d" providerId="ADAL" clId="{664AEEFB-CDCE-43FF-B67B-EF36FD9CD8E3}" dt="2021-07-14T06:57:03.510" v="1545" actId="1076"/>
          <ac:picMkLst>
            <pc:docMk/>
            <pc:sldMk cId="2455683379" sldId="277"/>
            <ac:picMk id="4" creationId="{123AF564-5FE2-4403-A216-62D7E561ED0E}"/>
          </ac:picMkLst>
        </pc:picChg>
      </pc:sldChg>
      <pc:sldChg chg="delSp mod">
        <pc:chgData name="Mukherjee, Krishnendu" userId="8df999e8-a9d6-4973-bdc2-708772ae3d9d" providerId="ADAL" clId="{664AEEFB-CDCE-43FF-B67B-EF36FD9CD8E3}" dt="2021-07-12T16:51:32.483" v="1322" actId="478"/>
        <pc:sldMkLst>
          <pc:docMk/>
          <pc:sldMk cId="3756249856" sldId="398"/>
        </pc:sldMkLst>
        <pc:spChg chg="del">
          <ac:chgData name="Mukherjee, Krishnendu" userId="8df999e8-a9d6-4973-bdc2-708772ae3d9d" providerId="ADAL" clId="{664AEEFB-CDCE-43FF-B67B-EF36FD9CD8E3}" dt="2021-07-12T16:51:32.483" v="1322" actId="478"/>
          <ac:spMkLst>
            <pc:docMk/>
            <pc:sldMk cId="3756249856" sldId="398"/>
            <ac:spMk id="9" creationId="{BB95B3A2-8F4B-40F0-9F2C-D2556AD407D6}"/>
          </ac:spMkLst>
        </pc:spChg>
      </pc:sldChg>
      <pc:sldChg chg="addSp delSp modSp mod">
        <pc:chgData name="Mukherjee, Krishnendu" userId="8df999e8-a9d6-4973-bdc2-708772ae3d9d" providerId="ADAL" clId="{664AEEFB-CDCE-43FF-B67B-EF36FD9CD8E3}" dt="2021-07-13T10:55:31.304" v="1544" actId="20577"/>
        <pc:sldMkLst>
          <pc:docMk/>
          <pc:sldMk cId="2138715199" sldId="8833"/>
        </pc:sldMkLst>
        <pc:spChg chg="add del">
          <ac:chgData name="Mukherjee, Krishnendu" userId="8df999e8-a9d6-4973-bdc2-708772ae3d9d" providerId="ADAL" clId="{664AEEFB-CDCE-43FF-B67B-EF36FD9CD8E3}" dt="2021-07-12T17:21:20.741" v="1374"/>
          <ac:spMkLst>
            <pc:docMk/>
            <pc:sldMk cId="2138715199" sldId="8833"/>
            <ac:spMk id="3" creationId="{DC81082C-C20A-4A00-9933-DEA52CBC5B9F}"/>
          </ac:spMkLst>
        </pc:spChg>
        <pc:spChg chg="mod">
          <ac:chgData name="Mukherjee, Krishnendu" userId="8df999e8-a9d6-4973-bdc2-708772ae3d9d" providerId="ADAL" clId="{664AEEFB-CDCE-43FF-B67B-EF36FD9CD8E3}" dt="2021-07-12T17:21:44.813" v="1388" actId="20577"/>
          <ac:spMkLst>
            <pc:docMk/>
            <pc:sldMk cId="2138715199" sldId="8833"/>
            <ac:spMk id="4" creationId="{30EF7E5B-7924-4E05-B8AA-489BA066B7A0}"/>
          </ac:spMkLst>
        </pc:spChg>
        <pc:spChg chg="del">
          <ac:chgData name="Mukherjee, Krishnendu" userId="8df999e8-a9d6-4973-bdc2-708772ae3d9d" providerId="ADAL" clId="{664AEEFB-CDCE-43FF-B67B-EF36FD9CD8E3}" dt="2021-07-12T16:52:54.929" v="1324" actId="478"/>
          <ac:spMkLst>
            <pc:docMk/>
            <pc:sldMk cId="2138715199" sldId="8833"/>
            <ac:spMk id="5" creationId="{7707BA4E-3C38-44C4-B244-2CD400BFBB6B}"/>
          </ac:spMkLst>
        </pc:spChg>
        <pc:graphicFrameChg chg="mod modGraphic">
          <ac:chgData name="Mukherjee, Krishnendu" userId="8df999e8-a9d6-4973-bdc2-708772ae3d9d" providerId="ADAL" clId="{664AEEFB-CDCE-43FF-B67B-EF36FD9CD8E3}" dt="2021-07-13T10:55:31.304" v="1544" actId="20577"/>
          <ac:graphicFrameMkLst>
            <pc:docMk/>
            <pc:sldMk cId="2138715199" sldId="8833"/>
            <ac:graphicFrameMk id="2" creationId="{DBFB0C01-4024-4DDF-BB08-6AA678F60360}"/>
          </ac:graphicFrameMkLst>
        </pc:graphicFrameChg>
      </pc:sldChg>
      <pc:sldChg chg="delSp modSp mod delCm modCm">
        <pc:chgData name="Mukherjee, Krishnendu" userId="8df999e8-a9d6-4973-bdc2-708772ae3d9d" providerId="ADAL" clId="{664AEEFB-CDCE-43FF-B67B-EF36FD9CD8E3}" dt="2021-07-13T06:41:55.123" v="1540" actId="1592"/>
        <pc:sldMkLst>
          <pc:docMk/>
          <pc:sldMk cId="678701893" sldId="9006"/>
        </pc:sldMkLst>
        <pc:spChg chg="del mod">
          <ac:chgData name="Mukherjee, Krishnendu" userId="8df999e8-a9d6-4973-bdc2-708772ae3d9d" providerId="ADAL" clId="{664AEEFB-CDCE-43FF-B67B-EF36FD9CD8E3}" dt="2021-07-12T13:40:40.609" v="1135" actId="478"/>
          <ac:spMkLst>
            <pc:docMk/>
            <pc:sldMk cId="678701893" sldId="9006"/>
            <ac:spMk id="2" creationId="{AC0E8FDC-CD5C-4B99-AE0F-E1A478E15DB5}"/>
          </ac:spMkLst>
        </pc:spChg>
        <pc:spChg chg="mod">
          <ac:chgData name="Mukherjee, Krishnendu" userId="8df999e8-a9d6-4973-bdc2-708772ae3d9d" providerId="ADAL" clId="{664AEEFB-CDCE-43FF-B67B-EF36FD9CD8E3}" dt="2021-07-13T06:41:45.995" v="1539" actId="20577"/>
          <ac:spMkLst>
            <pc:docMk/>
            <pc:sldMk cId="678701893" sldId="9006"/>
            <ac:spMk id="7" creationId="{23BFA5EA-56E0-451D-8744-A431A8B9C40E}"/>
          </ac:spMkLst>
        </pc:spChg>
        <pc:spChg chg="del">
          <ac:chgData name="Mukherjee, Krishnendu" userId="8df999e8-a9d6-4973-bdc2-708772ae3d9d" providerId="ADAL" clId="{664AEEFB-CDCE-43FF-B67B-EF36FD9CD8E3}" dt="2021-07-12T13:00:29.164" v="658" actId="478"/>
          <ac:spMkLst>
            <pc:docMk/>
            <pc:sldMk cId="678701893" sldId="9006"/>
            <ac:spMk id="18" creationId="{9F3E622E-3F97-4819-81FE-46322B40AEB2}"/>
          </ac:spMkLst>
        </pc:spChg>
        <pc:spChg chg="mod">
          <ac:chgData name="Mukherjee, Krishnendu" userId="8df999e8-a9d6-4973-bdc2-708772ae3d9d" providerId="ADAL" clId="{664AEEFB-CDCE-43FF-B67B-EF36FD9CD8E3}" dt="2021-07-12T13:02:43.128" v="847" actId="207"/>
          <ac:spMkLst>
            <pc:docMk/>
            <pc:sldMk cId="678701893" sldId="9006"/>
            <ac:spMk id="32" creationId="{EF450DAD-1A03-4ADA-A6B6-85242294E514}"/>
          </ac:spMkLst>
        </pc:spChg>
        <pc:picChg chg="mod">
          <ac:chgData name="Mukherjee, Krishnendu" userId="8df999e8-a9d6-4973-bdc2-708772ae3d9d" providerId="ADAL" clId="{664AEEFB-CDCE-43FF-B67B-EF36FD9CD8E3}" dt="2021-07-12T17:03:31.242" v="1372" actId="1036"/>
          <ac:picMkLst>
            <pc:docMk/>
            <pc:sldMk cId="678701893" sldId="9006"/>
            <ac:picMk id="21" creationId="{9B224857-23E0-4D2A-89B0-D976348BE339}"/>
          </ac:picMkLst>
        </pc:picChg>
      </pc:sldChg>
      <pc:sldChg chg="delSp mod">
        <pc:chgData name="Mukherjee, Krishnendu" userId="8df999e8-a9d6-4973-bdc2-708772ae3d9d" providerId="ADAL" clId="{664AEEFB-CDCE-43FF-B67B-EF36FD9CD8E3}" dt="2021-07-12T16:51:37.500" v="1323" actId="478"/>
        <pc:sldMkLst>
          <pc:docMk/>
          <pc:sldMk cId="2524229145" sldId="9040"/>
        </pc:sldMkLst>
        <pc:spChg chg="del">
          <ac:chgData name="Mukherjee, Krishnendu" userId="8df999e8-a9d6-4973-bdc2-708772ae3d9d" providerId="ADAL" clId="{664AEEFB-CDCE-43FF-B67B-EF36FD9CD8E3}" dt="2021-07-12T16:51:37.500" v="1323" actId="478"/>
          <ac:spMkLst>
            <pc:docMk/>
            <pc:sldMk cId="2524229145" sldId="9040"/>
            <ac:spMk id="42" creationId="{8DC02C8C-022B-4580-8740-5019F6F41EFA}"/>
          </ac:spMkLst>
        </pc:spChg>
      </pc:sldChg>
      <pc:sldChg chg="modSp mod">
        <pc:chgData name="Mukherjee, Krishnendu" userId="8df999e8-a9d6-4973-bdc2-708772ae3d9d" providerId="ADAL" clId="{664AEEFB-CDCE-43FF-B67B-EF36FD9CD8E3}" dt="2021-07-12T16:50:01.489" v="1321" actId="14100"/>
        <pc:sldMkLst>
          <pc:docMk/>
          <pc:sldMk cId="53167518" sldId="9060"/>
        </pc:sldMkLst>
        <pc:spChg chg="mod">
          <ac:chgData name="Mukherjee, Krishnendu" userId="8df999e8-a9d6-4973-bdc2-708772ae3d9d" providerId="ADAL" clId="{664AEEFB-CDCE-43FF-B67B-EF36FD9CD8E3}" dt="2021-07-12T16:50:01.489" v="1321" actId="14100"/>
          <ac:spMkLst>
            <pc:docMk/>
            <pc:sldMk cId="53167518" sldId="9060"/>
            <ac:spMk id="34" creationId="{EEE24A91-8FF1-4DC0-B812-8107E3802F24}"/>
          </ac:spMkLst>
        </pc:spChg>
      </pc:sldChg>
      <pc:sldChg chg="addSp modSp mod">
        <pc:chgData name="Mukherjee, Krishnendu" userId="8df999e8-a9d6-4973-bdc2-708772ae3d9d" providerId="ADAL" clId="{664AEEFB-CDCE-43FF-B67B-EF36FD9CD8E3}" dt="2021-07-12T17:22:25.357" v="1410" actId="20577"/>
        <pc:sldMkLst>
          <pc:docMk/>
          <pc:sldMk cId="3038467007" sldId="9071"/>
        </pc:sldMkLst>
        <pc:spChg chg="mod">
          <ac:chgData name="Mukherjee, Krishnendu" userId="8df999e8-a9d6-4973-bdc2-708772ae3d9d" providerId="ADAL" clId="{664AEEFB-CDCE-43FF-B67B-EF36FD9CD8E3}" dt="2021-07-12T17:22:00.181" v="1401" actId="207"/>
          <ac:spMkLst>
            <pc:docMk/>
            <pc:sldMk cId="3038467007" sldId="9071"/>
            <ac:spMk id="4" creationId="{30EF7E5B-7924-4E05-B8AA-489BA066B7A0}"/>
          </ac:spMkLst>
        </pc:spChg>
        <pc:spChg chg="add mod">
          <ac:chgData name="Mukherjee, Krishnendu" userId="8df999e8-a9d6-4973-bdc2-708772ae3d9d" providerId="ADAL" clId="{664AEEFB-CDCE-43FF-B67B-EF36FD9CD8E3}" dt="2021-07-12T17:22:25.357" v="1410" actId="20577"/>
          <ac:spMkLst>
            <pc:docMk/>
            <pc:sldMk cId="3038467007" sldId="9071"/>
            <ac:spMk id="5" creationId="{CD7683B5-1621-4D89-8E6F-CE80E37E93A5}"/>
          </ac:spMkLst>
        </pc:spChg>
      </pc:sldChg>
      <pc:sldChg chg="addSp modSp add mod setBg">
        <pc:chgData name="Mukherjee, Krishnendu" userId="8df999e8-a9d6-4973-bdc2-708772ae3d9d" providerId="ADAL" clId="{664AEEFB-CDCE-43FF-B67B-EF36FD9CD8E3}" dt="2021-07-12T17:23:11.733" v="1420" actId="20577"/>
        <pc:sldMkLst>
          <pc:docMk/>
          <pc:sldMk cId="1234521308" sldId="9072"/>
        </pc:sldMkLst>
        <pc:spChg chg="add mod">
          <ac:chgData name="Mukherjee, Krishnendu" userId="8df999e8-a9d6-4973-bdc2-708772ae3d9d" providerId="ADAL" clId="{664AEEFB-CDCE-43FF-B67B-EF36FD9CD8E3}" dt="2021-07-12T17:23:04.923" v="1412"/>
          <ac:spMkLst>
            <pc:docMk/>
            <pc:sldMk cId="1234521308" sldId="9072"/>
            <ac:spMk id="18" creationId="{00E1A6FC-8DC2-4DB2-93B9-9A445B18F06F}"/>
          </ac:spMkLst>
        </pc:spChg>
        <pc:spChg chg="mod">
          <ac:chgData name="Mukherjee, Krishnendu" userId="8df999e8-a9d6-4973-bdc2-708772ae3d9d" providerId="ADAL" clId="{664AEEFB-CDCE-43FF-B67B-EF36FD9CD8E3}" dt="2021-07-12T17:23:11.733" v="1420" actId="20577"/>
          <ac:spMkLst>
            <pc:docMk/>
            <pc:sldMk cId="1234521308" sldId="9072"/>
            <ac:spMk id="32" creationId="{EF450DAD-1A03-4ADA-A6B6-85242294E514}"/>
          </ac:spMkLst>
        </pc:spChg>
      </pc:sldChg>
    </pc:docChg>
  </pc:docChgLst>
  <pc:docChgLst>
    <pc:chgData name="Prakash, Ankur" userId="e5ec4ef6-a8ef-421f-ae1a-afd967453ffe" providerId="ADAL" clId="{364CED1B-6DE4-4C01-AE28-E2F7509D50C5}"/>
    <pc:docChg chg="addSld modSld sldOrd">
      <pc:chgData name="Prakash, Ankur" userId="e5ec4ef6-a8ef-421f-ae1a-afd967453ffe" providerId="ADAL" clId="{364CED1B-6DE4-4C01-AE28-E2F7509D50C5}" dt="2020-06-11T11:27:00.455" v="30" actId="1076"/>
      <pc:docMkLst>
        <pc:docMk/>
      </pc:docMkLst>
      <pc:sldChg chg="modSp add">
        <pc:chgData name="Prakash, Ankur" userId="e5ec4ef6-a8ef-421f-ae1a-afd967453ffe" providerId="ADAL" clId="{364CED1B-6DE4-4C01-AE28-E2F7509D50C5}" dt="2020-06-11T11:26:06.768" v="28" actId="1076"/>
        <pc:sldMkLst>
          <pc:docMk/>
          <pc:sldMk cId="3502321823" sldId="262"/>
        </pc:sldMkLst>
        <pc:spChg chg="mod">
          <ac:chgData name="Prakash, Ankur" userId="e5ec4ef6-a8ef-421f-ae1a-afd967453ffe" providerId="ADAL" clId="{364CED1B-6DE4-4C01-AE28-E2F7509D50C5}" dt="2020-06-11T11:26:06.768" v="28" actId="1076"/>
          <ac:spMkLst>
            <pc:docMk/>
            <pc:sldMk cId="3502321823" sldId="262"/>
            <ac:spMk id="11" creationId="{C9C13CB8-6560-4C3A-9547-9C74F19A581A}"/>
          </ac:spMkLst>
        </pc:spChg>
      </pc:sldChg>
      <pc:sldChg chg="add">
        <pc:chgData name="Prakash, Ankur" userId="e5ec4ef6-a8ef-421f-ae1a-afd967453ffe" providerId="ADAL" clId="{364CED1B-6DE4-4C01-AE28-E2F7509D50C5}" dt="2020-06-11T11:24:11.917" v="0"/>
        <pc:sldMkLst>
          <pc:docMk/>
          <pc:sldMk cId="776867145" sldId="265"/>
        </pc:sldMkLst>
      </pc:sldChg>
      <pc:sldChg chg="modSp add">
        <pc:chgData name="Prakash, Ankur" userId="e5ec4ef6-a8ef-421f-ae1a-afd967453ffe" providerId="ADAL" clId="{364CED1B-6DE4-4C01-AE28-E2F7509D50C5}" dt="2020-06-11T11:27:00.455" v="30" actId="1076"/>
        <pc:sldMkLst>
          <pc:docMk/>
          <pc:sldMk cId="3608320234" sldId="266"/>
        </pc:sldMkLst>
        <pc:spChg chg="mod">
          <ac:chgData name="Prakash, Ankur" userId="e5ec4ef6-a8ef-421f-ae1a-afd967453ffe" providerId="ADAL" clId="{364CED1B-6DE4-4C01-AE28-E2F7509D50C5}" dt="2020-06-11T11:27:00.455" v="30" actId="1076"/>
          <ac:spMkLst>
            <pc:docMk/>
            <pc:sldMk cId="3608320234" sldId="266"/>
            <ac:spMk id="12" creationId="{1D989C19-147F-4AD0-AD94-FD924F4378CC}"/>
          </ac:spMkLst>
        </pc:spChg>
      </pc:sldChg>
      <pc:sldChg chg="modSp">
        <pc:chgData name="Prakash, Ankur" userId="e5ec4ef6-a8ef-421f-ae1a-afd967453ffe" providerId="ADAL" clId="{364CED1B-6DE4-4C01-AE28-E2F7509D50C5}" dt="2020-06-11T11:25:46.695" v="27" actId="20577"/>
        <pc:sldMkLst>
          <pc:docMk/>
          <pc:sldMk cId="3377722835" sldId="8772"/>
        </pc:sldMkLst>
        <pc:graphicFrameChg chg="modGraphic">
          <ac:chgData name="Prakash, Ankur" userId="e5ec4ef6-a8ef-421f-ae1a-afd967453ffe" providerId="ADAL" clId="{364CED1B-6DE4-4C01-AE28-E2F7509D50C5}" dt="2020-06-11T11:25:46.695" v="27" actId="20577"/>
          <ac:graphicFrameMkLst>
            <pc:docMk/>
            <pc:sldMk cId="3377722835" sldId="8772"/>
            <ac:graphicFrameMk id="2" creationId="{7D8F2493-A0C4-4740-A16F-E066BC79CDD8}"/>
          </ac:graphicFrameMkLst>
        </pc:graphicFrameChg>
      </pc:sldChg>
      <pc:sldChg chg="ord">
        <pc:chgData name="Prakash, Ankur" userId="e5ec4ef6-a8ef-421f-ae1a-afd967453ffe" providerId="ADAL" clId="{364CED1B-6DE4-4C01-AE28-E2F7509D50C5}" dt="2020-06-11T11:24:53.338" v="1"/>
        <pc:sldMkLst>
          <pc:docMk/>
          <pc:sldMk cId="1628750535" sldId="8825"/>
        </pc:sldMkLst>
      </pc:sldChg>
      <pc:sldChg chg="add">
        <pc:chgData name="Prakash, Ankur" userId="e5ec4ef6-a8ef-421f-ae1a-afd967453ffe" providerId="ADAL" clId="{364CED1B-6DE4-4C01-AE28-E2F7509D50C5}" dt="2020-06-11T11:24:11.917" v="0"/>
        <pc:sldMkLst>
          <pc:docMk/>
          <pc:sldMk cId="3282737432" sldId="8829"/>
        </pc:sldMkLst>
      </pc:sldChg>
      <pc:sldChg chg="add">
        <pc:chgData name="Prakash, Ankur" userId="e5ec4ef6-a8ef-421f-ae1a-afd967453ffe" providerId="ADAL" clId="{364CED1B-6DE4-4C01-AE28-E2F7509D50C5}" dt="2020-06-11T11:24:11.917" v="0"/>
        <pc:sldMkLst>
          <pc:docMk/>
          <pc:sldMk cId="998198646" sldId="8830"/>
        </pc:sldMkLst>
      </pc:sldChg>
    </pc:docChg>
  </pc:docChgLst>
  <pc:docChgLst>
    <pc:chgData name="Kommatreddy, Chaitanya" userId="44a1469f-b03c-453c-8c31-90f831355cdb" providerId="ADAL" clId="{20713911-4596-411B-88E7-4F05ECF7305E}"/>
    <pc:docChg chg="undo custSel mod addSld delSld modSld sldOrd modSection">
      <pc:chgData name="Kommatreddy, Chaitanya" userId="44a1469f-b03c-453c-8c31-90f831355cdb" providerId="ADAL" clId="{20713911-4596-411B-88E7-4F05ECF7305E}" dt="2020-07-14T11:57:01.683" v="1323" actId="20577"/>
      <pc:docMkLst>
        <pc:docMk/>
      </pc:docMkLst>
      <pc:sldChg chg="add">
        <pc:chgData name="Kommatreddy, Chaitanya" userId="44a1469f-b03c-453c-8c31-90f831355cdb" providerId="ADAL" clId="{20713911-4596-411B-88E7-4F05ECF7305E}" dt="2020-07-14T09:24:03.573" v="1124"/>
        <pc:sldMkLst>
          <pc:docMk/>
          <pc:sldMk cId="636999727" sldId="256"/>
        </pc:sldMkLst>
      </pc:sldChg>
      <pc:sldChg chg="delSp add setBg delDesignElem">
        <pc:chgData name="Kommatreddy, Chaitanya" userId="44a1469f-b03c-453c-8c31-90f831355cdb" providerId="ADAL" clId="{20713911-4596-411B-88E7-4F05ECF7305E}" dt="2020-07-08T12:11:38.139" v="9"/>
        <pc:sldMkLst>
          <pc:docMk/>
          <pc:sldMk cId="4105570737" sldId="256"/>
        </pc:sldMkLst>
        <pc:spChg chg="del">
          <ac:chgData name="Kommatreddy, Chaitanya" userId="44a1469f-b03c-453c-8c31-90f831355cdb" providerId="ADAL" clId="{20713911-4596-411B-88E7-4F05ECF7305E}" dt="2020-07-08T12:11:38.139" v="9"/>
          <ac:spMkLst>
            <pc:docMk/>
            <pc:sldMk cId="4105570737" sldId="256"/>
            <ac:spMk id="9" creationId="{F3060C83-F051-4F0E-ABAD-AA0DFC48B218}"/>
          </ac:spMkLst>
        </pc:spChg>
        <pc:spChg chg="del">
          <ac:chgData name="Kommatreddy, Chaitanya" userId="44a1469f-b03c-453c-8c31-90f831355cdb" providerId="ADAL" clId="{20713911-4596-411B-88E7-4F05ECF7305E}" dt="2020-07-08T12:11:38.139" v="9"/>
          <ac:spMkLst>
            <pc:docMk/>
            <pc:sldMk cId="4105570737" sldId="256"/>
            <ac:spMk id="11" creationId="{83C98ABE-055B-441F-B07E-44F97F083C39}"/>
          </ac:spMkLst>
        </pc:spChg>
        <pc:spChg chg="del">
          <ac:chgData name="Kommatreddy, Chaitanya" userId="44a1469f-b03c-453c-8c31-90f831355cdb" providerId="ADAL" clId="{20713911-4596-411B-88E7-4F05ECF7305E}" dt="2020-07-08T12:11:38.139" v="9"/>
          <ac:spMkLst>
            <pc:docMk/>
            <pc:sldMk cId="4105570737" sldId="256"/>
            <ac:spMk id="13" creationId="{29FDB030-9B49-4CED-8CCD-4D99382388AC}"/>
          </ac:spMkLst>
        </pc:spChg>
        <pc:spChg chg="del">
          <ac:chgData name="Kommatreddy, Chaitanya" userId="44a1469f-b03c-453c-8c31-90f831355cdb" providerId="ADAL" clId="{20713911-4596-411B-88E7-4F05ECF7305E}" dt="2020-07-08T12:11:38.139" v="9"/>
          <ac:spMkLst>
            <pc:docMk/>
            <pc:sldMk cId="4105570737" sldId="256"/>
            <ac:spMk id="15" creationId="{3783CA14-24A1-485C-8B30-D6A5D87987AD}"/>
          </ac:spMkLst>
        </pc:spChg>
        <pc:spChg chg="del">
          <ac:chgData name="Kommatreddy, Chaitanya" userId="44a1469f-b03c-453c-8c31-90f831355cdb" providerId="ADAL" clId="{20713911-4596-411B-88E7-4F05ECF7305E}" dt="2020-07-08T12:11:38.139" v="9"/>
          <ac:spMkLst>
            <pc:docMk/>
            <pc:sldMk cId="4105570737" sldId="256"/>
            <ac:spMk id="17" creationId="{9A97C86A-04D6-40F7-AE84-31AB43E6A846}"/>
          </ac:spMkLst>
        </pc:spChg>
        <pc:spChg chg="del">
          <ac:chgData name="Kommatreddy, Chaitanya" userId="44a1469f-b03c-453c-8c31-90f831355cdb" providerId="ADAL" clId="{20713911-4596-411B-88E7-4F05ECF7305E}" dt="2020-07-08T12:11:38.139" v="9"/>
          <ac:spMkLst>
            <pc:docMk/>
            <pc:sldMk cId="4105570737" sldId="256"/>
            <ac:spMk id="19" creationId="{FF9F2414-84E8-453E-B1F3-389FDE8192D9}"/>
          </ac:spMkLst>
        </pc:spChg>
        <pc:spChg chg="del">
          <ac:chgData name="Kommatreddy, Chaitanya" userId="44a1469f-b03c-453c-8c31-90f831355cdb" providerId="ADAL" clId="{20713911-4596-411B-88E7-4F05ECF7305E}" dt="2020-07-08T12:11:38.139" v="9"/>
          <ac:spMkLst>
            <pc:docMk/>
            <pc:sldMk cId="4105570737" sldId="256"/>
            <ac:spMk id="21" creationId="{3ECA69A1-7536-43AC-85EF-C7106179F5ED}"/>
          </ac:spMkLst>
        </pc:spChg>
      </pc:sldChg>
      <pc:sldChg chg="del">
        <pc:chgData name="Kommatreddy, Chaitanya" userId="44a1469f-b03c-453c-8c31-90f831355cdb" providerId="ADAL" clId="{20713911-4596-411B-88E7-4F05ECF7305E}" dt="2020-07-03T07:51:21.080" v="2" actId="2696"/>
        <pc:sldMkLst>
          <pc:docMk/>
          <pc:sldMk cId="1804393562" sldId="263"/>
        </pc:sldMkLst>
      </pc:sldChg>
      <pc:sldChg chg="del">
        <pc:chgData name="Kommatreddy, Chaitanya" userId="44a1469f-b03c-453c-8c31-90f831355cdb" providerId="ADAL" clId="{20713911-4596-411B-88E7-4F05ECF7305E}" dt="2020-07-03T07:51:48.007" v="4" actId="2696"/>
        <pc:sldMkLst>
          <pc:docMk/>
          <pc:sldMk cId="3958539675" sldId="264"/>
        </pc:sldMkLst>
      </pc:sldChg>
      <pc:sldChg chg="del">
        <pc:chgData name="Kommatreddy, Chaitanya" userId="44a1469f-b03c-453c-8c31-90f831355cdb" providerId="ADAL" clId="{20713911-4596-411B-88E7-4F05ECF7305E}" dt="2020-07-03T07:51:48.036" v="5" actId="2696"/>
        <pc:sldMkLst>
          <pc:docMk/>
          <pc:sldMk cId="389545387" sldId="267"/>
        </pc:sldMkLst>
      </pc:sldChg>
      <pc:sldChg chg="del">
        <pc:chgData name="Kommatreddy, Chaitanya" userId="44a1469f-b03c-453c-8c31-90f831355cdb" providerId="ADAL" clId="{20713911-4596-411B-88E7-4F05ECF7305E}" dt="2020-07-03T07:51:21.042" v="1" actId="2696"/>
        <pc:sldMkLst>
          <pc:docMk/>
          <pc:sldMk cId="991468195" sldId="8813"/>
        </pc:sldMkLst>
      </pc:sldChg>
      <pc:sldChg chg="addSp delSp modSp">
        <pc:chgData name="Kommatreddy, Chaitanya" userId="44a1469f-b03c-453c-8c31-90f831355cdb" providerId="ADAL" clId="{20713911-4596-411B-88E7-4F05ECF7305E}" dt="2020-07-14T06:35:37.636" v="59" actId="14100"/>
        <pc:sldMkLst>
          <pc:docMk/>
          <pc:sldMk cId="3493385288" sldId="8816"/>
        </pc:sldMkLst>
        <pc:spChg chg="del">
          <ac:chgData name="Kommatreddy, Chaitanya" userId="44a1469f-b03c-453c-8c31-90f831355cdb" providerId="ADAL" clId="{20713911-4596-411B-88E7-4F05ECF7305E}" dt="2020-07-08T12:12:10.536" v="12" actId="478"/>
          <ac:spMkLst>
            <pc:docMk/>
            <pc:sldMk cId="3493385288" sldId="8816"/>
            <ac:spMk id="2" creationId="{40C9AD2C-9B77-4786-B241-5692E59969CA}"/>
          </ac:spMkLst>
        </pc:spChg>
        <pc:spChg chg="add del">
          <ac:chgData name="Kommatreddy, Chaitanya" userId="44a1469f-b03c-453c-8c31-90f831355cdb" providerId="ADAL" clId="{20713911-4596-411B-88E7-4F05ECF7305E}" dt="2020-07-08T12:11:28.929" v="7"/>
          <ac:spMkLst>
            <pc:docMk/>
            <pc:sldMk cId="3493385288" sldId="8816"/>
            <ac:spMk id="4" creationId="{AE66AA6A-1355-4F35-808A-D36CE9CB0111}"/>
          </ac:spMkLst>
        </pc:spChg>
        <pc:spChg chg="del">
          <ac:chgData name="Kommatreddy, Chaitanya" userId="44a1469f-b03c-453c-8c31-90f831355cdb" providerId="ADAL" clId="{20713911-4596-411B-88E7-4F05ECF7305E}" dt="2020-07-14T06:35:31.115" v="57" actId="478"/>
          <ac:spMkLst>
            <pc:docMk/>
            <pc:sldMk cId="3493385288" sldId="8816"/>
            <ac:spMk id="7" creationId="{9EAC36A3-F3AD-453B-9CB3-4C7A2D9B7C3B}"/>
          </ac:spMkLst>
        </pc:spChg>
        <pc:spChg chg="add mod">
          <ac:chgData name="Kommatreddy, Chaitanya" userId="44a1469f-b03c-453c-8c31-90f831355cdb" providerId="ADAL" clId="{20713911-4596-411B-88E7-4F05ECF7305E}" dt="2020-07-14T06:35:37.636" v="59" actId="14100"/>
          <ac:spMkLst>
            <pc:docMk/>
            <pc:sldMk cId="3493385288" sldId="8816"/>
            <ac:spMk id="8" creationId="{21CA3F85-875C-40CB-AD42-3BC71C720339}"/>
          </ac:spMkLst>
        </pc:spChg>
        <pc:spChg chg="mod">
          <ac:chgData name="Kommatreddy, Chaitanya" userId="44a1469f-b03c-453c-8c31-90f831355cdb" providerId="ADAL" clId="{20713911-4596-411B-88E7-4F05ECF7305E}" dt="2020-07-14T06:35:12.225" v="54" actId="15"/>
          <ac:spMkLst>
            <pc:docMk/>
            <pc:sldMk cId="3493385288" sldId="8816"/>
            <ac:spMk id="13" creationId="{00000000-0000-0000-0000-000000000000}"/>
          </ac:spMkLst>
        </pc:spChg>
        <pc:picChg chg="del">
          <ac:chgData name="Kommatreddy, Chaitanya" userId="44a1469f-b03c-453c-8c31-90f831355cdb" providerId="ADAL" clId="{20713911-4596-411B-88E7-4F05ECF7305E}" dt="2020-07-08T12:12:06.060" v="11" actId="478"/>
          <ac:picMkLst>
            <pc:docMk/>
            <pc:sldMk cId="3493385288" sldId="8816"/>
            <ac:picMk id="3" creationId="{4260965D-B779-4D8C-AB2C-506EAABA69B4}"/>
          </ac:picMkLst>
        </pc:picChg>
        <pc:picChg chg="del">
          <ac:chgData name="Kommatreddy, Chaitanya" userId="44a1469f-b03c-453c-8c31-90f831355cdb" providerId="ADAL" clId="{20713911-4596-411B-88E7-4F05ECF7305E}" dt="2020-07-08T12:12:12.509" v="13" actId="478"/>
          <ac:picMkLst>
            <pc:docMk/>
            <pc:sldMk cId="3493385288" sldId="8816"/>
            <ac:picMk id="5" creationId="{6E7644CB-92AE-4B8B-AB63-AD60B43015D3}"/>
          </ac:picMkLst>
        </pc:picChg>
        <pc:picChg chg="add mod">
          <ac:chgData name="Kommatreddy, Chaitanya" userId="44a1469f-b03c-453c-8c31-90f831355cdb" providerId="ADAL" clId="{20713911-4596-411B-88E7-4F05ECF7305E}" dt="2020-07-14T06:35:27.397" v="56" actId="1076"/>
          <ac:picMkLst>
            <pc:docMk/>
            <pc:sldMk cId="3493385288" sldId="8816"/>
            <ac:picMk id="10" creationId="{5F21161B-5EB0-47A1-9D70-658D9CCF2A13}"/>
          </ac:picMkLst>
        </pc:picChg>
      </pc:sldChg>
      <pc:sldChg chg="addSp delSp modSp add">
        <pc:chgData name="Kommatreddy, Chaitanya" userId="44a1469f-b03c-453c-8c31-90f831355cdb" providerId="ADAL" clId="{20713911-4596-411B-88E7-4F05ECF7305E}" dt="2020-07-14T09:23:51.199" v="1123"/>
        <pc:sldMkLst>
          <pc:docMk/>
          <pc:sldMk cId="2725184318" sldId="8836"/>
        </pc:sldMkLst>
        <pc:spChg chg="mod">
          <ac:chgData name="Kommatreddy, Chaitanya" userId="44a1469f-b03c-453c-8c31-90f831355cdb" providerId="ADAL" clId="{20713911-4596-411B-88E7-4F05ECF7305E}" dt="2020-07-14T07:28:23.756" v="588" actId="20577"/>
          <ac:spMkLst>
            <pc:docMk/>
            <pc:sldMk cId="2725184318" sldId="8836"/>
            <ac:spMk id="13" creationId="{00000000-0000-0000-0000-000000000000}"/>
          </ac:spMkLst>
        </pc:spChg>
        <pc:picChg chg="add del">
          <ac:chgData name="Kommatreddy, Chaitanya" userId="44a1469f-b03c-453c-8c31-90f831355cdb" providerId="ADAL" clId="{20713911-4596-411B-88E7-4F05ECF7305E}" dt="2020-07-14T09:23:51.199" v="1123"/>
          <ac:picMkLst>
            <pc:docMk/>
            <pc:sldMk cId="2725184318" sldId="8836"/>
            <ac:picMk id="5" creationId="{7B6F32F6-2A6B-4A3D-9F2D-E70DC5B6844B}"/>
          </ac:picMkLst>
        </pc:picChg>
      </pc:sldChg>
      <pc:sldChg chg="addSp delSp modSp add mod setBg">
        <pc:chgData name="Kommatreddy, Chaitanya" userId="44a1469f-b03c-453c-8c31-90f831355cdb" providerId="ADAL" clId="{20713911-4596-411B-88E7-4F05ECF7305E}" dt="2020-07-14T11:57:01.683" v="1323" actId="20577"/>
        <pc:sldMkLst>
          <pc:docMk/>
          <pc:sldMk cId="208755446" sldId="8837"/>
        </pc:sldMkLst>
        <pc:spChg chg="mod">
          <ac:chgData name="Kommatreddy, Chaitanya" userId="44a1469f-b03c-453c-8c31-90f831355cdb" providerId="ADAL" clId="{20713911-4596-411B-88E7-4F05ECF7305E}" dt="2020-07-14T10:01:26.879" v="1174" actId="20577"/>
          <ac:spMkLst>
            <pc:docMk/>
            <pc:sldMk cId="208755446" sldId="8837"/>
            <ac:spMk id="4" creationId="{5BDED99B-694F-434D-97D8-B0EE825A396B}"/>
          </ac:spMkLst>
        </pc:spChg>
        <pc:spChg chg="add del mod">
          <ac:chgData name="Kommatreddy, Chaitanya" userId="44a1469f-b03c-453c-8c31-90f831355cdb" providerId="ADAL" clId="{20713911-4596-411B-88E7-4F05ECF7305E}" dt="2020-07-14T06:46:26.467" v="386" actId="26606"/>
          <ac:spMkLst>
            <pc:docMk/>
            <pc:sldMk cId="208755446" sldId="8837"/>
            <ac:spMk id="13" creationId="{00000000-0000-0000-0000-000000000000}"/>
          </ac:spMkLst>
        </pc:spChg>
        <pc:spChg chg="add del">
          <ac:chgData name="Kommatreddy, Chaitanya" userId="44a1469f-b03c-453c-8c31-90f831355cdb" providerId="ADAL" clId="{20713911-4596-411B-88E7-4F05ECF7305E}" dt="2020-07-14T06:46:26.363" v="385" actId="26606"/>
          <ac:spMkLst>
            <pc:docMk/>
            <pc:sldMk cId="208755446" sldId="8837"/>
            <ac:spMk id="19" creationId="{3A5B4632-C963-4296-86F0-79AA9EA5AE98}"/>
          </ac:spMkLst>
        </pc:spChg>
        <pc:spChg chg="add del">
          <ac:chgData name="Kommatreddy, Chaitanya" userId="44a1469f-b03c-453c-8c31-90f831355cdb" providerId="ADAL" clId="{20713911-4596-411B-88E7-4F05ECF7305E}" dt="2020-07-14T06:50:30.449" v="401" actId="26606"/>
          <ac:spMkLst>
            <pc:docMk/>
            <pc:sldMk cId="208755446" sldId="8837"/>
            <ac:spMk id="21" creationId="{52D502E5-F6B4-4D58-B4AE-FC466FF15EE8}"/>
          </ac:spMkLst>
        </pc:spChg>
        <pc:spChg chg="add del">
          <ac:chgData name="Kommatreddy, Chaitanya" userId="44a1469f-b03c-453c-8c31-90f831355cdb" providerId="ADAL" clId="{20713911-4596-411B-88E7-4F05ECF7305E}" dt="2020-07-14T06:50:30.449" v="401" actId="26606"/>
          <ac:spMkLst>
            <pc:docMk/>
            <pc:sldMk cId="208755446" sldId="8837"/>
            <ac:spMk id="22" creationId="{53B021B3-DE93-4AB7-8A18-CF5F1CED88B8}"/>
          </ac:spMkLst>
        </pc:spChg>
        <pc:spChg chg="add del">
          <ac:chgData name="Kommatreddy, Chaitanya" userId="44a1469f-b03c-453c-8c31-90f831355cdb" providerId="ADAL" clId="{20713911-4596-411B-88E7-4F05ECF7305E}" dt="2020-07-14T06:50:30.449" v="401" actId="26606"/>
          <ac:spMkLst>
            <pc:docMk/>
            <pc:sldMk cId="208755446" sldId="8837"/>
            <ac:spMk id="23" creationId="{9DECDBF4-02B6-4BB4-B65B-B8107AD6A9E8}"/>
          </ac:spMkLst>
        </pc:spChg>
        <pc:spChg chg="add del">
          <ac:chgData name="Kommatreddy, Chaitanya" userId="44a1469f-b03c-453c-8c31-90f831355cdb" providerId="ADAL" clId="{20713911-4596-411B-88E7-4F05ECF7305E}" dt="2020-07-14T06:49:26.037" v="388" actId="26606"/>
          <ac:spMkLst>
            <pc:docMk/>
            <pc:sldMk cId="208755446" sldId="8837"/>
            <ac:spMk id="29" creationId="{53B021B3-DE93-4AB7-8A18-CF5F1CED88B8}"/>
          </ac:spMkLst>
        </pc:spChg>
        <pc:spChg chg="add del">
          <ac:chgData name="Kommatreddy, Chaitanya" userId="44a1469f-b03c-453c-8c31-90f831355cdb" providerId="ADAL" clId="{20713911-4596-411B-88E7-4F05ECF7305E}" dt="2020-07-14T06:49:26.037" v="388" actId="26606"/>
          <ac:spMkLst>
            <pc:docMk/>
            <pc:sldMk cId="208755446" sldId="8837"/>
            <ac:spMk id="31" creationId="{52D502E5-F6B4-4D58-B4AE-FC466FF15EE8}"/>
          </ac:spMkLst>
        </pc:spChg>
        <pc:spChg chg="add del">
          <ac:chgData name="Kommatreddy, Chaitanya" userId="44a1469f-b03c-453c-8c31-90f831355cdb" providerId="ADAL" clId="{20713911-4596-411B-88E7-4F05ECF7305E}" dt="2020-07-14T06:49:26.037" v="388" actId="26606"/>
          <ac:spMkLst>
            <pc:docMk/>
            <pc:sldMk cId="208755446" sldId="8837"/>
            <ac:spMk id="33" creationId="{9DECDBF4-02B6-4BB4-B65B-B8107AD6A9E8}"/>
          </ac:spMkLst>
        </pc:spChg>
        <pc:spChg chg="add del">
          <ac:chgData name="Kommatreddy, Chaitanya" userId="44a1469f-b03c-453c-8c31-90f831355cdb" providerId="ADAL" clId="{20713911-4596-411B-88E7-4F05ECF7305E}" dt="2020-07-14T06:49:50.871" v="390" actId="26606"/>
          <ac:spMkLst>
            <pc:docMk/>
            <pc:sldMk cId="208755446" sldId="8837"/>
            <ac:spMk id="35" creationId="{955A2079-FA98-4876-80F0-72364A7D2EA4}"/>
          </ac:spMkLst>
        </pc:spChg>
        <pc:spChg chg="add del">
          <ac:chgData name="Kommatreddy, Chaitanya" userId="44a1469f-b03c-453c-8c31-90f831355cdb" providerId="ADAL" clId="{20713911-4596-411B-88E7-4F05ECF7305E}" dt="2020-07-14T06:50:02.411" v="392" actId="26606"/>
          <ac:spMkLst>
            <pc:docMk/>
            <pc:sldMk cId="208755446" sldId="8837"/>
            <ac:spMk id="37" creationId="{6C4028FD-8BAA-4A19-BFDE-594D991B7552}"/>
          </ac:spMkLst>
        </pc:spChg>
        <pc:spChg chg="add del">
          <ac:chgData name="Kommatreddy, Chaitanya" userId="44a1469f-b03c-453c-8c31-90f831355cdb" providerId="ADAL" clId="{20713911-4596-411B-88E7-4F05ECF7305E}" dt="2020-07-14T06:50:05.580" v="394" actId="26606"/>
          <ac:spMkLst>
            <pc:docMk/>
            <pc:sldMk cId="208755446" sldId="8837"/>
            <ac:spMk id="39" creationId="{7DA1F35B-C8F7-4A5A-9339-7DA4D785B300}"/>
          </ac:spMkLst>
        </pc:spChg>
        <pc:spChg chg="add del">
          <ac:chgData name="Kommatreddy, Chaitanya" userId="44a1469f-b03c-453c-8c31-90f831355cdb" providerId="ADAL" clId="{20713911-4596-411B-88E7-4F05ECF7305E}" dt="2020-07-14T06:50:05.580" v="394" actId="26606"/>
          <ac:spMkLst>
            <pc:docMk/>
            <pc:sldMk cId="208755446" sldId="8837"/>
            <ac:spMk id="40" creationId="{B2D4AD41-40DA-4A81-92F5-B6E3BA1ED82A}"/>
          </ac:spMkLst>
        </pc:spChg>
        <pc:spChg chg="add del">
          <ac:chgData name="Kommatreddy, Chaitanya" userId="44a1469f-b03c-453c-8c31-90f831355cdb" providerId="ADAL" clId="{20713911-4596-411B-88E7-4F05ECF7305E}" dt="2020-07-14T06:50:16.597" v="396" actId="26606"/>
          <ac:spMkLst>
            <pc:docMk/>
            <pc:sldMk cId="208755446" sldId="8837"/>
            <ac:spMk id="42" creationId="{955A2079-FA98-4876-80F0-72364A7D2EA4}"/>
          </ac:spMkLst>
        </pc:spChg>
        <pc:spChg chg="add del">
          <ac:chgData name="Kommatreddy, Chaitanya" userId="44a1469f-b03c-453c-8c31-90f831355cdb" providerId="ADAL" clId="{20713911-4596-411B-88E7-4F05ECF7305E}" dt="2020-07-14T06:50:19.150" v="398" actId="26606"/>
          <ac:spMkLst>
            <pc:docMk/>
            <pc:sldMk cId="208755446" sldId="8837"/>
            <ac:spMk id="44" creationId="{6C4028FD-8BAA-4A19-BFDE-594D991B7552}"/>
          </ac:spMkLst>
        </pc:spChg>
        <pc:spChg chg="add del">
          <ac:chgData name="Kommatreddy, Chaitanya" userId="44a1469f-b03c-453c-8c31-90f831355cdb" providerId="ADAL" clId="{20713911-4596-411B-88E7-4F05ECF7305E}" dt="2020-07-14T06:50:30.410" v="400" actId="26606"/>
          <ac:spMkLst>
            <pc:docMk/>
            <pc:sldMk cId="208755446" sldId="8837"/>
            <ac:spMk id="46" creationId="{955A2079-FA98-4876-80F0-72364A7D2EA4}"/>
          </ac:spMkLst>
        </pc:spChg>
        <pc:spChg chg="add del">
          <ac:chgData name="Kommatreddy, Chaitanya" userId="44a1469f-b03c-453c-8c31-90f831355cdb" providerId="ADAL" clId="{20713911-4596-411B-88E7-4F05ECF7305E}" dt="2020-07-14T06:59:44.351" v="426" actId="26606"/>
          <ac:spMkLst>
            <pc:docMk/>
            <pc:sldMk cId="208755446" sldId="8837"/>
            <ac:spMk id="48" creationId="{6C4028FD-8BAA-4A19-BFDE-594D991B7552}"/>
          </ac:spMkLst>
        </pc:spChg>
        <pc:spChg chg="add del">
          <ac:chgData name="Kommatreddy, Chaitanya" userId="44a1469f-b03c-453c-8c31-90f831355cdb" providerId="ADAL" clId="{20713911-4596-411B-88E7-4F05ECF7305E}" dt="2020-07-14T06:59:15.331" v="415" actId="26606"/>
          <ac:spMkLst>
            <pc:docMk/>
            <pc:sldMk cId="208755446" sldId="8837"/>
            <ac:spMk id="53" creationId="{955A2079-FA98-4876-80F0-72364A7D2EA4}"/>
          </ac:spMkLst>
        </pc:spChg>
        <pc:spChg chg="add del">
          <ac:chgData name="Kommatreddy, Chaitanya" userId="44a1469f-b03c-453c-8c31-90f831355cdb" providerId="ADAL" clId="{20713911-4596-411B-88E7-4F05ECF7305E}" dt="2020-07-14T06:59:25.586" v="417" actId="26606"/>
          <ac:spMkLst>
            <pc:docMk/>
            <pc:sldMk cId="208755446" sldId="8837"/>
            <ac:spMk id="55" creationId="{3A5B4632-C963-4296-86F0-79AA9EA5AE98}"/>
          </ac:spMkLst>
        </pc:spChg>
        <pc:spChg chg="add del">
          <ac:chgData name="Kommatreddy, Chaitanya" userId="44a1469f-b03c-453c-8c31-90f831355cdb" providerId="ADAL" clId="{20713911-4596-411B-88E7-4F05ECF7305E}" dt="2020-07-14T06:59:34.055" v="421" actId="26606"/>
          <ac:spMkLst>
            <pc:docMk/>
            <pc:sldMk cId="208755446" sldId="8837"/>
            <ac:spMk id="57" creationId="{6B509DD1-7F4E-4C4D-9B18-626473A5F76F}"/>
          </ac:spMkLst>
        </pc:spChg>
        <pc:spChg chg="add del">
          <ac:chgData name="Kommatreddy, Chaitanya" userId="44a1469f-b03c-453c-8c31-90f831355cdb" providerId="ADAL" clId="{20713911-4596-411B-88E7-4F05ECF7305E}" dt="2020-07-14T06:59:34.055" v="421" actId="26606"/>
          <ac:spMkLst>
            <pc:docMk/>
            <pc:sldMk cId="208755446" sldId="8837"/>
            <ac:spMk id="59" creationId="{BB89D3BB-9A77-48E3-8C98-9A0A1DD4F7A6}"/>
          </ac:spMkLst>
        </pc:spChg>
        <pc:spChg chg="add del">
          <ac:chgData name="Kommatreddy, Chaitanya" userId="44a1469f-b03c-453c-8c31-90f831355cdb" providerId="ADAL" clId="{20713911-4596-411B-88E7-4F05ECF7305E}" dt="2020-07-14T06:59:32.248" v="419" actId="26606"/>
          <ac:spMkLst>
            <pc:docMk/>
            <pc:sldMk cId="208755446" sldId="8837"/>
            <ac:spMk id="62" creationId="{42285737-90EE-47DC-AC80-8AE156B11969}"/>
          </ac:spMkLst>
        </pc:spChg>
        <pc:spChg chg="add del">
          <ac:chgData name="Kommatreddy, Chaitanya" userId="44a1469f-b03c-453c-8c31-90f831355cdb" providerId="ADAL" clId="{20713911-4596-411B-88E7-4F05ECF7305E}" dt="2020-07-14T06:59:34.055" v="421" actId="26606"/>
          <ac:spMkLst>
            <pc:docMk/>
            <pc:sldMk cId="208755446" sldId="8837"/>
            <ac:spMk id="65" creationId="{3E57A3F2-3497-430E-BCD2-151E9B57488E}"/>
          </ac:spMkLst>
        </pc:spChg>
        <pc:spChg chg="add del">
          <ac:chgData name="Kommatreddy, Chaitanya" userId="44a1469f-b03c-453c-8c31-90f831355cdb" providerId="ADAL" clId="{20713911-4596-411B-88E7-4F05ECF7305E}" dt="2020-07-14T06:59:34.055" v="421" actId="26606"/>
          <ac:spMkLst>
            <pc:docMk/>
            <pc:sldMk cId="208755446" sldId="8837"/>
            <ac:spMk id="66" creationId="{88B1F424-0E60-4F04-AFC7-00E1F21101FC}"/>
          </ac:spMkLst>
        </pc:spChg>
        <pc:spChg chg="add del">
          <ac:chgData name="Kommatreddy, Chaitanya" userId="44a1469f-b03c-453c-8c31-90f831355cdb" providerId="ADAL" clId="{20713911-4596-411B-88E7-4F05ECF7305E}" dt="2020-07-14T06:59:36.778" v="423" actId="26606"/>
          <ac:spMkLst>
            <pc:docMk/>
            <pc:sldMk cId="208755446" sldId="8837"/>
            <ac:spMk id="68" creationId="{53B021B3-DE93-4AB7-8A18-CF5F1CED88B8}"/>
          </ac:spMkLst>
        </pc:spChg>
        <pc:spChg chg="add del">
          <ac:chgData name="Kommatreddy, Chaitanya" userId="44a1469f-b03c-453c-8c31-90f831355cdb" providerId="ADAL" clId="{20713911-4596-411B-88E7-4F05ECF7305E}" dt="2020-07-14T06:59:36.778" v="423" actId="26606"/>
          <ac:spMkLst>
            <pc:docMk/>
            <pc:sldMk cId="208755446" sldId="8837"/>
            <ac:spMk id="69" creationId="{52D502E5-F6B4-4D58-B4AE-FC466FF15EE8}"/>
          </ac:spMkLst>
        </pc:spChg>
        <pc:spChg chg="add del">
          <ac:chgData name="Kommatreddy, Chaitanya" userId="44a1469f-b03c-453c-8c31-90f831355cdb" providerId="ADAL" clId="{20713911-4596-411B-88E7-4F05ECF7305E}" dt="2020-07-14T06:59:36.778" v="423" actId="26606"/>
          <ac:spMkLst>
            <pc:docMk/>
            <pc:sldMk cId="208755446" sldId="8837"/>
            <ac:spMk id="70" creationId="{9DECDBF4-02B6-4BB4-B65B-B8107AD6A9E8}"/>
          </ac:spMkLst>
        </pc:spChg>
        <pc:spChg chg="add del">
          <ac:chgData name="Kommatreddy, Chaitanya" userId="44a1469f-b03c-453c-8c31-90f831355cdb" providerId="ADAL" clId="{20713911-4596-411B-88E7-4F05ECF7305E}" dt="2020-07-14T06:59:44.293" v="425" actId="26606"/>
          <ac:spMkLst>
            <pc:docMk/>
            <pc:sldMk cId="208755446" sldId="8837"/>
            <ac:spMk id="72" creationId="{3A5B4632-C963-4296-86F0-79AA9EA5AE98}"/>
          </ac:spMkLst>
        </pc:spChg>
        <pc:spChg chg="add del">
          <ac:chgData name="Kommatreddy, Chaitanya" userId="44a1469f-b03c-453c-8c31-90f831355cdb" providerId="ADAL" clId="{20713911-4596-411B-88E7-4F05ECF7305E}" dt="2020-07-14T07:00:43.372" v="447" actId="26606"/>
          <ac:spMkLst>
            <pc:docMk/>
            <pc:sldMk cId="208755446" sldId="8837"/>
            <ac:spMk id="74" creationId="{53B021B3-DE93-4AB7-8A18-CF5F1CED88B8}"/>
          </ac:spMkLst>
        </pc:spChg>
        <pc:spChg chg="add del">
          <ac:chgData name="Kommatreddy, Chaitanya" userId="44a1469f-b03c-453c-8c31-90f831355cdb" providerId="ADAL" clId="{20713911-4596-411B-88E7-4F05ECF7305E}" dt="2020-07-14T07:00:43.372" v="447" actId="26606"/>
          <ac:spMkLst>
            <pc:docMk/>
            <pc:sldMk cId="208755446" sldId="8837"/>
            <ac:spMk id="75" creationId="{52D502E5-F6B4-4D58-B4AE-FC466FF15EE8}"/>
          </ac:spMkLst>
        </pc:spChg>
        <pc:spChg chg="add del">
          <ac:chgData name="Kommatreddy, Chaitanya" userId="44a1469f-b03c-453c-8c31-90f831355cdb" providerId="ADAL" clId="{20713911-4596-411B-88E7-4F05ECF7305E}" dt="2020-07-14T07:00:43.372" v="447" actId="26606"/>
          <ac:spMkLst>
            <pc:docMk/>
            <pc:sldMk cId="208755446" sldId="8837"/>
            <ac:spMk id="76" creationId="{9DECDBF4-02B6-4BB4-B65B-B8107AD6A9E8}"/>
          </ac:spMkLst>
        </pc:spChg>
        <pc:spChg chg="add del">
          <ac:chgData name="Kommatreddy, Chaitanya" userId="44a1469f-b03c-453c-8c31-90f831355cdb" providerId="ADAL" clId="{20713911-4596-411B-88E7-4F05ECF7305E}" dt="2020-07-14T07:00:14.096" v="428" actId="26606"/>
          <ac:spMkLst>
            <pc:docMk/>
            <pc:sldMk cId="208755446" sldId="8837"/>
            <ac:spMk id="81" creationId="{3A5B4632-C963-4296-86F0-79AA9EA5AE98}"/>
          </ac:spMkLst>
        </pc:spChg>
        <pc:spChg chg="add del">
          <ac:chgData name="Kommatreddy, Chaitanya" userId="44a1469f-b03c-453c-8c31-90f831355cdb" providerId="ADAL" clId="{20713911-4596-411B-88E7-4F05ECF7305E}" dt="2020-07-14T07:00:20.341" v="430" actId="26606"/>
          <ac:spMkLst>
            <pc:docMk/>
            <pc:sldMk cId="208755446" sldId="8837"/>
            <ac:spMk id="83" creationId="{955A2079-FA98-4876-80F0-72364A7D2EA4}"/>
          </ac:spMkLst>
        </pc:spChg>
        <pc:spChg chg="add del">
          <ac:chgData name="Kommatreddy, Chaitanya" userId="44a1469f-b03c-453c-8c31-90f831355cdb" providerId="ADAL" clId="{20713911-4596-411B-88E7-4F05ECF7305E}" dt="2020-07-14T07:00:22.959" v="432" actId="26606"/>
          <ac:spMkLst>
            <pc:docMk/>
            <pc:sldMk cId="208755446" sldId="8837"/>
            <ac:spMk id="85" creationId="{9DECDBF4-02B6-4BB4-B65B-B8107AD6A9E8}"/>
          </ac:spMkLst>
        </pc:spChg>
        <pc:spChg chg="add del">
          <ac:chgData name="Kommatreddy, Chaitanya" userId="44a1469f-b03c-453c-8c31-90f831355cdb" providerId="ADAL" clId="{20713911-4596-411B-88E7-4F05ECF7305E}" dt="2020-07-14T07:00:22.959" v="432" actId="26606"/>
          <ac:spMkLst>
            <pc:docMk/>
            <pc:sldMk cId="208755446" sldId="8837"/>
            <ac:spMk id="86" creationId="{53B021B3-DE93-4AB7-8A18-CF5F1CED88B8}"/>
          </ac:spMkLst>
        </pc:spChg>
        <pc:spChg chg="add del">
          <ac:chgData name="Kommatreddy, Chaitanya" userId="44a1469f-b03c-453c-8c31-90f831355cdb" providerId="ADAL" clId="{20713911-4596-411B-88E7-4F05ECF7305E}" dt="2020-07-14T07:00:22.959" v="432" actId="26606"/>
          <ac:spMkLst>
            <pc:docMk/>
            <pc:sldMk cId="208755446" sldId="8837"/>
            <ac:spMk id="87" creationId="{52D502E5-F6B4-4D58-B4AE-FC466FF15EE8}"/>
          </ac:spMkLst>
        </pc:spChg>
        <pc:spChg chg="add del">
          <ac:chgData name="Kommatreddy, Chaitanya" userId="44a1469f-b03c-453c-8c31-90f831355cdb" providerId="ADAL" clId="{20713911-4596-411B-88E7-4F05ECF7305E}" dt="2020-07-14T07:00:25.567" v="434" actId="26606"/>
          <ac:spMkLst>
            <pc:docMk/>
            <pc:sldMk cId="208755446" sldId="8837"/>
            <ac:spMk id="89" creationId="{6C4028FD-8BAA-4A19-BFDE-594D991B7552}"/>
          </ac:spMkLst>
        </pc:spChg>
        <pc:spChg chg="add del">
          <ac:chgData name="Kommatreddy, Chaitanya" userId="44a1469f-b03c-453c-8c31-90f831355cdb" providerId="ADAL" clId="{20713911-4596-411B-88E7-4F05ECF7305E}" dt="2020-07-14T07:00:28.353" v="436" actId="26606"/>
          <ac:spMkLst>
            <pc:docMk/>
            <pc:sldMk cId="208755446" sldId="8837"/>
            <ac:spMk id="91" creationId="{6C4028FD-8BAA-4A19-BFDE-594D991B7552}"/>
          </ac:spMkLst>
        </pc:spChg>
        <pc:spChg chg="add del">
          <ac:chgData name="Kommatreddy, Chaitanya" userId="44a1469f-b03c-453c-8c31-90f831355cdb" providerId="ADAL" clId="{20713911-4596-411B-88E7-4F05ECF7305E}" dt="2020-07-14T07:28:55.552" v="591" actId="26606"/>
          <ac:spMkLst>
            <pc:docMk/>
            <pc:sldMk cId="208755446" sldId="8837"/>
            <ac:spMk id="92" creationId="{53B021B3-DE93-4AB7-8A18-CF5F1CED88B8}"/>
          </ac:spMkLst>
        </pc:spChg>
        <pc:spChg chg="add del">
          <ac:chgData name="Kommatreddy, Chaitanya" userId="44a1469f-b03c-453c-8c31-90f831355cdb" providerId="ADAL" clId="{20713911-4596-411B-88E7-4F05ECF7305E}" dt="2020-07-14T07:00:31.605" v="438" actId="26606"/>
          <ac:spMkLst>
            <pc:docMk/>
            <pc:sldMk cId="208755446" sldId="8837"/>
            <ac:spMk id="93" creationId="{955A2079-FA98-4876-80F0-72364A7D2EA4}"/>
          </ac:spMkLst>
        </pc:spChg>
        <pc:spChg chg="add del">
          <ac:chgData name="Kommatreddy, Chaitanya" userId="44a1469f-b03c-453c-8c31-90f831355cdb" providerId="ADAL" clId="{20713911-4596-411B-88E7-4F05ECF7305E}" dt="2020-07-14T07:28:55.552" v="591" actId="26606"/>
          <ac:spMkLst>
            <pc:docMk/>
            <pc:sldMk cId="208755446" sldId="8837"/>
            <ac:spMk id="94" creationId="{52D502E5-F6B4-4D58-B4AE-FC466FF15EE8}"/>
          </ac:spMkLst>
        </pc:spChg>
        <pc:spChg chg="add del">
          <ac:chgData name="Kommatreddy, Chaitanya" userId="44a1469f-b03c-453c-8c31-90f831355cdb" providerId="ADAL" clId="{20713911-4596-411B-88E7-4F05ECF7305E}" dt="2020-07-14T07:00:36.756" v="440" actId="26606"/>
          <ac:spMkLst>
            <pc:docMk/>
            <pc:sldMk cId="208755446" sldId="8837"/>
            <ac:spMk id="95" creationId="{3A5B4632-C963-4296-86F0-79AA9EA5AE98}"/>
          </ac:spMkLst>
        </pc:spChg>
        <pc:spChg chg="add del">
          <ac:chgData name="Kommatreddy, Chaitanya" userId="44a1469f-b03c-453c-8c31-90f831355cdb" providerId="ADAL" clId="{20713911-4596-411B-88E7-4F05ECF7305E}" dt="2020-07-14T07:28:55.552" v="591" actId="26606"/>
          <ac:spMkLst>
            <pc:docMk/>
            <pc:sldMk cId="208755446" sldId="8837"/>
            <ac:spMk id="96" creationId="{9DECDBF4-02B6-4BB4-B65B-B8107AD6A9E8}"/>
          </ac:spMkLst>
        </pc:spChg>
        <pc:spChg chg="add del">
          <ac:chgData name="Kommatreddy, Chaitanya" userId="44a1469f-b03c-453c-8c31-90f831355cdb" providerId="ADAL" clId="{20713911-4596-411B-88E7-4F05ECF7305E}" dt="2020-07-14T07:00:38.385" v="442" actId="26606"/>
          <ac:spMkLst>
            <pc:docMk/>
            <pc:sldMk cId="208755446" sldId="8837"/>
            <ac:spMk id="97" creationId="{955A2079-FA98-4876-80F0-72364A7D2EA4}"/>
          </ac:spMkLst>
        </pc:spChg>
        <pc:spChg chg="add del">
          <ac:chgData name="Kommatreddy, Chaitanya" userId="44a1469f-b03c-453c-8c31-90f831355cdb" providerId="ADAL" clId="{20713911-4596-411B-88E7-4F05ECF7305E}" dt="2020-07-14T07:00:40.274" v="444" actId="26606"/>
          <ac:spMkLst>
            <pc:docMk/>
            <pc:sldMk cId="208755446" sldId="8837"/>
            <ac:spMk id="99" creationId="{3A5B4632-C963-4296-86F0-79AA9EA5AE98}"/>
          </ac:spMkLst>
        </pc:spChg>
        <pc:spChg chg="add del">
          <ac:chgData name="Kommatreddy, Chaitanya" userId="44a1469f-b03c-453c-8c31-90f831355cdb" providerId="ADAL" clId="{20713911-4596-411B-88E7-4F05ECF7305E}" dt="2020-07-14T07:00:43.325" v="446" actId="26606"/>
          <ac:spMkLst>
            <pc:docMk/>
            <pc:sldMk cId="208755446" sldId="8837"/>
            <ac:spMk id="101" creationId="{955A2079-FA98-4876-80F0-72364A7D2EA4}"/>
          </ac:spMkLst>
        </pc:spChg>
        <pc:spChg chg="add del">
          <ac:chgData name="Kommatreddy, Chaitanya" userId="44a1469f-b03c-453c-8c31-90f831355cdb" providerId="ADAL" clId="{20713911-4596-411B-88E7-4F05ECF7305E}" dt="2020-07-14T07:02:22.566" v="460" actId="26606"/>
          <ac:spMkLst>
            <pc:docMk/>
            <pc:sldMk cId="208755446" sldId="8837"/>
            <ac:spMk id="103" creationId="{3A5B4632-C963-4296-86F0-79AA9EA5AE98}"/>
          </ac:spMkLst>
        </pc:spChg>
        <pc:spChg chg="add del">
          <ac:chgData name="Kommatreddy, Chaitanya" userId="44a1469f-b03c-453c-8c31-90f831355cdb" providerId="ADAL" clId="{20713911-4596-411B-88E7-4F05ECF7305E}" dt="2020-07-14T07:02:13.043" v="453" actId="26606"/>
          <ac:spMkLst>
            <pc:docMk/>
            <pc:sldMk cId="208755446" sldId="8837"/>
            <ac:spMk id="108" creationId="{955A2079-FA98-4876-80F0-72364A7D2EA4}"/>
          </ac:spMkLst>
        </pc:spChg>
        <pc:spChg chg="add del">
          <ac:chgData name="Kommatreddy, Chaitanya" userId="44a1469f-b03c-453c-8c31-90f831355cdb" providerId="ADAL" clId="{20713911-4596-411B-88E7-4F05ECF7305E}" dt="2020-07-14T07:02:16.807" v="455" actId="26606"/>
          <ac:spMkLst>
            <pc:docMk/>
            <pc:sldMk cId="208755446" sldId="8837"/>
            <ac:spMk id="110" creationId="{DCC231C8-C761-4B31-9B1C-C6D19248C6B3}"/>
          </ac:spMkLst>
        </pc:spChg>
        <pc:spChg chg="add del">
          <ac:chgData name="Kommatreddy, Chaitanya" userId="44a1469f-b03c-453c-8c31-90f831355cdb" providerId="ADAL" clId="{20713911-4596-411B-88E7-4F05ECF7305E}" dt="2020-07-14T07:02:20.576" v="457" actId="26606"/>
          <ac:spMkLst>
            <pc:docMk/>
            <pc:sldMk cId="208755446" sldId="8837"/>
            <ac:spMk id="112" creationId="{9DECDBF4-02B6-4BB4-B65B-B8107AD6A9E8}"/>
          </ac:spMkLst>
        </pc:spChg>
        <pc:spChg chg="add del">
          <ac:chgData name="Kommatreddy, Chaitanya" userId="44a1469f-b03c-453c-8c31-90f831355cdb" providerId="ADAL" clId="{20713911-4596-411B-88E7-4F05ECF7305E}" dt="2020-07-14T07:02:20.576" v="457" actId="26606"/>
          <ac:spMkLst>
            <pc:docMk/>
            <pc:sldMk cId="208755446" sldId="8837"/>
            <ac:spMk id="113" creationId="{53B021B3-DE93-4AB7-8A18-CF5F1CED88B8}"/>
          </ac:spMkLst>
        </pc:spChg>
        <pc:spChg chg="add del">
          <ac:chgData name="Kommatreddy, Chaitanya" userId="44a1469f-b03c-453c-8c31-90f831355cdb" providerId="ADAL" clId="{20713911-4596-411B-88E7-4F05ECF7305E}" dt="2020-07-14T07:02:20.576" v="457" actId="26606"/>
          <ac:spMkLst>
            <pc:docMk/>
            <pc:sldMk cId="208755446" sldId="8837"/>
            <ac:spMk id="114" creationId="{52D502E5-F6B4-4D58-B4AE-FC466FF15EE8}"/>
          </ac:spMkLst>
        </pc:spChg>
        <pc:spChg chg="add del">
          <ac:chgData name="Kommatreddy, Chaitanya" userId="44a1469f-b03c-453c-8c31-90f831355cdb" providerId="ADAL" clId="{20713911-4596-411B-88E7-4F05ECF7305E}" dt="2020-07-14T07:02:22.520" v="459" actId="26606"/>
          <ac:spMkLst>
            <pc:docMk/>
            <pc:sldMk cId="208755446" sldId="8837"/>
            <ac:spMk id="116" creationId="{955A2079-FA98-4876-80F0-72364A7D2EA4}"/>
          </ac:spMkLst>
        </pc:spChg>
        <pc:spChg chg="add del">
          <ac:chgData name="Kommatreddy, Chaitanya" userId="44a1469f-b03c-453c-8c31-90f831355cdb" providerId="ADAL" clId="{20713911-4596-411B-88E7-4F05ECF7305E}" dt="2020-07-14T07:02:40.852" v="462" actId="26606"/>
          <ac:spMkLst>
            <pc:docMk/>
            <pc:sldMk cId="208755446" sldId="8837"/>
            <ac:spMk id="118" creationId="{53B021B3-DE93-4AB7-8A18-CF5F1CED88B8}"/>
          </ac:spMkLst>
        </pc:spChg>
        <pc:spChg chg="add del">
          <ac:chgData name="Kommatreddy, Chaitanya" userId="44a1469f-b03c-453c-8c31-90f831355cdb" providerId="ADAL" clId="{20713911-4596-411B-88E7-4F05ECF7305E}" dt="2020-07-14T07:02:40.852" v="462" actId="26606"/>
          <ac:spMkLst>
            <pc:docMk/>
            <pc:sldMk cId="208755446" sldId="8837"/>
            <ac:spMk id="119" creationId="{52D502E5-F6B4-4D58-B4AE-FC466FF15EE8}"/>
          </ac:spMkLst>
        </pc:spChg>
        <pc:spChg chg="add del">
          <ac:chgData name="Kommatreddy, Chaitanya" userId="44a1469f-b03c-453c-8c31-90f831355cdb" providerId="ADAL" clId="{20713911-4596-411B-88E7-4F05ECF7305E}" dt="2020-07-14T07:02:40.852" v="462" actId="26606"/>
          <ac:spMkLst>
            <pc:docMk/>
            <pc:sldMk cId="208755446" sldId="8837"/>
            <ac:spMk id="120" creationId="{9DECDBF4-02B6-4BB4-B65B-B8107AD6A9E8}"/>
          </ac:spMkLst>
        </pc:spChg>
        <pc:spChg chg="add del">
          <ac:chgData name="Kommatreddy, Chaitanya" userId="44a1469f-b03c-453c-8c31-90f831355cdb" providerId="ADAL" clId="{20713911-4596-411B-88E7-4F05ECF7305E}" dt="2020-07-14T07:21:35.845" v="554" actId="26606"/>
          <ac:spMkLst>
            <pc:docMk/>
            <pc:sldMk cId="208755446" sldId="8837"/>
            <ac:spMk id="125" creationId="{53B021B3-DE93-4AB7-8A18-CF5F1CED88B8}"/>
          </ac:spMkLst>
        </pc:spChg>
        <pc:spChg chg="add del">
          <ac:chgData name="Kommatreddy, Chaitanya" userId="44a1469f-b03c-453c-8c31-90f831355cdb" providerId="ADAL" clId="{20713911-4596-411B-88E7-4F05ECF7305E}" dt="2020-07-14T07:21:35.845" v="554" actId="26606"/>
          <ac:spMkLst>
            <pc:docMk/>
            <pc:sldMk cId="208755446" sldId="8837"/>
            <ac:spMk id="127" creationId="{52D502E5-F6B4-4D58-B4AE-FC466FF15EE8}"/>
          </ac:spMkLst>
        </pc:spChg>
        <pc:spChg chg="add del">
          <ac:chgData name="Kommatreddy, Chaitanya" userId="44a1469f-b03c-453c-8c31-90f831355cdb" providerId="ADAL" clId="{20713911-4596-411B-88E7-4F05ECF7305E}" dt="2020-07-14T07:21:35.845" v="554" actId="26606"/>
          <ac:spMkLst>
            <pc:docMk/>
            <pc:sldMk cId="208755446" sldId="8837"/>
            <ac:spMk id="129" creationId="{9DECDBF4-02B6-4BB4-B65B-B8107AD6A9E8}"/>
          </ac:spMkLst>
        </pc:spChg>
        <pc:spChg chg="add del">
          <ac:chgData name="Kommatreddy, Chaitanya" userId="44a1469f-b03c-453c-8c31-90f831355cdb" providerId="ADAL" clId="{20713911-4596-411B-88E7-4F05ECF7305E}" dt="2020-07-14T07:21:16.477" v="545" actId="26606"/>
          <ac:spMkLst>
            <pc:docMk/>
            <pc:sldMk cId="208755446" sldId="8837"/>
            <ac:spMk id="134" creationId="{122F9423-F4B1-45D4-8445-E9991ECCBCCF}"/>
          </ac:spMkLst>
        </pc:spChg>
        <pc:spChg chg="add del">
          <ac:chgData name="Kommatreddy, Chaitanya" userId="44a1469f-b03c-453c-8c31-90f831355cdb" providerId="ADAL" clId="{20713911-4596-411B-88E7-4F05ECF7305E}" dt="2020-07-14T07:21:32.478" v="549" actId="26606"/>
          <ac:spMkLst>
            <pc:docMk/>
            <pc:sldMk cId="208755446" sldId="8837"/>
            <ac:spMk id="138" creationId="{5F937BBF-9326-4230-AB1B-F1795E350559}"/>
          </ac:spMkLst>
        </pc:spChg>
        <pc:spChg chg="add del">
          <ac:chgData name="Kommatreddy, Chaitanya" userId="44a1469f-b03c-453c-8c31-90f831355cdb" providerId="ADAL" clId="{20713911-4596-411B-88E7-4F05ECF7305E}" dt="2020-07-14T07:21:24.594" v="547" actId="26606"/>
          <ac:spMkLst>
            <pc:docMk/>
            <pc:sldMk cId="208755446" sldId="8837"/>
            <ac:spMk id="140" creationId="{955A2079-FA98-4876-80F0-72364A7D2EA4}"/>
          </ac:spMkLst>
        </pc:spChg>
        <pc:spChg chg="add del">
          <ac:chgData name="Kommatreddy, Chaitanya" userId="44a1469f-b03c-453c-8c31-90f831355cdb" providerId="ADAL" clId="{20713911-4596-411B-88E7-4F05ECF7305E}" dt="2020-07-14T07:21:32.478" v="549" actId="26606"/>
          <ac:spMkLst>
            <pc:docMk/>
            <pc:sldMk cId="208755446" sldId="8837"/>
            <ac:spMk id="142" creationId="{BC68A55F-7B32-44D8-AEE5-1AF40532656C}"/>
          </ac:spMkLst>
        </pc:spChg>
        <pc:spChg chg="add del">
          <ac:chgData name="Kommatreddy, Chaitanya" userId="44a1469f-b03c-453c-8c31-90f831355cdb" providerId="ADAL" clId="{20713911-4596-411B-88E7-4F05ECF7305E}" dt="2020-07-14T07:21:32.478" v="549" actId="26606"/>
          <ac:spMkLst>
            <pc:docMk/>
            <pc:sldMk cId="208755446" sldId="8837"/>
            <ac:spMk id="143" creationId="{CD1AAA2C-FBBE-42AA-B869-31D524B7653F}"/>
          </ac:spMkLst>
        </pc:spChg>
        <pc:spChg chg="add del">
          <ac:chgData name="Kommatreddy, Chaitanya" userId="44a1469f-b03c-453c-8c31-90f831355cdb" providerId="ADAL" clId="{20713911-4596-411B-88E7-4F05ECF7305E}" dt="2020-07-14T07:21:33.405" v="551" actId="26606"/>
          <ac:spMkLst>
            <pc:docMk/>
            <pc:sldMk cId="208755446" sldId="8837"/>
            <ac:spMk id="145" creationId="{3A5B4632-C963-4296-86F0-79AA9EA5AE98}"/>
          </ac:spMkLst>
        </pc:spChg>
        <pc:spChg chg="add del">
          <ac:chgData name="Kommatreddy, Chaitanya" userId="44a1469f-b03c-453c-8c31-90f831355cdb" providerId="ADAL" clId="{20713911-4596-411B-88E7-4F05ECF7305E}" dt="2020-07-14T07:21:35.750" v="553" actId="26606"/>
          <ac:spMkLst>
            <pc:docMk/>
            <pc:sldMk cId="208755446" sldId="8837"/>
            <ac:spMk id="147" creationId="{53B021B3-DE93-4AB7-8A18-CF5F1CED88B8}"/>
          </ac:spMkLst>
        </pc:spChg>
        <pc:spChg chg="add del">
          <ac:chgData name="Kommatreddy, Chaitanya" userId="44a1469f-b03c-453c-8c31-90f831355cdb" providerId="ADAL" clId="{20713911-4596-411B-88E7-4F05ECF7305E}" dt="2020-07-14T07:21:35.750" v="553" actId="26606"/>
          <ac:spMkLst>
            <pc:docMk/>
            <pc:sldMk cId="208755446" sldId="8837"/>
            <ac:spMk id="148" creationId="{52D502E5-F6B4-4D58-B4AE-FC466FF15EE8}"/>
          </ac:spMkLst>
        </pc:spChg>
        <pc:spChg chg="add del">
          <ac:chgData name="Kommatreddy, Chaitanya" userId="44a1469f-b03c-453c-8c31-90f831355cdb" providerId="ADAL" clId="{20713911-4596-411B-88E7-4F05ECF7305E}" dt="2020-07-14T07:21:35.750" v="553" actId="26606"/>
          <ac:spMkLst>
            <pc:docMk/>
            <pc:sldMk cId="208755446" sldId="8837"/>
            <ac:spMk id="149" creationId="{9DECDBF4-02B6-4BB4-B65B-B8107AD6A9E8}"/>
          </ac:spMkLst>
        </pc:spChg>
        <pc:spChg chg="add del">
          <ac:chgData name="Kommatreddy, Chaitanya" userId="44a1469f-b03c-453c-8c31-90f831355cdb" providerId="ADAL" clId="{20713911-4596-411B-88E7-4F05ECF7305E}" dt="2020-07-14T07:28:59.923" v="594" actId="26606"/>
          <ac:spMkLst>
            <pc:docMk/>
            <pc:sldMk cId="208755446" sldId="8837"/>
            <ac:spMk id="151" creationId="{3A5B4632-C963-4296-86F0-79AA9EA5AE98}"/>
          </ac:spMkLst>
        </pc:spChg>
        <pc:spChg chg="add del">
          <ac:chgData name="Kommatreddy, Chaitanya" userId="44a1469f-b03c-453c-8c31-90f831355cdb" providerId="ADAL" clId="{20713911-4596-411B-88E7-4F05ECF7305E}" dt="2020-07-14T07:28:59.875" v="593" actId="26606"/>
          <ac:spMkLst>
            <pc:docMk/>
            <pc:sldMk cId="208755446" sldId="8837"/>
            <ac:spMk id="153" creationId="{7DA1F35B-C8F7-4A5A-9339-7DA4D785B300}"/>
          </ac:spMkLst>
        </pc:spChg>
        <pc:spChg chg="add del">
          <ac:chgData name="Kommatreddy, Chaitanya" userId="44a1469f-b03c-453c-8c31-90f831355cdb" providerId="ADAL" clId="{20713911-4596-411B-88E7-4F05ECF7305E}" dt="2020-07-14T07:28:59.875" v="593" actId="26606"/>
          <ac:spMkLst>
            <pc:docMk/>
            <pc:sldMk cId="208755446" sldId="8837"/>
            <ac:spMk id="154" creationId="{B2D4AD41-40DA-4A81-92F5-B6E3BA1ED82A}"/>
          </ac:spMkLst>
        </pc:spChg>
        <pc:spChg chg="add">
          <ac:chgData name="Kommatreddy, Chaitanya" userId="44a1469f-b03c-453c-8c31-90f831355cdb" providerId="ADAL" clId="{20713911-4596-411B-88E7-4F05ECF7305E}" dt="2020-07-14T07:28:59.923" v="594" actId="26606"/>
          <ac:spMkLst>
            <pc:docMk/>
            <pc:sldMk cId="208755446" sldId="8837"/>
            <ac:spMk id="156" creationId="{53B021B3-DE93-4AB7-8A18-CF5F1CED88B8}"/>
          </ac:spMkLst>
        </pc:spChg>
        <pc:spChg chg="add">
          <ac:chgData name="Kommatreddy, Chaitanya" userId="44a1469f-b03c-453c-8c31-90f831355cdb" providerId="ADAL" clId="{20713911-4596-411B-88E7-4F05ECF7305E}" dt="2020-07-14T07:28:59.923" v="594" actId="26606"/>
          <ac:spMkLst>
            <pc:docMk/>
            <pc:sldMk cId="208755446" sldId="8837"/>
            <ac:spMk id="157" creationId="{52D502E5-F6B4-4D58-B4AE-FC466FF15EE8}"/>
          </ac:spMkLst>
        </pc:spChg>
        <pc:spChg chg="add">
          <ac:chgData name="Kommatreddy, Chaitanya" userId="44a1469f-b03c-453c-8c31-90f831355cdb" providerId="ADAL" clId="{20713911-4596-411B-88E7-4F05ECF7305E}" dt="2020-07-14T07:28:59.923" v="594" actId="26606"/>
          <ac:spMkLst>
            <pc:docMk/>
            <pc:sldMk cId="208755446" sldId="8837"/>
            <ac:spMk id="158" creationId="{9DECDBF4-02B6-4BB4-B65B-B8107AD6A9E8}"/>
          </ac:spMkLst>
        </pc:spChg>
        <pc:grpChg chg="add del">
          <ac:chgData name="Kommatreddy, Chaitanya" userId="44a1469f-b03c-453c-8c31-90f831355cdb" providerId="ADAL" clId="{20713911-4596-411B-88E7-4F05ECF7305E}" dt="2020-07-14T06:59:32.248" v="419" actId="26606"/>
          <ac:grpSpMkLst>
            <pc:docMk/>
            <pc:sldMk cId="208755446" sldId="8837"/>
            <ac:grpSpMk id="63" creationId="{B57BDC17-F1B3-455F-BBF1-680AA1F25C06}"/>
          </ac:grpSpMkLst>
        </pc:grpChg>
        <pc:grpChg chg="add del">
          <ac:chgData name="Kommatreddy, Chaitanya" userId="44a1469f-b03c-453c-8c31-90f831355cdb" providerId="ADAL" clId="{20713911-4596-411B-88E7-4F05ECF7305E}" dt="2020-07-14T07:21:16.477" v="545" actId="26606"/>
          <ac:grpSpMkLst>
            <pc:docMk/>
            <pc:sldMk cId="208755446" sldId="8837"/>
            <ac:grpSpMk id="136" creationId="{770AE191-D2EA-45C9-A44D-830C188F74CB}"/>
          </ac:grpSpMkLst>
        </pc:grpChg>
        <pc:graphicFrameChg chg="add del">
          <ac:chgData name="Kommatreddy, Chaitanya" userId="44a1469f-b03c-453c-8c31-90f831355cdb" providerId="ADAL" clId="{20713911-4596-411B-88E7-4F05ECF7305E}" dt="2020-07-14T06:46:26.363" v="385" actId="26606"/>
          <ac:graphicFrameMkLst>
            <pc:docMk/>
            <pc:sldMk cId="208755446" sldId="8837"/>
            <ac:graphicFrameMk id="15" creationId="{F66CAACB-9D68-4DE2-AD4C-F6C8C650C425}"/>
          </ac:graphicFrameMkLst>
        </pc:graphicFrameChg>
        <pc:graphicFrameChg chg="add mod modGraphic">
          <ac:chgData name="Kommatreddy, Chaitanya" userId="44a1469f-b03c-453c-8c31-90f831355cdb" providerId="ADAL" clId="{20713911-4596-411B-88E7-4F05ECF7305E}" dt="2020-07-14T11:57:01.683" v="1323" actId="20577"/>
          <ac:graphicFrameMkLst>
            <pc:docMk/>
            <pc:sldMk cId="208755446" sldId="8837"/>
            <ac:graphicFrameMk id="24" creationId="{74F4A24B-A7BC-41B5-9C19-77DABB9D35F1}"/>
          </ac:graphicFrameMkLst>
        </pc:graphicFrameChg>
      </pc:sldChg>
      <pc:sldChg chg="modSp add">
        <pc:chgData name="Kommatreddy, Chaitanya" userId="44a1469f-b03c-453c-8c31-90f831355cdb" providerId="ADAL" clId="{20713911-4596-411B-88E7-4F05ECF7305E}" dt="2020-07-14T07:55:26.904" v="604" actId="14100"/>
        <pc:sldMkLst>
          <pc:docMk/>
          <pc:sldMk cId="3472853465" sldId="8838"/>
        </pc:sldMkLst>
        <pc:spChg chg="mod">
          <ac:chgData name="Kommatreddy, Chaitanya" userId="44a1469f-b03c-453c-8c31-90f831355cdb" providerId="ADAL" clId="{20713911-4596-411B-88E7-4F05ECF7305E}" dt="2020-07-14T07:55:26.904" v="604" actId="14100"/>
          <ac:spMkLst>
            <pc:docMk/>
            <pc:sldMk cId="3472853465" sldId="8838"/>
            <ac:spMk id="13" creationId="{00000000-0000-0000-0000-000000000000}"/>
          </ac:spMkLst>
        </pc:spChg>
      </pc:sldChg>
      <pc:sldChg chg="add">
        <pc:chgData name="Kommatreddy, Chaitanya" userId="44a1469f-b03c-453c-8c31-90f831355cdb" providerId="ADAL" clId="{20713911-4596-411B-88E7-4F05ECF7305E}" dt="2020-07-03T07:51:37.266" v="3"/>
        <pc:sldMkLst>
          <pc:docMk/>
          <pc:sldMk cId="860965959" sldId="8839"/>
        </pc:sldMkLst>
      </pc:sldChg>
      <pc:sldChg chg="add">
        <pc:chgData name="Kommatreddy, Chaitanya" userId="44a1469f-b03c-453c-8c31-90f831355cdb" providerId="ADAL" clId="{20713911-4596-411B-88E7-4F05ECF7305E}" dt="2020-07-03T07:51:37.266" v="3"/>
        <pc:sldMkLst>
          <pc:docMk/>
          <pc:sldMk cId="1539445935" sldId="8840"/>
        </pc:sldMkLst>
      </pc:sldChg>
      <pc:sldChg chg="add">
        <pc:chgData name="Kommatreddy, Chaitanya" userId="44a1469f-b03c-453c-8c31-90f831355cdb" providerId="ADAL" clId="{20713911-4596-411B-88E7-4F05ECF7305E}" dt="2020-07-14T06:36:09.084" v="62"/>
        <pc:sldMkLst>
          <pc:docMk/>
          <pc:sldMk cId="3148283714" sldId="8987"/>
        </pc:sldMkLst>
      </pc:sldChg>
      <pc:sldChg chg="add del">
        <pc:chgData name="Kommatreddy, Chaitanya" userId="44a1469f-b03c-453c-8c31-90f831355cdb" providerId="ADAL" clId="{20713911-4596-411B-88E7-4F05ECF7305E}" dt="2020-07-14T06:36:05.891" v="61"/>
        <pc:sldMkLst>
          <pc:docMk/>
          <pc:sldMk cId="3557090927" sldId="8987"/>
        </pc:sldMkLst>
      </pc:sldChg>
      <pc:sldChg chg="add del">
        <pc:chgData name="Kommatreddy, Chaitanya" userId="44a1469f-b03c-453c-8c31-90f831355cdb" providerId="ADAL" clId="{20713911-4596-411B-88E7-4F05ECF7305E}" dt="2020-07-14T06:43:44.072" v="330"/>
        <pc:sldMkLst>
          <pc:docMk/>
          <pc:sldMk cId="1268015401" sldId="8988"/>
        </pc:sldMkLst>
      </pc:sldChg>
      <pc:sldChg chg="modSp add ord">
        <pc:chgData name="Kommatreddy, Chaitanya" userId="44a1469f-b03c-453c-8c31-90f831355cdb" providerId="ADAL" clId="{20713911-4596-411B-88E7-4F05ECF7305E}" dt="2020-07-14T06:44:10.999" v="356" actId="20577"/>
        <pc:sldMkLst>
          <pc:docMk/>
          <pc:sldMk cId="3411295302" sldId="8988"/>
        </pc:sldMkLst>
        <pc:spChg chg="mod">
          <ac:chgData name="Kommatreddy, Chaitanya" userId="44a1469f-b03c-453c-8c31-90f831355cdb" providerId="ADAL" clId="{20713911-4596-411B-88E7-4F05ECF7305E}" dt="2020-07-14T06:44:04.915" v="344" actId="20577"/>
          <ac:spMkLst>
            <pc:docMk/>
            <pc:sldMk cId="3411295302" sldId="8988"/>
            <ac:spMk id="4" creationId="{28070241-8247-4E57-B680-44534908C9ED}"/>
          </ac:spMkLst>
        </pc:spChg>
        <pc:spChg chg="mod">
          <ac:chgData name="Kommatreddy, Chaitanya" userId="44a1469f-b03c-453c-8c31-90f831355cdb" providerId="ADAL" clId="{20713911-4596-411B-88E7-4F05ECF7305E}" dt="2020-07-14T06:44:10.999" v="356" actId="20577"/>
          <ac:spMkLst>
            <pc:docMk/>
            <pc:sldMk cId="3411295302" sldId="8988"/>
            <ac:spMk id="13" creationId="{00000000-0000-0000-0000-000000000000}"/>
          </ac:spMkLst>
        </pc:spChg>
      </pc:sldChg>
      <pc:sldChg chg="addSp delSp add del">
        <pc:chgData name="Kommatreddy, Chaitanya" userId="44a1469f-b03c-453c-8c31-90f831355cdb" providerId="ADAL" clId="{20713911-4596-411B-88E7-4F05ECF7305E}" dt="2020-07-14T06:43:30.796" v="328" actId="2696"/>
        <pc:sldMkLst>
          <pc:docMk/>
          <pc:sldMk cId="4264666622" sldId="8988"/>
        </pc:sldMkLst>
        <pc:spChg chg="add del">
          <ac:chgData name="Kommatreddy, Chaitanya" userId="44a1469f-b03c-453c-8c31-90f831355cdb" providerId="ADAL" clId="{20713911-4596-411B-88E7-4F05ECF7305E}" dt="2020-07-14T06:43:26.745" v="327"/>
          <ac:spMkLst>
            <pc:docMk/>
            <pc:sldMk cId="4264666622" sldId="8988"/>
            <ac:spMk id="2" creationId="{3493E855-791D-4CF6-BB64-12B4D45E799D}"/>
          </ac:spMkLst>
        </pc:spChg>
      </pc:sldChg>
      <pc:sldChg chg="add del">
        <pc:chgData name="Kommatreddy, Chaitanya" userId="44a1469f-b03c-453c-8c31-90f831355cdb" providerId="ADAL" clId="{20713911-4596-411B-88E7-4F05ECF7305E}" dt="2020-07-14T07:55:45.705" v="607" actId="2696"/>
        <pc:sldMkLst>
          <pc:docMk/>
          <pc:sldMk cId="724133099" sldId="8991"/>
        </pc:sldMkLst>
      </pc:sldChg>
      <pc:sldChg chg="modSp add del ord">
        <pc:chgData name="Kommatreddy, Chaitanya" userId="44a1469f-b03c-453c-8c31-90f831355cdb" providerId="ADAL" clId="{20713911-4596-411B-88E7-4F05ECF7305E}" dt="2020-07-14T07:28:30.703" v="589" actId="2696"/>
        <pc:sldMkLst>
          <pc:docMk/>
          <pc:sldMk cId="1340705411" sldId="8991"/>
        </pc:sldMkLst>
        <pc:spChg chg="mod">
          <ac:chgData name="Kommatreddy, Chaitanya" userId="44a1469f-b03c-453c-8c31-90f831355cdb" providerId="ADAL" clId="{20713911-4596-411B-88E7-4F05ECF7305E}" dt="2020-07-14T07:26:35.997" v="569" actId="20577"/>
          <ac:spMkLst>
            <pc:docMk/>
            <pc:sldMk cId="1340705411" sldId="8991"/>
            <ac:spMk id="4" creationId="{28070241-8247-4E57-B680-44534908C9ED}"/>
          </ac:spMkLst>
        </pc:spChg>
        <pc:spChg chg="mod">
          <ac:chgData name="Kommatreddy, Chaitanya" userId="44a1469f-b03c-453c-8c31-90f831355cdb" providerId="ADAL" clId="{20713911-4596-411B-88E7-4F05ECF7305E}" dt="2020-07-14T07:27:43.040" v="579"/>
          <ac:spMkLst>
            <pc:docMk/>
            <pc:sldMk cId="1340705411" sldId="8991"/>
            <ac:spMk id="13" creationId="{00000000-0000-0000-0000-000000000000}"/>
          </ac:spMkLst>
        </pc:spChg>
      </pc:sldChg>
      <pc:sldChg chg="addSp delSp modSp add mod ord setBg">
        <pc:chgData name="Kommatreddy, Chaitanya" userId="44a1469f-b03c-453c-8c31-90f831355cdb" providerId="ADAL" clId="{20713911-4596-411B-88E7-4F05ECF7305E}" dt="2020-07-14T10:08:53.364" v="1304" actId="962"/>
        <pc:sldMkLst>
          <pc:docMk/>
          <pc:sldMk cId="883180132" sldId="8992"/>
        </pc:sldMkLst>
        <pc:spChg chg="mod">
          <ac:chgData name="Kommatreddy, Chaitanya" userId="44a1469f-b03c-453c-8c31-90f831355cdb" providerId="ADAL" clId="{20713911-4596-411B-88E7-4F05ECF7305E}" dt="2020-07-14T08:51:14.604" v="881" actId="26606"/>
          <ac:spMkLst>
            <pc:docMk/>
            <pc:sldMk cId="883180132" sldId="8992"/>
            <ac:spMk id="4" creationId="{28070241-8247-4E57-B680-44534908C9ED}"/>
          </ac:spMkLst>
        </pc:spChg>
        <pc:spChg chg="add del mod">
          <ac:chgData name="Kommatreddy, Chaitanya" userId="44a1469f-b03c-453c-8c31-90f831355cdb" providerId="ADAL" clId="{20713911-4596-411B-88E7-4F05ECF7305E}" dt="2020-07-14T07:57:08.574" v="640"/>
          <ac:spMkLst>
            <pc:docMk/>
            <pc:sldMk cId="883180132" sldId="8992"/>
            <ac:spMk id="5" creationId="{1EEA1AED-C658-4913-AFA5-8F463C62A60E}"/>
          </ac:spMkLst>
        </pc:spChg>
        <pc:spChg chg="add del mod">
          <ac:chgData name="Kommatreddy, Chaitanya" userId="44a1469f-b03c-453c-8c31-90f831355cdb" providerId="ADAL" clId="{20713911-4596-411B-88E7-4F05ECF7305E}" dt="2020-07-14T08:49:56.703" v="867" actId="478"/>
          <ac:spMkLst>
            <pc:docMk/>
            <pc:sldMk cId="883180132" sldId="8992"/>
            <ac:spMk id="7" creationId="{01F70DF8-FCCA-42EA-A96C-52B2C9A1384A}"/>
          </ac:spMkLst>
        </pc:spChg>
        <pc:spChg chg="add del">
          <ac:chgData name="Kommatreddy, Chaitanya" userId="44a1469f-b03c-453c-8c31-90f831355cdb" providerId="ADAL" clId="{20713911-4596-411B-88E7-4F05ECF7305E}" dt="2020-07-14T08:48:48.277" v="819" actId="26606"/>
          <ac:spMkLst>
            <pc:docMk/>
            <pc:sldMk cId="883180132" sldId="8992"/>
            <ac:spMk id="12" creationId="{F60FCA6E-0894-46CD-BD49-5955A51E0084}"/>
          </ac:spMkLst>
        </pc:spChg>
        <pc:spChg chg="del">
          <ac:chgData name="Kommatreddy, Chaitanya" userId="44a1469f-b03c-453c-8c31-90f831355cdb" providerId="ADAL" clId="{20713911-4596-411B-88E7-4F05ECF7305E}" dt="2020-07-14T07:55:54.542" v="608" actId="478"/>
          <ac:spMkLst>
            <pc:docMk/>
            <pc:sldMk cId="883180132" sldId="8992"/>
            <ac:spMk id="13" creationId="{00000000-0000-0000-0000-000000000000}"/>
          </ac:spMkLst>
        </pc:spChg>
        <pc:spChg chg="add del">
          <ac:chgData name="Kommatreddy, Chaitanya" userId="44a1469f-b03c-453c-8c31-90f831355cdb" providerId="ADAL" clId="{20713911-4596-411B-88E7-4F05ECF7305E}" dt="2020-07-14T08:48:48.277" v="819" actId="26606"/>
          <ac:spMkLst>
            <pc:docMk/>
            <pc:sldMk cId="883180132" sldId="8992"/>
            <ac:spMk id="14" creationId="{E78C6E4B-A1F1-4B6C-97EC-BE997495D6AC}"/>
          </ac:spMkLst>
        </pc:spChg>
        <pc:spChg chg="add mod">
          <ac:chgData name="Kommatreddy, Chaitanya" userId="44a1469f-b03c-453c-8c31-90f831355cdb" providerId="ADAL" clId="{20713911-4596-411B-88E7-4F05ECF7305E}" dt="2020-07-14T08:51:25.139" v="890" actId="20577"/>
          <ac:spMkLst>
            <pc:docMk/>
            <pc:sldMk cId="883180132" sldId="8992"/>
            <ac:spMk id="17" creationId="{B061AAEF-0280-4785-AD59-FB4EB77007CA}"/>
          </ac:spMkLst>
        </pc:spChg>
        <pc:spChg chg="add del">
          <ac:chgData name="Kommatreddy, Chaitanya" userId="44a1469f-b03c-453c-8c31-90f831355cdb" providerId="ADAL" clId="{20713911-4596-411B-88E7-4F05ECF7305E}" dt="2020-07-14T08:48:43.478" v="816" actId="26606"/>
          <ac:spMkLst>
            <pc:docMk/>
            <pc:sldMk cId="883180132" sldId="8992"/>
            <ac:spMk id="19" creationId="{05C7EBC3-4672-4DAB-81C2-58661FAFAED6}"/>
          </ac:spMkLst>
        </pc:spChg>
        <pc:spChg chg="add del">
          <ac:chgData name="Kommatreddy, Chaitanya" userId="44a1469f-b03c-453c-8c31-90f831355cdb" providerId="ADAL" clId="{20713911-4596-411B-88E7-4F05ECF7305E}" dt="2020-07-14T08:48:43.478" v="816" actId="26606"/>
          <ac:spMkLst>
            <pc:docMk/>
            <pc:sldMk cId="883180132" sldId="8992"/>
            <ac:spMk id="21" creationId="{40BF962F-4C6F-461E-86F2-C43F56CC939B}"/>
          </ac:spMkLst>
        </pc:spChg>
        <pc:spChg chg="add del">
          <ac:chgData name="Kommatreddy, Chaitanya" userId="44a1469f-b03c-453c-8c31-90f831355cdb" providerId="ADAL" clId="{20713911-4596-411B-88E7-4F05ECF7305E}" dt="2020-07-14T08:48:43.478" v="816" actId="26606"/>
          <ac:spMkLst>
            <pc:docMk/>
            <pc:sldMk cId="883180132" sldId="8992"/>
            <ac:spMk id="23" creationId="{2E94A4F7-38E4-45EA-8E2E-CE1B5766B4F1}"/>
          </ac:spMkLst>
        </pc:spChg>
        <pc:spChg chg="add del">
          <ac:chgData name="Kommatreddy, Chaitanya" userId="44a1469f-b03c-453c-8c31-90f831355cdb" providerId="ADAL" clId="{20713911-4596-411B-88E7-4F05ECF7305E}" dt="2020-07-14T08:48:48.265" v="818" actId="26606"/>
          <ac:spMkLst>
            <pc:docMk/>
            <pc:sldMk cId="883180132" sldId="8992"/>
            <ac:spMk id="25" creationId="{5E39A796-BE83-48B1-B33F-35C4A32AAB57}"/>
          </ac:spMkLst>
        </pc:spChg>
        <pc:spChg chg="add del">
          <ac:chgData name="Kommatreddy, Chaitanya" userId="44a1469f-b03c-453c-8c31-90f831355cdb" providerId="ADAL" clId="{20713911-4596-411B-88E7-4F05ECF7305E}" dt="2020-07-14T08:48:48.265" v="818" actId="26606"/>
          <ac:spMkLst>
            <pc:docMk/>
            <pc:sldMk cId="883180132" sldId="8992"/>
            <ac:spMk id="26" creationId="{72F84B47-E267-4194-8194-831DB7B5547F}"/>
          </ac:spMkLst>
        </pc:spChg>
        <pc:spChg chg="add del">
          <ac:chgData name="Kommatreddy, Chaitanya" userId="44a1469f-b03c-453c-8c31-90f831355cdb" providerId="ADAL" clId="{20713911-4596-411B-88E7-4F05ECF7305E}" dt="2020-07-14T08:51:14.604" v="881" actId="26606"/>
          <ac:spMkLst>
            <pc:docMk/>
            <pc:sldMk cId="883180132" sldId="8992"/>
            <ac:spMk id="28" creationId="{F60FCA6E-0894-46CD-BD49-5955A51E0084}"/>
          </ac:spMkLst>
        </pc:spChg>
        <pc:spChg chg="add del">
          <ac:chgData name="Kommatreddy, Chaitanya" userId="44a1469f-b03c-453c-8c31-90f831355cdb" providerId="ADAL" clId="{20713911-4596-411B-88E7-4F05ECF7305E}" dt="2020-07-14T08:51:14.604" v="881" actId="26606"/>
          <ac:spMkLst>
            <pc:docMk/>
            <pc:sldMk cId="883180132" sldId="8992"/>
            <ac:spMk id="29" creationId="{E78C6E4B-A1F1-4B6C-97EC-BE997495D6AC}"/>
          </ac:spMkLst>
        </pc:spChg>
        <pc:spChg chg="add">
          <ac:chgData name="Kommatreddy, Chaitanya" userId="44a1469f-b03c-453c-8c31-90f831355cdb" providerId="ADAL" clId="{20713911-4596-411B-88E7-4F05ECF7305E}" dt="2020-07-14T08:51:14.604" v="881" actId="26606"/>
          <ac:spMkLst>
            <pc:docMk/>
            <pc:sldMk cId="883180132" sldId="8992"/>
            <ac:spMk id="34" creationId="{CEEF22E7-C7EB-4303-91B7-B38A2A46C2B4}"/>
          </ac:spMkLst>
        </pc:spChg>
        <pc:picChg chg="add del mod ord">
          <ac:chgData name="Kommatreddy, Chaitanya" userId="44a1469f-b03c-453c-8c31-90f831355cdb" providerId="ADAL" clId="{20713911-4596-411B-88E7-4F05ECF7305E}" dt="2020-07-14T10:08:45.701" v="1299" actId="478"/>
          <ac:picMkLst>
            <pc:docMk/>
            <pc:sldMk cId="883180132" sldId="8992"/>
            <ac:picMk id="3" creationId="{84EA83AE-E6E3-448F-BD93-2584470B4882}"/>
          </ac:picMkLst>
        </pc:picChg>
        <pc:picChg chg="add mod">
          <ac:chgData name="Kommatreddy, Chaitanya" userId="44a1469f-b03c-453c-8c31-90f831355cdb" providerId="ADAL" clId="{20713911-4596-411B-88E7-4F05ECF7305E}" dt="2020-07-14T10:08:53.364" v="1304" actId="962"/>
          <ac:picMkLst>
            <pc:docMk/>
            <pc:sldMk cId="883180132" sldId="8992"/>
            <ac:picMk id="8" creationId="{AD57D89E-AD80-46DE-A831-891516284290}"/>
          </ac:picMkLst>
        </pc:picChg>
      </pc:sldChg>
      <pc:sldChg chg="modSp add del">
        <pc:chgData name="Kommatreddy, Chaitanya" userId="44a1469f-b03c-453c-8c31-90f831355cdb" providerId="ADAL" clId="{20713911-4596-411B-88E7-4F05ECF7305E}" dt="2020-07-14T08:50:50.374" v="880" actId="2696"/>
        <pc:sldMkLst>
          <pc:docMk/>
          <pc:sldMk cId="2149868135" sldId="8993"/>
        </pc:sldMkLst>
        <pc:spChg chg="mod">
          <ac:chgData name="Kommatreddy, Chaitanya" userId="44a1469f-b03c-453c-8c31-90f831355cdb" providerId="ADAL" clId="{20713911-4596-411B-88E7-4F05ECF7305E}" dt="2020-07-14T07:57:24.587" v="643" actId="1076"/>
          <ac:spMkLst>
            <pc:docMk/>
            <pc:sldMk cId="2149868135" sldId="8993"/>
            <ac:spMk id="13" creationId="{00000000-0000-0000-0000-000000000000}"/>
          </ac:spMkLst>
        </pc:spChg>
      </pc:sldChg>
      <pc:sldChg chg="modSp add del">
        <pc:chgData name="Kommatreddy, Chaitanya" userId="44a1469f-b03c-453c-8c31-90f831355cdb" providerId="ADAL" clId="{20713911-4596-411B-88E7-4F05ECF7305E}" dt="2020-07-14T08:55:26.574" v="908" actId="2696"/>
        <pc:sldMkLst>
          <pc:docMk/>
          <pc:sldMk cId="1094968428" sldId="8994"/>
        </pc:sldMkLst>
        <pc:spChg chg="mod">
          <ac:chgData name="Kommatreddy, Chaitanya" userId="44a1469f-b03c-453c-8c31-90f831355cdb" providerId="ADAL" clId="{20713911-4596-411B-88E7-4F05ECF7305E}" dt="2020-07-14T08:51:41.405" v="906" actId="20577"/>
          <ac:spMkLst>
            <pc:docMk/>
            <pc:sldMk cId="1094968428" sldId="8994"/>
            <ac:spMk id="4" creationId="{28070241-8247-4E57-B680-44534908C9ED}"/>
          </ac:spMkLst>
        </pc:spChg>
      </pc:sldChg>
      <pc:sldChg chg="add del">
        <pc:chgData name="Kommatreddy, Chaitanya" userId="44a1469f-b03c-453c-8c31-90f831355cdb" providerId="ADAL" clId="{20713911-4596-411B-88E7-4F05ECF7305E}" dt="2020-07-14T07:57:32.858" v="645"/>
        <pc:sldMkLst>
          <pc:docMk/>
          <pc:sldMk cId="4201129287" sldId="8994"/>
        </pc:sldMkLst>
      </pc:sldChg>
      <pc:sldChg chg="add del">
        <pc:chgData name="Kommatreddy, Chaitanya" userId="44a1469f-b03c-453c-8c31-90f831355cdb" providerId="ADAL" clId="{20713911-4596-411B-88E7-4F05ECF7305E}" dt="2020-07-14T08:56:46.241" v="934" actId="2696"/>
        <pc:sldMkLst>
          <pc:docMk/>
          <pc:sldMk cId="1384293952" sldId="8998"/>
        </pc:sldMkLst>
      </pc:sldChg>
      <pc:sldChg chg="addSp delSp modSp add">
        <pc:chgData name="Kommatreddy, Chaitanya" userId="44a1469f-b03c-453c-8c31-90f831355cdb" providerId="ADAL" clId="{20713911-4596-411B-88E7-4F05ECF7305E}" dt="2020-07-14T08:56:39.770" v="933" actId="20577"/>
        <pc:sldMkLst>
          <pc:docMk/>
          <pc:sldMk cId="2311481195" sldId="8999"/>
        </pc:sldMkLst>
        <pc:spChg chg="mod">
          <ac:chgData name="Kommatreddy, Chaitanya" userId="44a1469f-b03c-453c-8c31-90f831355cdb" providerId="ADAL" clId="{20713911-4596-411B-88E7-4F05ECF7305E}" dt="2020-07-14T08:56:39.770" v="933" actId="20577"/>
          <ac:spMkLst>
            <pc:docMk/>
            <pc:sldMk cId="2311481195" sldId="8999"/>
            <ac:spMk id="4" creationId="{28070241-8247-4E57-B680-44534908C9ED}"/>
          </ac:spMkLst>
        </pc:spChg>
        <pc:spChg chg="del">
          <ac:chgData name="Kommatreddy, Chaitanya" userId="44a1469f-b03c-453c-8c31-90f831355cdb" providerId="ADAL" clId="{20713911-4596-411B-88E7-4F05ECF7305E}" dt="2020-07-14T08:56:29.255" v="910" actId="478"/>
          <ac:spMkLst>
            <pc:docMk/>
            <pc:sldMk cId="2311481195" sldId="8999"/>
            <ac:spMk id="17" creationId="{B061AAEF-0280-4785-AD59-FB4EB77007CA}"/>
          </ac:spMkLst>
        </pc:spChg>
        <pc:picChg chg="del">
          <ac:chgData name="Kommatreddy, Chaitanya" userId="44a1469f-b03c-453c-8c31-90f831355cdb" providerId="ADAL" clId="{20713911-4596-411B-88E7-4F05ECF7305E}" dt="2020-07-14T08:56:29.255" v="910" actId="478"/>
          <ac:picMkLst>
            <pc:docMk/>
            <pc:sldMk cId="2311481195" sldId="8999"/>
            <ac:picMk id="3" creationId="{84EA83AE-E6E3-448F-BD93-2584470B4882}"/>
          </ac:picMkLst>
        </pc:picChg>
        <pc:picChg chg="add">
          <ac:chgData name="Kommatreddy, Chaitanya" userId="44a1469f-b03c-453c-8c31-90f831355cdb" providerId="ADAL" clId="{20713911-4596-411B-88E7-4F05ECF7305E}" dt="2020-07-14T08:56:30.090" v="911"/>
          <ac:picMkLst>
            <pc:docMk/>
            <pc:sldMk cId="2311481195" sldId="8999"/>
            <ac:picMk id="6" creationId="{6B822744-C1B7-4479-87BF-10AB2219E781}"/>
          </ac:picMkLst>
        </pc:picChg>
        <pc:picChg chg="add">
          <ac:chgData name="Kommatreddy, Chaitanya" userId="44a1469f-b03c-453c-8c31-90f831355cdb" providerId="ADAL" clId="{20713911-4596-411B-88E7-4F05ECF7305E}" dt="2020-07-14T08:56:30.090" v="911"/>
          <ac:picMkLst>
            <pc:docMk/>
            <pc:sldMk cId="2311481195" sldId="8999"/>
            <ac:picMk id="7" creationId="{297726A7-45D0-4641-BC41-960101F1D53F}"/>
          </ac:picMkLst>
        </pc:picChg>
        <pc:picChg chg="add">
          <ac:chgData name="Kommatreddy, Chaitanya" userId="44a1469f-b03c-453c-8c31-90f831355cdb" providerId="ADAL" clId="{20713911-4596-411B-88E7-4F05ECF7305E}" dt="2020-07-14T08:56:30.090" v="911"/>
          <ac:picMkLst>
            <pc:docMk/>
            <pc:sldMk cId="2311481195" sldId="8999"/>
            <ac:picMk id="8" creationId="{C51D0EC4-1744-4B01-A69D-D78BB6F1296B}"/>
          </ac:picMkLst>
        </pc:picChg>
      </pc:sldChg>
      <pc:sldChg chg="addSp delSp modSp add mod setBg">
        <pc:chgData name="Kommatreddy, Chaitanya" userId="44a1469f-b03c-453c-8c31-90f831355cdb" providerId="ADAL" clId="{20713911-4596-411B-88E7-4F05ECF7305E}" dt="2020-07-14T10:09:19.791" v="1305" actId="26606"/>
        <pc:sldMkLst>
          <pc:docMk/>
          <pc:sldMk cId="477347674" sldId="9000"/>
        </pc:sldMkLst>
        <pc:spChg chg="del mod">
          <ac:chgData name="Kommatreddy, Chaitanya" userId="44a1469f-b03c-453c-8c31-90f831355cdb" providerId="ADAL" clId="{20713911-4596-411B-88E7-4F05ECF7305E}" dt="2020-07-14T10:09:19.791" v="1305" actId="26606"/>
          <ac:spMkLst>
            <pc:docMk/>
            <pc:sldMk cId="477347674" sldId="9000"/>
            <ac:spMk id="2" creationId="{55F2F812-7B37-465C-AB2F-FDB8F1018D9B}"/>
          </ac:spMkLst>
        </pc:spChg>
        <pc:spChg chg="del mod">
          <ac:chgData name="Kommatreddy, Chaitanya" userId="44a1469f-b03c-453c-8c31-90f831355cdb" providerId="ADAL" clId="{20713911-4596-411B-88E7-4F05ECF7305E}" dt="2020-07-14T08:57:24.356" v="937" actId="478"/>
          <ac:spMkLst>
            <pc:docMk/>
            <pc:sldMk cId="477347674" sldId="9000"/>
            <ac:spMk id="3" creationId="{79CFB8E1-D662-4233-ACD8-579A7B5BC495}"/>
          </ac:spMkLst>
        </pc:spChg>
        <pc:spChg chg="add del mod">
          <ac:chgData name="Kommatreddy, Chaitanya" userId="44a1469f-b03c-453c-8c31-90f831355cdb" providerId="ADAL" clId="{20713911-4596-411B-88E7-4F05ECF7305E}" dt="2020-07-14T08:57:44.833" v="940" actId="478"/>
          <ac:spMkLst>
            <pc:docMk/>
            <pc:sldMk cId="477347674" sldId="9000"/>
            <ac:spMk id="5" creationId="{EEA7AC9E-AC87-4961-A21D-54C674AEB3BF}"/>
          </ac:spMkLst>
        </pc:spChg>
        <pc:spChg chg="add mod">
          <ac:chgData name="Kommatreddy, Chaitanya" userId="44a1469f-b03c-453c-8c31-90f831355cdb" providerId="ADAL" clId="{20713911-4596-411B-88E7-4F05ECF7305E}" dt="2020-07-14T10:09:19.791" v="1305" actId="26606"/>
          <ac:spMkLst>
            <pc:docMk/>
            <pc:sldMk cId="477347674" sldId="9000"/>
            <ac:spMk id="6" creationId="{01EB9A86-4185-4B38-A387-EC1144CDCF12}"/>
          </ac:spMkLst>
        </pc:spChg>
        <pc:spChg chg="add">
          <ac:chgData name="Kommatreddy, Chaitanya" userId="44a1469f-b03c-453c-8c31-90f831355cdb" providerId="ADAL" clId="{20713911-4596-411B-88E7-4F05ECF7305E}" dt="2020-07-14T10:09:19.791" v="1305" actId="26606"/>
          <ac:spMkLst>
            <pc:docMk/>
            <pc:sldMk cId="477347674" sldId="9000"/>
            <ac:spMk id="12" creationId="{3A5B4632-C963-4296-86F0-79AA9EA5AE98}"/>
          </ac:spMkLst>
        </pc:spChg>
        <pc:graphicFrameChg chg="add">
          <ac:chgData name="Kommatreddy, Chaitanya" userId="44a1469f-b03c-453c-8c31-90f831355cdb" providerId="ADAL" clId="{20713911-4596-411B-88E7-4F05ECF7305E}" dt="2020-07-14T10:09:19.791" v="1305" actId="26606"/>
          <ac:graphicFrameMkLst>
            <pc:docMk/>
            <pc:sldMk cId="477347674" sldId="9000"/>
            <ac:graphicFrameMk id="8" creationId="{3A298B37-88E3-4F53-B787-ABC5D4EE17E1}"/>
          </ac:graphicFrameMkLst>
        </pc:graphicFrameChg>
      </pc:sldChg>
    </pc:docChg>
  </pc:docChgLst>
  <pc:docChgLst>
    <pc:chgData name="Hermon, Ezra" userId="28426d24-1f30-44cc-8d98-50e3c6043258" providerId="ADAL" clId="{1DC18665-696F-4E50-A0E4-7FD0ADF7D41C}"/>
    <pc:docChg chg="custSel addSld modSld">
      <pc:chgData name="Hermon, Ezra" userId="28426d24-1f30-44cc-8d98-50e3c6043258" providerId="ADAL" clId="{1DC18665-696F-4E50-A0E4-7FD0ADF7D41C}" dt="2021-07-12T14:57:36.038" v="278" actId="20577"/>
      <pc:docMkLst>
        <pc:docMk/>
      </pc:docMkLst>
      <pc:sldChg chg="delSp modSp mod">
        <pc:chgData name="Hermon, Ezra" userId="28426d24-1f30-44cc-8d98-50e3c6043258" providerId="ADAL" clId="{1DC18665-696F-4E50-A0E4-7FD0ADF7D41C}" dt="2021-07-12T13:15:35.375" v="255" actId="478"/>
        <pc:sldMkLst>
          <pc:docMk/>
          <pc:sldMk cId="2246163936" sldId="8788"/>
        </pc:sldMkLst>
        <pc:spChg chg="mod">
          <ac:chgData name="Hermon, Ezra" userId="28426d24-1f30-44cc-8d98-50e3c6043258" providerId="ADAL" clId="{1DC18665-696F-4E50-A0E4-7FD0ADF7D41C}" dt="2021-07-12T06:55:45.892" v="243" actId="1076"/>
          <ac:spMkLst>
            <pc:docMk/>
            <pc:sldMk cId="2246163936" sldId="8788"/>
            <ac:spMk id="4" creationId="{DF132C2F-19E4-4E49-B70A-03886CF0AF13}"/>
          </ac:spMkLst>
        </pc:spChg>
        <pc:spChg chg="del mod">
          <ac:chgData name="Hermon, Ezra" userId="28426d24-1f30-44cc-8d98-50e3c6043258" providerId="ADAL" clId="{1DC18665-696F-4E50-A0E4-7FD0ADF7D41C}" dt="2021-07-12T13:15:35.375" v="255" actId="478"/>
          <ac:spMkLst>
            <pc:docMk/>
            <pc:sldMk cId="2246163936" sldId="8788"/>
            <ac:spMk id="5" creationId="{9ECF369E-8279-4FEE-BB0D-51136CBDCDB7}"/>
          </ac:spMkLst>
        </pc:spChg>
        <pc:graphicFrameChg chg="mod modGraphic">
          <ac:chgData name="Hermon, Ezra" userId="28426d24-1f30-44cc-8d98-50e3c6043258" providerId="ADAL" clId="{1DC18665-696F-4E50-A0E4-7FD0ADF7D41C}" dt="2021-07-12T06:56:24.143" v="254" actId="20577"/>
          <ac:graphicFrameMkLst>
            <pc:docMk/>
            <pc:sldMk cId="2246163936" sldId="8788"/>
            <ac:graphicFrameMk id="2" creationId="{DBFB0C01-4024-4DDF-BB08-6AA678F60360}"/>
          </ac:graphicFrameMkLst>
        </pc:graphicFrameChg>
      </pc:sldChg>
      <pc:sldChg chg="modSp mod">
        <pc:chgData name="Hermon, Ezra" userId="28426d24-1f30-44cc-8d98-50e3c6043258" providerId="ADAL" clId="{1DC18665-696F-4E50-A0E4-7FD0ADF7D41C}" dt="2021-07-12T14:57:36.038" v="278" actId="20577"/>
        <pc:sldMkLst>
          <pc:docMk/>
          <pc:sldMk cId="975902523" sldId="9033"/>
        </pc:sldMkLst>
        <pc:spChg chg="mod">
          <ac:chgData name="Hermon, Ezra" userId="28426d24-1f30-44cc-8d98-50e3c6043258" providerId="ADAL" clId="{1DC18665-696F-4E50-A0E4-7FD0ADF7D41C}" dt="2021-07-12T14:57:36.038" v="278" actId="20577"/>
          <ac:spMkLst>
            <pc:docMk/>
            <pc:sldMk cId="975902523" sldId="9033"/>
            <ac:spMk id="12" creationId="{9C163676-2CF3-4FA5-9828-5A9969A379CA}"/>
          </ac:spMkLst>
        </pc:spChg>
      </pc:sldChg>
      <pc:sldChg chg="add">
        <pc:chgData name="Hermon, Ezra" userId="28426d24-1f30-44cc-8d98-50e3c6043258" providerId="ADAL" clId="{1DC18665-696F-4E50-A0E4-7FD0ADF7D41C}" dt="2021-07-12T13:50:41.944" v="256"/>
        <pc:sldMkLst>
          <pc:docMk/>
          <pc:sldMk cId="1607098429" sldId="9069"/>
        </pc:sldMkLst>
      </pc:sldChg>
      <pc:sldChg chg="add">
        <pc:chgData name="Hermon, Ezra" userId="28426d24-1f30-44cc-8d98-50e3c6043258" providerId="ADAL" clId="{1DC18665-696F-4E50-A0E4-7FD0ADF7D41C}" dt="2021-07-12T13:50:41.944" v="256"/>
        <pc:sldMkLst>
          <pc:docMk/>
          <pc:sldMk cId="2383003382" sldId="9070"/>
        </pc:sldMkLst>
      </pc:sldChg>
    </pc:docChg>
  </pc:docChgLst>
  <pc:docChgLst>
    <pc:chgData name="Swarna, Padmini" userId="S::padswarna@deloitte.com::03b348e6-46b3-471e-9507-2b8a34198287" providerId="AD" clId="Web-{C882BBB8-EA6F-4C27-9F0C-DCB477D6065A}"/>
    <pc:docChg chg="modSld">
      <pc:chgData name="Swarna, Padmini" userId="S::padswarna@deloitte.com::03b348e6-46b3-471e-9507-2b8a34198287" providerId="AD" clId="Web-{C882BBB8-EA6F-4C27-9F0C-DCB477D6065A}" dt="2021-07-12T08:05:54.876" v="23" actId="20577"/>
      <pc:docMkLst>
        <pc:docMk/>
      </pc:docMkLst>
      <pc:sldChg chg="modSp">
        <pc:chgData name="Swarna, Padmini" userId="S::padswarna@deloitte.com::03b348e6-46b3-471e-9507-2b8a34198287" providerId="AD" clId="Web-{C882BBB8-EA6F-4C27-9F0C-DCB477D6065A}" dt="2021-07-12T08:05:54.876" v="23" actId="20577"/>
        <pc:sldMkLst>
          <pc:docMk/>
          <pc:sldMk cId="302263831" sldId="9048"/>
        </pc:sldMkLst>
        <pc:spChg chg="mod">
          <ac:chgData name="Swarna, Padmini" userId="S::padswarna@deloitte.com::03b348e6-46b3-471e-9507-2b8a34198287" providerId="AD" clId="Web-{C882BBB8-EA6F-4C27-9F0C-DCB477D6065A}" dt="2021-07-12T08:05:54.876" v="23" actId="20577"/>
          <ac:spMkLst>
            <pc:docMk/>
            <pc:sldMk cId="302263831" sldId="9048"/>
            <ac:spMk id="15" creationId="{2B44DC9A-1DE4-4B24-8493-D9073A6B5DAE}"/>
          </ac:spMkLst>
        </pc:spChg>
        <pc:spChg chg="mod">
          <ac:chgData name="Swarna, Padmini" userId="S::padswarna@deloitte.com::03b348e6-46b3-471e-9507-2b8a34198287" providerId="AD" clId="Web-{C882BBB8-EA6F-4C27-9F0C-DCB477D6065A}" dt="2021-07-12T08:05:45.939" v="21" actId="20577"/>
          <ac:spMkLst>
            <pc:docMk/>
            <pc:sldMk cId="302263831" sldId="9048"/>
            <ac:spMk id="17" creationId="{3FAEEAA9-008B-43F6-BAE2-39F36A6706FE}"/>
          </ac:spMkLst>
        </pc:spChg>
      </pc:sldChg>
    </pc:docChg>
  </pc:docChgLst>
  <pc:docChgLst>
    <pc:chgData name="Jackman, Lauren" userId="ef96ab20-fb12-476c-a3e0-14bd051fc290" providerId="ADAL" clId="{81D0A7F5-77DD-4C36-8BC8-7BD57EDE41F4}"/>
    <pc:docChg chg="undo custSel addSld delSld modSld modSection modNotesMaster modHandout">
      <pc:chgData name="Jackman, Lauren" userId="ef96ab20-fb12-476c-a3e0-14bd051fc290" providerId="ADAL" clId="{81D0A7F5-77DD-4C36-8BC8-7BD57EDE41F4}" dt="2021-01-05T17:37:42.688" v="5003" actId="6549"/>
      <pc:docMkLst>
        <pc:docMk/>
      </pc:docMkLst>
      <pc:sldChg chg="modNotes">
        <pc:chgData name="Jackman, Lauren" userId="ef96ab20-fb12-476c-a3e0-14bd051fc290" providerId="ADAL" clId="{81D0A7F5-77DD-4C36-8BC8-7BD57EDE41F4}" dt="2021-01-05T17:37:08.530" v="5001"/>
        <pc:sldMkLst>
          <pc:docMk/>
          <pc:sldMk cId="3661564267" sldId="257"/>
        </pc:sldMkLst>
      </pc:sldChg>
      <pc:sldChg chg="del">
        <pc:chgData name="Jackman, Lauren" userId="ef96ab20-fb12-476c-a3e0-14bd051fc290" providerId="ADAL" clId="{81D0A7F5-77DD-4C36-8BC8-7BD57EDE41F4}" dt="2020-11-17T20:22:44.756" v="3335" actId="2696"/>
        <pc:sldMkLst>
          <pc:docMk/>
          <pc:sldMk cId="1693148657" sldId="267"/>
        </pc:sldMkLst>
      </pc:sldChg>
      <pc:sldChg chg="del">
        <pc:chgData name="Jackman, Lauren" userId="ef96ab20-fb12-476c-a3e0-14bd051fc290" providerId="ADAL" clId="{81D0A7F5-77DD-4C36-8BC8-7BD57EDE41F4}" dt="2020-11-17T20:22:44.769" v="3336" actId="2696"/>
        <pc:sldMkLst>
          <pc:docMk/>
          <pc:sldMk cId="568091670" sldId="268"/>
        </pc:sldMkLst>
      </pc:sldChg>
      <pc:sldChg chg="del">
        <pc:chgData name="Jackman, Lauren" userId="ef96ab20-fb12-476c-a3e0-14bd051fc290" providerId="ADAL" clId="{81D0A7F5-77DD-4C36-8BC8-7BD57EDE41F4}" dt="2020-11-17T20:22:44.783" v="3337" actId="2696"/>
        <pc:sldMkLst>
          <pc:docMk/>
          <pc:sldMk cId="752202512" sldId="269"/>
        </pc:sldMkLst>
      </pc:sldChg>
      <pc:sldChg chg="del">
        <pc:chgData name="Jackman, Lauren" userId="ef96ab20-fb12-476c-a3e0-14bd051fc290" providerId="ADAL" clId="{81D0A7F5-77DD-4C36-8BC8-7BD57EDE41F4}" dt="2020-11-17T20:22:44.798" v="3338" actId="2696"/>
        <pc:sldMkLst>
          <pc:docMk/>
          <pc:sldMk cId="3392328025" sldId="270"/>
        </pc:sldMkLst>
      </pc:sldChg>
      <pc:sldChg chg="addSp modSp">
        <pc:chgData name="Jackman, Lauren" userId="ef96ab20-fb12-476c-a3e0-14bd051fc290" providerId="ADAL" clId="{81D0A7F5-77DD-4C36-8BC8-7BD57EDE41F4}" dt="2020-12-04T16:12:42.923" v="4997" actId="20577"/>
        <pc:sldMkLst>
          <pc:docMk/>
          <pc:sldMk cId="2803360750" sldId="271"/>
        </pc:sldMkLst>
        <pc:spChg chg="add mod">
          <ac:chgData name="Jackman, Lauren" userId="ef96ab20-fb12-476c-a3e0-14bd051fc290" providerId="ADAL" clId="{81D0A7F5-77DD-4C36-8BC8-7BD57EDE41F4}" dt="2020-12-04T16:12:42.923" v="4997" actId="20577"/>
          <ac:spMkLst>
            <pc:docMk/>
            <pc:sldMk cId="2803360750" sldId="271"/>
            <ac:spMk id="6" creationId="{0D9C8DFE-565A-4AC2-A2DB-0D76025B469E}"/>
          </ac:spMkLst>
        </pc:spChg>
        <pc:picChg chg="add mod">
          <ac:chgData name="Jackman, Lauren" userId="ef96ab20-fb12-476c-a3e0-14bd051fc290" providerId="ADAL" clId="{81D0A7F5-77DD-4C36-8BC8-7BD57EDE41F4}" dt="2020-12-04T16:12:39.607" v="4995" actId="1076"/>
          <ac:picMkLst>
            <pc:docMk/>
            <pc:sldMk cId="2803360750" sldId="271"/>
            <ac:picMk id="5" creationId="{A0619E7B-9B3F-4EE1-B4C7-B6D9D59FFE1E}"/>
          </ac:picMkLst>
        </pc:picChg>
      </pc:sldChg>
      <pc:sldChg chg="modSp">
        <pc:chgData name="Jackman, Lauren" userId="ef96ab20-fb12-476c-a3e0-14bd051fc290" providerId="ADAL" clId="{81D0A7F5-77DD-4C36-8BC8-7BD57EDE41F4}" dt="2020-11-18T20:22:01.288" v="3805" actId="6549"/>
        <pc:sldMkLst>
          <pc:docMk/>
          <pc:sldMk cId="4043756019" sldId="773"/>
        </pc:sldMkLst>
        <pc:spChg chg="mod">
          <ac:chgData name="Jackman, Lauren" userId="ef96ab20-fb12-476c-a3e0-14bd051fc290" providerId="ADAL" clId="{81D0A7F5-77DD-4C36-8BC8-7BD57EDE41F4}" dt="2020-11-18T20:22:01.288" v="3805" actId="6549"/>
          <ac:spMkLst>
            <pc:docMk/>
            <pc:sldMk cId="4043756019" sldId="773"/>
            <ac:spMk id="3" creationId="{9C075216-13E6-4489-9986-CF27B18AF3ED}"/>
          </ac:spMkLst>
        </pc:spChg>
      </pc:sldChg>
      <pc:sldChg chg="addSp delSp modSp addCm modCm">
        <pc:chgData name="Jackman, Lauren" userId="ef96ab20-fb12-476c-a3e0-14bd051fc290" providerId="ADAL" clId="{81D0A7F5-77DD-4C36-8BC8-7BD57EDE41F4}" dt="2020-12-01T21:20:03.302" v="4800"/>
        <pc:sldMkLst>
          <pc:docMk/>
          <pc:sldMk cId="1978270760" sldId="1111"/>
        </pc:sldMkLst>
        <pc:spChg chg="del">
          <ac:chgData name="Jackman, Lauren" userId="ef96ab20-fb12-476c-a3e0-14bd051fc290" providerId="ADAL" clId="{81D0A7F5-77DD-4C36-8BC8-7BD57EDE41F4}" dt="2020-11-17T20:07:18.118" v="2965" actId="478"/>
          <ac:spMkLst>
            <pc:docMk/>
            <pc:sldMk cId="1978270760" sldId="1111"/>
            <ac:spMk id="2" creationId="{00000000-0000-0000-0000-000000000000}"/>
          </ac:spMkLst>
        </pc:spChg>
        <pc:spChg chg="mod">
          <ac:chgData name="Jackman, Lauren" userId="ef96ab20-fb12-476c-a3e0-14bd051fc290" providerId="ADAL" clId="{81D0A7F5-77DD-4C36-8BC8-7BD57EDE41F4}" dt="2020-11-17T20:08:23.348" v="2979" actId="1076"/>
          <ac:spMkLst>
            <pc:docMk/>
            <pc:sldMk cId="1978270760" sldId="1111"/>
            <ac:spMk id="3" creationId="{00000000-0000-0000-0000-000000000000}"/>
          </ac:spMkLst>
        </pc:spChg>
        <pc:spChg chg="mod">
          <ac:chgData name="Jackman, Lauren" userId="ef96ab20-fb12-476c-a3e0-14bd051fc290" providerId="ADAL" clId="{81D0A7F5-77DD-4C36-8BC8-7BD57EDE41F4}" dt="2020-12-01T21:18:49.905" v="4788" actId="207"/>
          <ac:spMkLst>
            <pc:docMk/>
            <pc:sldMk cId="1978270760" sldId="1111"/>
            <ac:spMk id="4" creationId="{F05AFE26-3FDE-40FA-BD03-7BE43CDC0154}"/>
          </ac:spMkLst>
        </pc:spChg>
        <pc:spChg chg="del mod">
          <ac:chgData name="Jackman, Lauren" userId="ef96ab20-fb12-476c-a3e0-14bd051fc290" providerId="ADAL" clId="{81D0A7F5-77DD-4C36-8BC8-7BD57EDE41F4}" dt="2020-11-17T20:07:14.682" v="2964" actId="478"/>
          <ac:spMkLst>
            <pc:docMk/>
            <pc:sldMk cId="1978270760" sldId="1111"/>
            <ac:spMk id="8" creationId="{DE2F1E47-71DF-40D9-BEE8-668CE2C0817D}"/>
          </ac:spMkLst>
        </pc:spChg>
        <pc:spChg chg="mod">
          <ac:chgData name="Jackman, Lauren" userId="ef96ab20-fb12-476c-a3e0-14bd051fc290" providerId="ADAL" clId="{81D0A7F5-77DD-4C36-8BC8-7BD57EDE41F4}" dt="2020-11-17T20:08:23.348" v="2979" actId="1076"/>
          <ac:spMkLst>
            <pc:docMk/>
            <pc:sldMk cId="1978270760" sldId="1111"/>
            <ac:spMk id="9" creationId="{00000000-0000-0000-0000-000000000000}"/>
          </ac:spMkLst>
        </pc:spChg>
        <pc:spChg chg="mod">
          <ac:chgData name="Jackman, Lauren" userId="ef96ab20-fb12-476c-a3e0-14bd051fc290" providerId="ADAL" clId="{81D0A7F5-77DD-4C36-8BC8-7BD57EDE41F4}" dt="2020-11-17T20:08:23.348" v="2979" actId="1076"/>
          <ac:spMkLst>
            <pc:docMk/>
            <pc:sldMk cId="1978270760" sldId="1111"/>
            <ac:spMk id="10" creationId="{00000000-0000-0000-0000-000000000000}"/>
          </ac:spMkLst>
        </pc:spChg>
        <pc:spChg chg="mod">
          <ac:chgData name="Jackman, Lauren" userId="ef96ab20-fb12-476c-a3e0-14bd051fc290" providerId="ADAL" clId="{81D0A7F5-77DD-4C36-8BC8-7BD57EDE41F4}" dt="2020-12-01T21:19:40.325" v="4798" actId="207"/>
          <ac:spMkLst>
            <pc:docMk/>
            <pc:sldMk cId="1978270760" sldId="1111"/>
            <ac:spMk id="12" creationId="{9F493675-EFCA-419F-BDC2-7998DCA24F3C}"/>
          </ac:spMkLst>
        </pc:spChg>
        <pc:spChg chg="mod">
          <ac:chgData name="Jackman, Lauren" userId="ef96ab20-fb12-476c-a3e0-14bd051fc290" providerId="ADAL" clId="{81D0A7F5-77DD-4C36-8BC8-7BD57EDE41F4}" dt="2020-11-17T20:08:23.348" v="2979" actId="1076"/>
          <ac:spMkLst>
            <pc:docMk/>
            <pc:sldMk cId="1978270760" sldId="1111"/>
            <ac:spMk id="14" creationId="{8B34F092-30CA-4F6D-884F-075EF9C90938}"/>
          </ac:spMkLst>
        </pc:spChg>
        <pc:spChg chg="mod">
          <ac:chgData name="Jackman, Lauren" userId="ef96ab20-fb12-476c-a3e0-14bd051fc290" providerId="ADAL" clId="{81D0A7F5-77DD-4C36-8BC8-7BD57EDE41F4}" dt="2020-11-17T20:08:23.348" v="2979" actId="1076"/>
          <ac:spMkLst>
            <pc:docMk/>
            <pc:sldMk cId="1978270760" sldId="1111"/>
            <ac:spMk id="16" creationId="{00000000-0000-0000-0000-000000000000}"/>
          </ac:spMkLst>
        </pc:spChg>
        <pc:spChg chg="mod">
          <ac:chgData name="Jackman, Lauren" userId="ef96ab20-fb12-476c-a3e0-14bd051fc290" providerId="ADAL" clId="{81D0A7F5-77DD-4C36-8BC8-7BD57EDE41F4}" dt="2020-11-17T20:08:23.348" v="2979" actId="1076"/>
          <ac:spMkLst>
            <pc:docMk/>
            <pc:sldMk cId="1978270760" sldId="1111"/>
            <ac:spMk id="21" creationId="{00000000-0000-0000-0000-000000000000}"/>
          </ac:spMkLst>
        </pc:spChg>
        <pc:spChg chg="mod">
          <ac:chgData name="Jackman, Lauren" userId="ef96ab20-fb12-476c-a3e0-14bd051fc290" providerId="ADAL" clId="{81D0A7F5-77DD-4C36-8BC8-7BD57EDE41F4}" dt="2020-11-17T20:08:23.348" v="2979" actId="1076"/>
          <ac:spMkLst>
            <pc:docMk/>
            <pc:sldMk cId="1978270760" sldId="1111"/>
            <ac:spMk id="22" creationId="{00000000-0000-0000-0000-000000000000}"/>
          </ac:spMkLst>
        </pc:spChg>
        <pc:spChg chg="mod">
          <ac:chgData name="Jackman, Lauren" userId="ef96ab20-fb12-476c-a3e0-14bd051fc290" providerId="ADAL" clId="{81D0A7F5-77DD-4C36-8BC8-7BD57EDE41F4}" dt="2020-11-17T20:08:23.348" v="2979" actId="1076"/>
          <ac:spMkLst>
            <pc:docMk/>
            <pc:sldMk cId="1978270760" sldId="1111"/>
            <ac:spMk id="24" creationId="{00000000-0000-0000-0000-000000000000}"/>
          </ac:spMkLst>
        </pc:spChg>
        <pc:spChg chg="mod">
          <ac:chgData name="Jackman, Lauren" userId="ef96ab20-fb12-476c-a3e0-14bd051fc290" providerId="ADAL" clId="{81D0A7F5-77DD-4C36-8BC8-7BD57EDE41F4}" dt="2020-11-17T20:08:23.348" v="2979" actId="1076"/>
          <ac:spMkLst>
            <pc:docMk/>
            <pc:sldMk cId="1978270760" sldId="1111"/>
            <ac:spMk id="30" creationId="{00000000-0000-0000-0000-000000000000}"/>
          </ac:spMkLst>
        </pc:spChg>
        <pc:spChg chg="del">
          <ac:chgData name="Jackman, Lauren" userId="ef96ab20-fb12-476c-a3e0-14bd051fc290" providerId="ADAL" clId="{81D0A7F5-77DD-4C36-8BC8-7BD57EDE41F4}" dt="2020-11-17T20:07:21.301" v="2966" actId="478"/>
          <ac:spMkLst>
            <pc:docMk/>
            <pc:sldMk cId="1978270760" sldId="1111"/>
            <ac:spMk id="32" creationId="{00000000-0000-0000-0000-000000000000}"/>
          </ac:spMkLst>
        </pc:spChg>
        <pc:spChg chg="mod">
          <ac:chgData name="Jackman, Lauren" userId="ef96ab20-fb12-476c-a3e0-14bd051fc290" providerId="ADAL" clId="{81D0A7F5-77DD-4C36-8BC8-7BD57EDE41F4}" dt="2020-11-17T20:08:23.348" v="2979" actId="1076"/>
          <ac:spMkLst>
            <pc:docMk/>
            <pc:sldMk cId="1978270760" sldId="1111"/>
            <ac:spMk id="43" creationId="{0AC3BA20-D8E1-477E-B053-A14ECEBD7AD3}"/>
          </ac:spMkLst>
        </pc:spChg>
        <pc:spChg chg="mod">
          <ac:chgData name="Jackman, Lauren" userId="ef96ab20-fb12-476c-a3e0-14bd051fc290" providerId="ADAL" clId="{81D0A7F5-77DD-4C36-8BC8-7BD57EDE41F4}" dt="2020-11-17T20:09:36.073" v="2993" actId="14100"/>
          <ac:spMkLst>
            <pc:docMk/>
            <pc:sldMk cId="1978270760" sldId="1111"/>
            <ac:spMk id="46" creationId="{41C854F4-7C58-4ECF-AD6E-C39E69BAD256}"/>
          </ac:spMkLst>
        </pc:spChg>
        <pc:spChg chg="del">
          <ac:chgData name="Jackman, Lauren" userId="ef96ab20-fb12-476c-a3e0-14bd051fc290" providerId="ADAL" clId="{81D0A7F5-77DD-4C36-8BC8-7BD57EDE41F4}" dt="2020-11-17T20:04:36.674" v="2931" actId="478"/>
          <ac:spMkLst>
            <pc:docMk/>
            <pc:sldMk cId="1978270760" sldId="1111"/>
            <ac:spMk id="48" creationId="{D3A55BFC-3989-41BD-9564-4ED1388067A3}"/>
          </ac:spMkLst>
        </pc:spChg>
        <pc:spChg chg="add mod">
          <ac:chgData name="Jackman, Lauren" userId="ef96ab20-fb12-476c-a3e0-14bd051fc290" providerId="ADAL" clId="{81D0A7F5-77DD-4C36-8BC8-7BD57EDE41F4}" dt="2020-12-01T21:19:16.612" v="4797" actId="1076"/>
          <ac:spMkLst>
            <pc:docMk/>
            <pc:sldMk cId="1978270760" sldId="1111"/>
            <ac:spMk id="48" creationId="{E5B5C9E8-BAE1-4FFC-B4B6-CA17B7D56CBF}"/>
          </ac:spMkLst>
        </pc:spChg>
        <pc:spChg chg="mod">
          <ac:chgData name="Jackman, Lauren" userId="ef96ab20-fb12-476c-a3e0-14bd051fc290" providerId="ADAL" clId="{81D0A7F5-77DD-4C36-8BC8-7BD57EDE41F4}" dt="2020-11-17T20:08:23.348" v="2979" actId="1076"/>
          <ac:spMkLst>
            <pc:docMk/>
            <pc:sldMk cId="1978270760" sldId="1111"/>
            <ac:spMk id="55" creationId="{A058B7AB-D810-4714-AD35-1F2566542B70}"/>
          </ac:spMkLst>
        </pc:spChg>
        <pc:spChg chg="mod">
          <ac:chgData name="Jackman, Lauren" userId="ef96ab20-fb12-476c-a3e0-14bd051fc290" providerId="ADAL" clId="{81D0A7F5-77DD-4C36-8BC8-7BD57EDE41F4}" dt="2020-11-17T20:08:23.348" v="2979" actId="1076"/>
          <ac:spMkLst>
            <pc:docMk/>
            <pc:sldMk cId="1978270760" sldId="1111"/>
            <ac:spMk id="57" creationId="{E824F274-BF2A-4CC4-9FCF-3034D3042D5A}"/>
          </ac:spMkLst>
        </pc:spChg>
        <pc:spChg chg="mod">
          <ac:chgData name="Jackman, Lauren" userId="ef96ab20-fb12-476c-a3e0-14bd051fc290" providerId="ADAL" clId="{81D0A7F5-77DD-4C36-8BC8-7BD57EDE41F4}" dt="2020-12-01T21:16:27.532" v="4780" actId="14100"/>
          <ac:spMkLst>
            <pc:docMk/>
            <pc:sldMk cId="1978270760" sldId="1111"/>
            <ac:spMk id="61" creationId="{88A0BF57-2E6E-4A28-B29C-492E98A85122}"/>
          </ac:spMkLst>
        </pc:spChg>
        <pc:spChg chg="mod">
          <ac:chgData name="Jackman, Lauren" userId="ef96ab20-fb12-476c-a3e0-14bd051fc290" providerId="ADAL" clId="{81D0A7F5-77DD-4C36-8BC8-7BD57EDE41F4}" dt="2020-11-17T20:08:23.348" v="2979" actId="1076"/>
          <ac:spMkLst>
            <pc:docMk/>
            <pc:sldMk cId="1978270760" sldId="1111"/>
            <ac:spMk id="62" creationId="{598156A1-B7DB-436C-811E-E1F9DD94265C}"/>
          </ac:spMkLst>
        </pc:spChg>
        <pc:spChg chg="add mod">
          <ac:chgData name="Jackman, Lauren" userId="ef96ab20-fb12-476c-a3e0-14bd051fc290" providerId="ADAL" clId="{81D0A7F5-77DD-4C36-8BC8-7BD57EDE41F4}" dt="2020-11-17T20:08:23.348" v="2979" actId="1076"/>
          <ac:spMkLst>
            <pc:docMk/>
            <pc:sldMk cId="1978270760" sldId="1111"/>
            <ac:spMk id="63" creationId="{220BBD43-F0D0-4EF3-889B-E13754B51E8F}"/>
          </ac:spMkLst>
        </pc:spChg>
        <pc:spChg chg="mod">
          <ac:chgData name="Jackman, Lauren" userId="ef96ab20-fb12-476c-a3e0-14bd051fc290" providerId="ADAL" clId="{81D0A7F5-77DD-4C36-8BC8-7BD57EDE41F4}" dt="2020-11-17T20:08:23.348" v="2979" actId="1076"/>
          <ac:spMkLst>
            <pc:docMk/>
            <pc:sldMk cId="1978270760" sldId="1111"/>
            <ac:spMk id="64" creationId="{332188C8-81E1-48D0-B3D1-9A2DA9D32D83}"/>
          </ac:spMkLst>
        </pc:spChg>
        <pc:spChg chg="add mod">
          <ac:chgData name="Jackman, Lauren" userId="ef96ab20-fb12-476c-a3e0-14bd051fc290" providerId="ADAL" clId="{81D0A7F5-77DD-4C36-8BC8-7BD57EDE41F4}" dt="2020-12-01T21:18:49.905" v="4788" actId="207"/>
          <ac:spMkLst>
            <pc:docMk/>
            <pc:sldMk cId="1978270760" sldId="1111"/>
            <ac:spMk id="65" creationId="{3C77B214-12EF-46B3-B5DA-8FCAA50E7808}"/>
          </ac:spMkLst>
        </pc:spChg>
        <pc:spChg chg="mod">
          <ac:chgData name="Jackman, Lauren" userId="ef96ab20-fb12-476c-a3e0-14bd051fc290" providerId="ADAL" clId="{81D0A7F5-77DD-4C36-8BC8-7BD57EDE41F4}" dt="2020-11-17T20:08:23.348" v="2979" actId="1076"/>
          <ac:spMkLst>
            <pc:docMk/>
            <pc:sldMk cId="1978270760" sldId="1111"/>
            <ac:spMk id="66" creationId="{D1CD1B17-7D40-48D4-A6A5-71D72B3B8165}"/>
          </ac:spMkLst>
        </pc:spChg>
        <pc:spChg chg="add mod">
          <ac:chgData name="Jackman, Lauren" userId="ef96ab20-fb12-476c-a3e0-14bd051fc290" providerId="ADAL" clId="{81D0A7F5-77DD-4C36-8BC8-7BD57EDE41F4}" dt="2020-12-01T21:18:49.905" v="4788" actId="207"/>
          <ac:spMkLst>
            <pc:docMk/>
            <pc:sldMk cId="1978270760" sldId="1111"/>
            <ac:spMk id="67" creationId="{2A6C298B-60E0-4651-B6B9-565E075B5D56}"/>
          </ac:spMkLst>
        </pc:spChg>
        <pc:spChg chg="mod">
          <ac:chgData name="Jackman, Lauren" userId="ef96ab20-fb12-476c-a3e0-14bd051fc290" providerId="ADAL" clId="{81D0A7F5-77DD-4C36-8BC8-7BD57EDE41F4}" dt="2020-12-01T21:18:49.905" v="4788" actId="207"/>
          <ac:spMkLst>
            <pc:docMk/>
            <pc:sldMk cId="1978270760" sldId="1111"/>
            <ac:spMk id="68" creationId="{98259EE2-C171-44C0-B62B-966132E46FF1}"/>
          </ac:spMkLst>
        </pc:spChg>
        <pc:spChg chg="add mod">
          <ac:chgData name="Jackman, Lauren" userId="ef96ab20-fb12-476c-a3e0-14bd051fc290" providerId="ADAL" clId="{81D0A7F5-77DD-4C36-8BC8-7BD57EDE41F4}" dt="2020-12-01T21:18:49.905" v="4788" actId="207"/>
          <ac:spMkLst>
            <pc:docMk/>
            <pc:sldMk cId="1978270760" sldId="1111"/>
            <ac:spMk id="69" creationId="{F538527F-8036-4C0F-AD99-BBEFB8FB145C}"/>
          </ac:spMkLst>
        </pc:spChg>
        <pc:spChg chg="add del mod">
          <ac:chgData name="Jackman, Lauren" userId="ef96ab20-fb12-476c-a3e0-14bd051fc290" providerId="ADAL" clId="{81D0A7F5-77DD-4C36-8BC8-7BD57EDE41F4}" dt="2020-12-01T21:14:41.860" v="4775" actId="478"/>
          <ac:spMkLst>
            <pc:docMk/>
            <pc:sldMk cId="1978270760" sldId="1111"/>
            <ac:spMk id="70" creationId="{C3CF6B61-7E3C-468B-AD32-234787FAF23D}"/>
          </ac:spMkLst>
        </pc:spChg>
        <pc:grpChg chg="mod">
          <ac:chgData name="Jackman, Lauren" userId="ef96ab20-fb12-476c-a3e0-14bd051fc290" providerId="ADAL" clId="{81D0A7F5-77DD-4C36-8BC8-7BD57EDE41F4}" dt="2020-11-17T20:08:23.348" v="2979" actId="1076"/>
          <ac:grpSpMkLst>
            <pc:docMk/>
            <pc:sldMk cId="1978270760" sldId="1111"/>
            <ac:grpSpMk id="6" creationId="{C767C9FA-4B99-437F-ACFA-39CDD9399C13}"/>
          </ac:grpSpMkLst>
        </pc:grpChg>
        <pc:grpChg chg="mod">
          <ac:chgData name="Jackman, Lauren" userId="ef96ab20-fb12-476c-a3e0-14bd051fc290" providerId="ADAL" clId="{81D0A7F5-77DD-4C36-8BC8-7BD57EDE41F4}" dt="2020-11-17T20:08:23.348" v="2979" actId="1076"/>
          <ac:grpSpMkLst>
            <pc:docMk/>
            <pc:sldMk cId="1978270760" sldId="1111"/>
            <ac:grpSpMk id="11" creationId="{B5D5DD68-EC97-4C93-8481-970B67C52E58}"/>
          </ac:grpSpMkLst>
        </pc:grpChg>
        <pc:grpChg chg="mod">
          <ac:chgData name="Jackman, Lauren" userId="ef96ab20-fb12-476c-a3e0-14bd051fc290" providerId="ADAL" clId="{81D0A7F5-77DD-4C36-8BC8-7BD57EDE41F4}" dt="2020-11-17T20:08:23.348" v="2979" actId="1076"/>
          <ac:grpSpMkLst>
            <pc:docMk/>
            <pc:sldMk cId="1978270760" sldId="1111"/>
            <ac:grpSpMk id="13" creationId="{F17B2B21-577E-49C4-8271-1BA61ACB511C}"/>
          </ac:grpSpMkLst>
        </pc:grpChg>
        <pc:grpChg chg="mod">
          <ac:chgData name="Jackman, Lauren" userId="ef96ab20-fb12-476c-a3e0-14bd051fc290" providerId="ADAL" clId="{81D0A7F5-77DD-4C36-8BC8-7BD57EDE41F4}" dt="2020-11-17T20:08:23.348" v="2979" actId="1076"/>
          <ac:grpSpMkLst>
            <pc:docMk/>
            <pc:sldMk cId="1978270760" sldId="1111"/>
            <ac:grpSpMk id="49" creationId="{3FBAA62F-3F09-4044-BB7F-D30590BAE799}"/>
          </ac:grpSpMkLst>
        </pc:grpChg>
        <pc:picChg chg="mod">
          <ac:chgData name="Jackman, Lauren" userId="ef96ab20-fb12-476c-a3e0-14bd051fc290" providerId="ADAL" clId="{81D0A7F5-77DD-4C36-8BC8-7BD57EDE41F4}" dt="2020-11-17T20:08:23.348" v="2979" actId="1076"/>
          <ac:picMkLst>
            <pc:docMk/>
            <pc:sldMk cId="1978270760" sldId="1111"/>
            <ac:picMk id="38" creationId="{00000000-0000-0000-0000-000000000000}"/>
          </ac:picMkLst>
        </pc:picChg>
      </pc:sldChg>
      <pc:sldChg chg="del">
        <pc:chgData name="Jackman, Lauren" userId="ef96ab20-fb12-476c-a3e0-14bd051fc290" providerId="ADAL" clId="{81D0A7F5-77DD-4C36-8BC8-7BD57EDE41F4}" dt="2020-11-17T20:11:19.311" v="3007" actId="2696"/>
        <pc:sldMkLst>
          <pc:docMk/>
          <pc:sldMk cId="544597034" sldId="2076"/>
        </pc:sldMkLst>
      </pc:sldChg>
      <pc:sldChg chg="modNotes">
        <pc:chgData name="Jackman, Lauren" userId="ef96ab20-fb12-476c-a3e0-14bd051fc290" providerId="ADAL" clId="{81D0A7F5-77DD-4C36-8BC8-7BD57EDE41F4}" dt="2021-01-05T17:37:08.530" v="5001"/>
        <pc:sldMkLst>
          <pc:docMk/>
          <pc:sldMk cId="2545999528" sldId="2078"/>
        </pc:sldMkLst>
      </pc:sldChg>
      <pc:sldChg chg="delSp modSp">
        <pc:chgData name="Jackman, Lauren" userId="ef96ab20-fb12-476c-a3e0-14bd051fc290" providerId="ADAL" clId="{81D0A7F5-77DD-4C36-8BC8-7BD57EDE41F4}" dt="2020-11-17T20:30:30.249" v="3648" actId="20577"/>
        <pc:sldMkLst>
          <pc:docMk/>
          <pc:sldMk cId="24609206" sldId="2104"/>
        </pc:sldMkLst>
        <pc:spChg chg="mod">
          <ac:chgData name="Jackman, Lauren" userId="ef96ab20-fb12-476c-a3e0-14bd051fc290" providerId="ADAL" clId="{81D0A7F5-77DD-4C36-8BC8-7BD57EDE41F4}" dt="2020-11-17T20:14:41.695" v="3058" actId="6549"/>
          <ac:spMkLst>
            <pc:docMk/>
            <pc:sldMk cId="24609206" sldId="2104"/>
            <ac:spMk id="3" creationId="{320F8995-C0FD-4107-AC83-E830FB6660E5}"/>
          </ac:spMkLst>
        </pc:spChg>
        <pc:spChg chg="del">
          <ac:chgData name="Jackman, Lauren" userId="ef96ab20-fb12-476c-a3e0-14bd051fc290" providerId="ADAL" clId="{81D0A7F5-77DD-4C36-8BC8-7BD57EDE41F4}" dt="2020-11-17T20:14:36.100" v="3057" actId="478"/>
          <ac:spMkLst>
            <pc:docMk/>
            <pc:sldMk cId="24609206" sldId="2104"/>
            <ac:spMk id="4" creationId="{5FCA9A8E-7E36-4C99-81C0-6509DED202D6}"/>
          </ac:spMkLst>
        </pc:spChg>
        <pc:spChg chg="mod">
          <ac:chgData name="Jackman, Lauren" userId="ef96ab20-fb12-476c-a3e0-14bd051fc290" providerId="ADAL" clId="{81D0A7F5-77DD-4C36-8BC8-7BD57EDE41F4}" dt="2020-11-17T20:30:30.249" v="3648" actId="20577"/>
          <ac:spMkLst>
            <pc:docMk/>
            <pc:sldMk cId="24609206" sldId="2104"/>
            <ac:spMk id="5" creationId="{5B812393-1D4C-44E5-88C8-52EB15B2AC90}"/>
          </ac:spMkLst>
        </pc:spChg>
      </pc:sldChg>
      <pc:sldChg chg="addSp delSp modSp">
        <pc:chgData name="Jackman, Lauren" userId="ef96ab20-fb12-476c-a3e0-14bd051fc290" providerId="ADAL" clId="{81D0A7F5-77DD-4C36-8BC8-7BD57EDE41F4}" dt="2020-11-18T20:23:50.915" v="3921" actId="478"/>
        <pc:sldMkLst>
          <pc:docMk/>
          <pc:sldMk cId="4209568569" sldId="4457"/>
        </pc:sldMkLst>
        <pc:spChg chg="mod">
          <ac:chgData name="Jackman, Lauren" userId="ef96ab20-fb12-476c-a3e0-14bd051fc290" providerId="ADAL" clId="{81D0A7F5-77DD-4C36-8BC8-7BD57EDE41F4}" dt="2020-11-18T20:22:44.273" v="3838" actId="20577"/>
          <ac:spMkLst>
            <pc:docMk/>
            <pc:sldMk cId="4209568569" sldId="4457"/>
            <ac:spMk id="3" creationId="{9C075216-13E6-4489-9986-CF27B18AF3ED}"/>
          </ac:spMkLst>
        </pc:spChg>
        <pc:spChg chg="add del mod">
          <ac:chgData name="Jackman, Lauren" userId="ef96ab20-fb12-476c-a3e0-14bd051fc290" providerId="ADAL" clId="{81D0A7F5-77DD-4C36-8BC8-7BD57EDE41F4}" dt="2020-11-18T20:23:50.915" v="3921" actId="478"/>
          <ac:spMkLst>
            <pc:docMk/>
            <pc:sldMk cId="4209568569" sldId="4457"/>
            <ac:spMk id="4" creationId="{7B628514-DE24-40C1-8ABF-B69526837D29}"/>
          </ac:spMkLst>
        </pc:spChg>
      </pc:sldChg>
      <pc:sldChg chg="modSp">
        <pc:chgData name="Jackman, Lauren" userId="ef96ab20-fb12-476c-a3e0-14bd051fc290" providerId="ADAL" clId="{81D0A7F5-77DD-4C36-8BC8-7BD57EDE41F4}" dt="2020-11-18T20:25:50.562" v="3933" actId="1076"/>
        <pc:sldMkLst>
          <pc:docMk/>
          <pc:sldMk cId="3837006809" sldId="4460"/>
        </pc:sldMkLst>
        <pc:spChg chg="mod">
          <ac:chgData name="Jackman, Lauren" userId="ef96ab20-fb12-476c-a3e0-14bd051fc290" providerId="ADAL" clId="{81D0A7F5-77DD-4C36-8BC8-7BD57EDE41F4}" dt="2020-11-18T20:24:20.344" v="3926" actId="20577"/>
          <ac:spMkLst>
            <pc:docMk/>
            <pc:sldMk cId="3837006809" sldId="4460"/>
            <ac:spMk id="3" creationId="{9C075216-13E6-4489-9986-CF27B18AF3ED}"/>
          </ac:spMkLst>
        </pc:spChg>
        <pc:spChg chg="mod">
          <ac:chgData name="Jackman, Lauren" userId="ef96ab20-fb12-476c-a3e0-14bd051fc290" providerId="ADAL" clId="{81D0A7F5-77DD-4C36-8BC8-7BD57EDE41F4}" dt="2020-11-18T20:25:47.306" v="3932" actId="1076"/>
          <ac:spMkLst>
            <pc:docMk/>
            <pc:sldMk cId="3837006809" sldId="4460"/>
            <ac:spMk id="5" creationId="{12913DD4-BACB-4A71-B238-4C61857CAFA9}"/>
          </ac:spMkLst>
        </pc:spChg>
        <pc:spChg chg="mod">
          <ac:chgData name="Jackman, Lauren" userId="ef96ab20-fb12-476c-a3e0-14bd051fc290" providerId="ADAL" clId="{81D0A7F5-77DD-4C36-8BC8-7BD57EDE41F4}" dt="2020-11-18T20:25:47.306" v="3932" actId="1076"/>
          <ac:spMkLst>
            <pc:docMk/>
            <pc:sldMk cId="3837006809" sldId="4460"/>
            <ac:spMk id="6" creationId="{C58E6AAD-877D-4F4E-A31F-075259DFD6D2}"/>
          </ac:spMkLst>
        </pc:spChg>
        <pc:spChg chg="mod">
          <ac:chgData name="Jackman, Lauren" userId="ef96ab20-fb12-476c-a3e0-14bd051fc290" providerId="ADAL" clId="{81D0A7F5-77DD-4C36-8BC8-7BD57EDE41F4}" dt="2020-11-18T20:25:47.306" v="3932" actId="1076"/>
          <ac:spMkLst>
            <pc:docMk/>
            <pc:sldMk cId="3837006809" sldId="4460"/>
            <ac:spMk id="7" creationId="{8D8EA3AC-3D8D-414B-85C7-FBB54976A624}"/>
          </ac:spMkLst>
        </pc:spChg>
        <pc:spChg chg="mod">
          <ac:chgData name="Jackman, Lauren" userId="ef96ab20-fb12-476c-a3e0-14bd051fc290" providerId="ADAL" clId="{81D0A7F5-77DD-4C36-8BC8-7BD57EDE41F4}" dt="2020-11-18T20:25:50.562" v="3933" actId="1076"/>
          <ac:spMkLst>
            <pc:docMk/>
            <pc:sldMk cId="3837006809" sldId="4460"/>
            <ac:spMk id="42" creationId="{12B0BADD-DD85-4EA7-B704-22E24D03D1C9}"/>
          </ac:spMkLst>
        </pc:spChg>
        <pc:spChg chg="mod">
          <ac:chgData name="Jackman, Lauren" userId="ef96ab20-fb12-476c-a3e0-14bd051fc290" providerId="ADAL" clId="{81D0A7F5-77DD-4C36-8BC8-7BD57EDE41F4}" dt="2020-11-18T20:25:47.306" v="3932" actId="1076"/>
          <ac:spMkLst>
            <pc:docMk/>
            <pc:sldMk cId="3837006809" sldId="4460"/>
            <ac:spMk id="58" creationId="{ECF2B1BC-DCA4-4A89-B88D-D948E34FBDB8}"/>
          </ac:spMkLst>
        </pc:spChg>
        <pc:grpChg chg="mod">
          <ac:chgData name="Jackman, Lauren" userId="ef96ab20-fb12-476c-a3e0-14bd051fc290" providerId="ADAL" clId="{81D0A7F5-77DD-4C36-8BC8-7BD57EDE41F4}" dt="2020-11-18T20:25:47.306" v="3932" actId="1076"/>
          <ac:grpSpMkLst>
            <pc:docMk/>
            <pc:sldMk cId="3837006809" sldId="4460"/>
            <ac:grpSpMk id="28" creationId="{FF13283C-CDA8-4356-9177-E5E451E4A5AF}"/>
          </ac:grpSpMkLst>
        </pc:grpChg>
        <pc:grpChg chg="mod">
          <ac:chgData name="Jackman, Lauren" userId="ef96ab20-fb12-476c-a3e0-14bd051fc290" providerId="ADAL" clId="{81D0A7F5-77DD-4C36-8BC8-7BD57EDE41F4}" dt="2020-11-18T20:25:47.306" v="3932" actId="1076"/>
          <ac:grpSpMkLst>
            <pc:docMk/>
            <pc:sldMk cId="3837006809" sldId="4460"/>
            <ac:grpSpMk id="32" creationId="{997A973A-051D-4BB3-A3A9-E214CC593CF1}"/>
          </ac:grpSpMkLst>
        </pc:grpChg>
        <pc:grpChg chg="mod">
          <ac:chgData name="Jackman, Lauren" userId="ef96ab20-fb12-476c-a3e0-14bd051fc290" providerId="ADAL" clId="{81D0A7F5-77DD-4C36-8BC8-7BD57EDE41F4}" dt="2020-11-18T20:25:47.306" v="3932" actId="1076"/>
          <ac:grpSpMkLst>
            <pc:docMk/>
            <pc:sldMk cId="3837006809" sldId="4460"/>
            <ac:grpSpMk id="36" creationId="{9FDFA656-017B-4D9E-AA10-7231AEFB9331}"/>
          </ac:grpSpMkLst>
        </pc:grpChg>
        <pc:grpChg chg="mod">
          <ac:chgData name="Jackman, Lauren" userId="ef96ab20-fb12-476c-a3e0-14bd051fc290" providerId="ADAL" clId="{81D0A7F5-77DD-4C36-8BC8-7BD57EDE41F4}" dt="2020-11-18T20:25:47.306" v="3932" actId="1076"/>
          <ac:grpSpMkLst>
            <pc:docMk/>
            <pc:sldMk cId="3837006809" sldId="4460"/>
            <ac:grpSpMk id="59" creationId="{F5BBF4D9-66AF-4A94-8F67-89EAA7238135}"/>
          </ac:grpSpMkLst>
        </pc:grpChg>
      </pc:sldChg>
      <pc:sldChg chg="modSp">
        <pc:chgData name="Jackman, Lauren" userId="ef96ab20-fb12-476c-a3e0-14bd051fc290" providerId="ADAL" clId="{81D0A7F5-77DD-4C36-8BC8-7BD57EDE41F4}" dt="2020-11-18T20:22:26.950" v="3833" actId="14100"/>
        <pc:sldMkLst>
          <pc:docMk/>
          <pc:sldMk cId="2825250598" sldId="4466"/>
        </pc:sldMkLst>
        <pc:spChg chg="mod">
          <ac:chgData name="Jackman, Lauren" userId="ef96ab20-fb12-476c-a3e0-14bd051fc290" providerId="ADAL" clId="{81D0A7F5-77DD-4C36-8BC8-7BD57EDE41F4}" dt="2020-11-18T20:22:26.950" v="3833" actId="14100"/>
          <ac:spMkLst>
            <pc:docMk/>
            <pc:sldMk cId="2825250598" sldId="4466"/>
            <ac:spMk id="3" creationId="{9C075216-13E6-4489-9986-CF27B18AF3ED}"/>
          </ac:spMkLst>
        </pc:spChg>
      </pc:sldChg>
      <pc:sldChg chg="modSp">
        <pc:chgData name="Jackman, Lauren" userId="ef96ab20-fb12-476c-a3e0-14bd051fc290" providerId="ADAL" clId="{81D0A7F5-77DD-4C36-8BC8-7BD57EDE41F4}" dt="2020-11-18T20:22:35.903" v="3834" actId="6549"/>
        <pc:sldMkLst>
          <pc:docMk/>
          <pc:sldMk cId="1657039186" sldId="4468"/>
        </pc:sldMkLst>
        <pc:spChg chg="mod">
          <ac:chgData name="Jackman, Lauren" userId="ef96ab20-fb12-476c-a3e0-14bd051fc290" providerId="ADAL" clId="{81D0A7F5-77DD-4C36-8BC8-7BD57EDE41F4}" dt="2020-11-18T20:22:35.903" v="3834" actId="6549"/>
          <ac:spMkLst>
            <pc:docMk/>
            <pc:sldMk cId="1657039186" sldId="4468"/>
            <ac:spMk id="5" creationId="{BD17D1CF-D329-4C7D-BE1D-A66802D81EBD}"/>
          </ac:spMkLst>
        </pc:spChg>
      </pc:sldChg>
      <pc:sldChg chg="modNotes">
        <pc:chgData name="Jackman, Lauren" userId="ef96ab20-fb12-476c-a3e0-14bd051fc290" providerId="ADAL" clId="{81D0A7F5-77DD-4C36-8BC8-7BD57EDE41F4}" dt="2021-01-05T17:37:08.530" v="5001"/>
        <pc:sldMkLst>
          <pc:docMk/>
          <pc:sldMk cId="1369081146" sldId="8773"/>
        </pc:sldMkLst>
      </pc:sldChg>
      <pc:sldChg chg="modNotes">
        <pc:chgData name="Jackman, Lauren" userId="ef96ab20-fb12-476c-a3e0-14bd051fc290" providerId="ADAL" clId="{81D0A7F5-77DD-4C36-8BC8-7BD57EDE41F4}" dt="2021-01-05T17:37:08.530" v="5001"/>
        <pc:sldMkLst>
          <pc:docMk/>
          <pc:sldMk cId="1039189330" sldId="8774"/>
        </pc:sldMkLst>
      </pc:sldChg>
      <pc:sldChg chg="modNotes">
        <pc:chgData name="Jackman, Lauren" userId="ef96ab20-fb12-476c-a3e0-14bd051fc290" providerId="ADAL" clId="{81D0A7F5-77DD-4C36-8BC8-7BD57EDE41F4}" dt="2021-01-05T17:37:08.530" v="5001"/>
        <pc:sldMkLst>
          <pc:docMk/>
          <pc:sldMk cId="2407685793" sldId="8775"/>
        </pc:sldMkLst>
      </pc:sldChg>
      <pc:sldChg chg="modSp">
        <pc:chgData name="Jackman, Lauren" userId="ef96ab20-fb12-476c-a3e0-14bd051fc290" providerId="ADAL" clId="{81D0A7F5-77DD-4C36-8BC8-7BD57EDE41F4}" dt="2021-01-05T17:37:42.688" v="5003" actId="6549"/>
        <pc:sldMkLst>
          <pc:docMk/>
          <pc:sldMk cId="2506138062" sldId="8782"/>
        </pc:sldMkLst>
        <pc:spChg chg="mod">
          <ac:chgData name="Jackman, Lauren" userId="ef96ab20-fb12-476c-a3e0-14bd051fc290" providerId="ADAL" clId="{81D0A7F5-77DD-4C36-8BC8-7BD57EDE41F4}" dt="2021-01-05T17:37:42.688" v="5003" actId="6549"/>
          <ac:spMkLst>
            <pc:docMk/>
            <pc:sldMk cId="2506138062" sldId="8782"/>
            <ac:spMk id="4" creationId="{3FAEEAA9-008B-43F6-BAE2-39F36A6706FE}"/>
          </ac:spMkLst>
        </pc:spChg>
      </pc:sldChg>
      <pc:sldChg chg="modSp">
        <pc:chgData name="Jackman, Lauren" userId="ef96ab20-fb12-476c-a3e0-14bd051fc290" providerId="ADAL" clId="{81D0A7F5-77DD-4C36-8BC8-7BD57EDE41F4}" dt="2020-11-17T20:32:46.318" v="3716" actId="20577"/>
        <pc:sldMkLst>
          <pc:docMk/>
          <pc:sldMk cId="3491360341" sldId="8786"/>
        </pc:sldMkLst>
        <pc:graphicFrameChg chg="modGraphic">
          <ac:chgData name="Jackman, Lauren" userId="ef96ab20-fb12-476c-a3e0-14bd051fc290" providerId="ADAL" clId="{81D0A7F5-77DD-4C36-8BC8-7BD57EDE41F4}" dt="2020-11-17T20:32:46.318" v="3716" actId="20577"/>
          <ac:graphicFrameMkLst>
            <pc:docMk/>
            <pc:sldMk cId="3491360341" sldId="8786"/>
            <ac:graphicFrameMk id="4" creationId="{FE664A44-2B52-48E1-842B-86373307A2AD}"/>
          </ac:graphicFrameMkLst>
        </pc:graphicFrameChg>
      </pc:sldChg>
      <pc:sldChg chg="addSp delSp modSp">
        <pc:chgData name="Jackman, Lauren" userId="ef96ab20-fb12-476c-a3e0-14bd051fc290" providerId="ADAL" clId="{81D0A7F5-77DD-4C36-8BC8-7BD57EDE41F4}" dt="2020-12-02T13:03:38.392" v="4904" actId="1076"/>
        <pc:sldMkLst>
          <pc:docMk/>
          <pc:sldMk cId="800771401" sldId="8787"/>
        </pc:sldMkLst>
        <pc:spChg chg="del">
          <ac:chgData name="Jackman, Lauren" userId="ef96ab20-fb12-476c-a3e0-14bd051fc290" providerId="ADAL" clId="{81D0A7F5-77DD-4C36-8BC8-7BD57EDE41F4}" dt="2020-11-17T19:03:51.315" v="787" actId="478"/>
          <ac:spMkLst>
            <pc:docMk/>
            <pc:sldMk cId="800771401" sldId="8787"/>
            <ac:spMk id="3" creationId="{D00ADCEF-C718-4455-9BA3-D6DCD6B8A69F}"/>
          </ac:spMkLst>
        </pc:spChg>
        <pc:spChg chg="add mod">
          <ac:chgData name="Jackman, Lauren" userId="ef96ab20-fb12-476c-a3e0-14bd051fc290" providerId="ADAL" clId="{81D0A7F5-77DD-4C36-8BC8-7BD57EDE41F4}" dt="2020-12-02T13:03:38.392" v="4904" actId="1076"/>
          <ac:spMkLst>
            <pc:docMk/>
            <pc:sldMk cId="800771401" sldId="8787"/>
            <ac:spMk id="3" creationId="{FFABBAB9-CC61-4ED8-993B-18853E07F827}"/>
          </ac:spMkLst>
        </pc:spChg>
        <pc:spChg chg="del">
          <ac:chgData name="Jackman, Lauren" userId="ef96ab20-fb12-476c-a3e0-14bd051fc290" providerId="ADAL" clId="{81D0A7F5-77DD-4C36-8BC8-7BD57EDE41F4}" dt="2020-11-17T19:03:48.282" v="786" actId="478"/>
          <ac:spMkLst>
            <pc:docMk/>
            <pc:sldMk cId="800771401" sldId="8787"/>
            <ac:spMk id="6" creationId="{4B0B1B92-605E-4ED0-882C-B0659B1AD09A}"/>
          </ac:spMkLst>
        </pc:spChg>
        <pc:spChg chg="del">
          <ac:chgData name="Jackman, Lauren" userId="ef96ab20-fb12-476c-a3e0-14bd051fc290" providerId="ADAL" clId="{81D0A7F5-77DD-4C36-8BC8-7BD57EDE41F4}" dt="2020-11-17T18:51:38.947" v="31" actId="478"/>
          <ac:spMkLst>
            <pc:docMk/>
            <pc:sldMk cId="800771401" sldId="8787"/>
            <ac:spMk id="7" creationId="{0BF6F997-4D8A-4F11-822E-4A65D6AD7B48}"/>
          </ac:spMkLst>
        </pc:spChg>
        <pc:graphicFrameChg chg="mod modGraphic">
          <ac:chgData name="Jackman, Lauren" userId="ef96ab20-fb12-476c-a3e0-14bd051fc290" providerId="ADAL" clId="{81D0A7F5-77DD-4C36-8BC8-7BD57EDE41F4}" dt="2020-12-02T13:03:13.757" v="4885" actId="207"/>
          <ac:graphicFrameMkLst>
            <pc:docMk/>
            <pc:sldMk cId="800771401" sldId="8787"/>
            <ac:graphicFrameMk id="2" creationId="{9FBD2273-D8F8-4BC6-9989-AE46BDA26063}"/>
          </ac:graphicFrameMkLst>
        </pc:graphicFrameChg>
      </pc:sldChg>
      <pc:sldChg chg="del">
        <pc:chgData name="Jackman, Lauren" userId="ef96ab20-fb12-476c-a3e0-14bd051fc290" providerId="ADAL" clId="{81D0A7F5-77DD-4C36-8BC8-7BD57EDE41F4}" dt="2020-11-17T19:17:50.733" v="1839" actId="2696"/>
        <pc:sldMkLst>
          <pc:docMk/>
          <pc:sldMk cId="2745656098" sldId="8807"/>
        </pc:sldMkLst>
      </pc:sldChg>
      <pc:sldChg chg="modNotes">
        <pc:chgData name="Jackman, Lauren" userId="ef96ab20-fb12-476c-a3e0-14bd051fc290" providerId="ADAL" clId="{81D0A7F5-77DD-4C36-8BC8-7BD57EDE41F4}" dt="2021-01-05T17:37:08.530" v="5001"/>
        <pc:sldMkLst>
          <pc:docMk/>
          <pc:sldMk cId="2697511235" sldId="8817"/>
        </pc:sldMkLst>
      </pc:sldChg>
      <pc:sldChg chg="modSp modNotes">
        <pc:chgData name="Jackman, Lauren" userId="ef96ab20-fb12-476c-a3e0-14bd051fc290" providerId="ADAL" clId="{81D0A7F5-77DD-4C36-8BC8-7BD57EDE41F4}" dt="2021-01-05T17:37:08.530" v="5001"/>
        <pc:sldMkLst>
          <pc:docMk/>
          <pc:sldMk cId="3260017691" sldId="8819"/>
        </pc:sldMkLst>
        <pc:spChg chg="mod">
          <ac:chgData name="Jackman, Lauren" userId="ef96ab20-fb12-476c-a3e0-14bd051fc290" providerId="ADAL" clId="{81D0A7F5-77DD-4C36-8BC8-7BD57EDE41F4}" dt="2020-11-17T20:12:42.718" v="3056" actId="20577"/>
          <ac:spMkLst>
            <pc:docMk/>
            <pc:sldMk cId="3260017691" sldId="8819"/>
            <ac:spMk id="4" creationId="{00000000-0000-0000-0000-000000000000}"/>
          </ac:spMkLst>
        </pc:spChg>
      </pc:sldChg>
      <pc:sldChg chg="modSp modNotes">
        <pc:chgData name="Jackman, Lauren" userId="ef96ab20-fb12-476c-a3e0-14bd051fc290" providerId="ADAL" clId="{81D0A7F5-77DD-4C36-8BC8-7BD57EDE41F4}" dt="2021-01-05T17:37:08.530" v="5001"/>
        <pc:sldMkLst>
          <pc:docMk/>
          <pc:sldMk cId="27039556" sldId="8820"/>
        </pc:sldMkLst>
        <pc:spChg chg="mod">
          <ac:chgData name="Jackman, Lauren" userId="ef96ab20-fb12-476c-a3e0-14bd051fc290" providerId="ADAL" clId="{81D0A7F5-77DD-4C36-8BC8-7BD57EDE41F4}" dt="2020-11-17T20:12:22.670" v="3051" actId="20577"/>
          <ac:spMkLst>
            <pc:docMk/>
            <pc:sldMk cId="27039556" sldId="8820"/>
            <ac:spMk id="7" creationId="{5817664F-7DC8-47E5-B7B9-14F4F2B2E734}"/>
          </ac:spMkLst>
        </pc:spChg>
        <pc:picChg chg="mod">
          <ac:chgData name="Jackman, Lauren" userId="ef96ab20-fb12-476c-a3e0-14bd051fc290" providerId="ADAL" clId="{81D0A7F5-77DD-4C36-8BC8-7BD57EDE41F4}" dt="2020-11-17T20:11:54.891" v="3047" actId="14100"/>
          <ac:picMkLst>
            <pc:docMk/>
            <pc:sldMk cId="27039556" sldId="8820"/>
            <ac:picMk id="5" creationId="{B065F961-9C65-4EEA-85D5-88F17CDAF38E}"/>
          </ac:picMkLst>
        </pc:picChg>
      </pc:sldChg>
      <pc:sldChg chg="modNotes">
        <pc:chgData name="Jackman, Lauren" userId="ef96ab20-fb12-476c-a3e0-14bd051fc290" providerId="ADAL" clId="{81D0A7F5-77DD-4C36-8BC8-7BD57EDE41F4}" dt="2021-01-05T17:37:08.530" v="5001"/>
        <pc:sldMkLst>
          <pc:docMk/>
          <pc:sldMk cId="4282166107" sldId="8821"/>
        </pc:sldMkLst>
      </pc:sldChg>
      <pc:sldChg chg="modNotes">
        <pc:chgData name="Jackman, Lauren" userId="ef96ab20-fb12-476c-a3e0-14bd051fc290" providerId="ADAL" clId="{81D0A7F5-77DD-4C36-8BC8-7BD57EDE41F4}" dt="2021-01-05T17:37:08.530" v="5001"/>
        <pc:sldMkLst>
          <pc:docMk/>
          <pc:sldMk cId="960965317" sldId="8822"/>
        </pc:sldMkLst>
      </pc:sldChg>
      <pc:sldChg chg="modNotes">
        <pc:chgData name="Jackman, Lauren" userId="ef96ab20-fb12-476c-a3e0-14bd051fc290" providerId="ADAL" clId="{81D0A7F5-77DD-4C36-8BC8-7BD57EDE41F4}" dt="2021-01-05T17:37:08.530" v="5001"/>
        <pc:sldMkLst>
          <pc:docMk/>
          <pc:sldMk cId="2663242362" sldId="8823"/>
        </pc:sldMkLst>
      </pc:sldChg>
      <pc:sldChg chg="modSp modNotes">
        <pc:chgData name="Jackman, Lauren" userId="ef96ab20-fb12-476c-a3e0-14bd051fc290" providerId="ADAL" clId="{81D0A7F5-77DD-4C36-8BC8-7BD57EDE41F4}" dt="2021-01-05T17:37:08.530" v="5001"/>
        <pc:sldMkLst>
          <pc:docMk/>
          <pc:sldMk cId="1442298801" sldId="8824"/>
        </pc:sldMkLst>
        <pc:spChg chg="mod">
          <ac:chgData name="Jackman, Lauren" userId="ef96ab20-fb12-476c-a3e0-14bd051fc290" providerId="ADAL" clId="{81D0A7F5-77DD-4C36-8BC8-7BD57EDE41F4}" dt="2020-11-17T20:31:12.383" v="3686" actId="14100"/>
          <ac:spMkLst>
            <pc:docMk/>
            <pc:sldMk cId="1442298801" sldId="8824"/>
            <ac:spMk id="4" creationId="{7A9DFF01-0B03-48E4-B42D-F011C5ECF119}"/>
          </ac:spMkLst>
        </pc:spChg>
      </pc:sldChg>
      <pc:sldChg chg="modNotes">
        <pc:chgData name="Jackman, Lauren" userId="ef96ab20-fb12-476c-a3e0-14bd051fc290" providerId="ADAL" clId="{81D0A7F5-77DD-4C36-8BC8-7BD57EDE41F4}" dt="2021-01-05T17:37:08.530" v="5001"/>
        <pc:sldMkLst>
          <pc:docMk/>
          <pc:sldMk cId="4292778138" sldId="8826"/>
        </pc:sldMkLst>
      </pc:sldChg>
      <pc:sldChg chg="modNotes">
        <pc:chgData name="Jackman, Lauren" userId="ef96ab20-fb12-476c-a3e0-14bd051fc290" providerId="ADAL" clId="{81D0A7F5-77DD-4C36-8BC8-7BD57EDE41F4}" dt="2021-01-05T17:37:08.530" v="5001"/>
        <pc:sldMkLst>
          <pc:docMk/>
          <pc:sldMk cId="166141878" sldId="8834"/>
        </pc:sldMkLst>
      </pc:sldChg>
      <pc:sldChg chg="modSp">
        <pc:chgData name="Jackman, Lauren" userId="ef96ab20-fb12-476c-a3e0-14bd051fc290" providerId="ADAL" clId="{81D0A7F5-77DD-4C36-8BC8-7BD57EDE41F4}" dt="2020-11-18T20:17:17.275" v="3759" actId="20577"/>
        <pc:sldMkLst>
          <pc:docMk/>
          <pc:sldMk cId="208755446" sldId="8837"/>
        </pc:sldMkLst>
        <pc:spChg chg="mod">
          <ac:chgData name="Jackman, Lauren" userId="ef96ab20-fb12-476c-a3e0-14bd051fc290" providerId="ADAL" clId="{81D0A7F5-77DD-4C36-8BC8-7BD57EDE41F4}" dt="2020-11-18T20:17:17.275" v="3759" actId="20577"/>
          <ac:spMkLst>
            <pc:docMk/>
            <pc:sldMk cId="208755446" sldId="8837"/>
            <ac:spMk id="7" creationId="{6B5B980A-D249-4682-BD97-0E22696D8193}"/>
          </ac:spMkLst>
        </pc:spChg>
      </pc:sldChg>
      <pc:sldChg chg="addSp delSp">
        <pc:chgData name="Jackman, Lauren" userId="ef96ab20-fb12-476c-a3e0-14bd051fc290" providerId="ADAL" clId="{81D0A7F5-77DD-4C36-8BC8-7BD57EDE41F4}" dt="2020-11-18T20:18:02.724" v="3770"/>
        <pc:sldMkLst>
          <pc:docMk/>
          <pc:sldMk cId="3472853465" sldId="8838"/>
        </pc:sldMkLst>
        <pc:spChg chg="del">
          <ac:chgData name="Jackman, Lauren" userId="ef96ab20-fb12-476c-a3e0-14bd051fc290" providerId="ADAL" clId="{81D0A7F5-77DD-4C36-8BC8-7BD57EDE41F4}" dt="2020-11-18T20:18:02.284" v="3769" actId="478"/>
          <ac:spMkLst>
            <pc:docMk/>
            <pc:sldMk cId="3472853465" sldId="8838"/>
            <ac:spMk id="5" creationId="{8C46444C-8AAE-48D9-9FD7-E834F9D9A92D}"/>
          </ac:spMkLst>
        </pc:spChg>
        <pc:spChg chg="add">
          <ac:chgData name="Jackman, Lauren" userId="ef96ab20-fb12-476c-a3e0-14bd051fc290" providerId="ADAL" clId="{81D0A7F5-77DD-4C36-8BC8-7BD57EDE41F4}" dt="2020-11-18T20:18:02.724" v="3770"/>
          <ac:spMkLst>
            <pc:docMk/>
            <pc:sldMk cId="3472853465" sldId="8838"/>
            <ac:spMk id="6" creationId="{7F8CB397-C422-4E09-913D-3D2F9E65BAD9}"/>
          </ac:spMkLst>
        </pc:spChg>
      </pc:sldChg>
      <pc:sldChg chg="modSp del">
        <pc:chgData name="Jackman, Lauren" userId="ef96ab20-fb12-476c-a3e0-14bd051fc290" providerId="ADAL" clId="{81D0A7F5-77DD-4C36-8BC8-7BD57EDE41F4}" dt="2020-11-17T20:33:59.934" v="3743" actId="2696"/>
        <pc:sldMkLst>
          <pc:docMk/>
          <pc:sldMk cId="2296560862" sldId="8975"/>
        </pc:sldMkLst>
        <pc:spChg chg="mod">
          <ac:chgData name="Jackman, Lauren" userId="ef96ab20-fb12-476c-a3e0-14bd051fc290" providerId="ADAL" clId="{81D0A7F5-77DD-4C36-8BC8-7BD57EDE41F4}" dt="2020-11-17T20:33:48.315" v="3742" actId="20577"/>
          <ac:spMkLst>
            <pc:docMk/>
            <pc:sldMk cId="2296560862" sldId="8975"/>
            <ac:spMk id="4" creationId="{7EF24648-5440-4589-919F-861A0E74EBEE}"/>
          </ac:spMkLst>
        </pc:spChg>
      </pc:sldChg>
      <pc:sldChg chg="modNotes">
        <pc:chgData name="Jackman, Lauren" userId="ef96ab20-fb12-476c-a3e0-14bd051fc290" providerId="ADAL" clId="{81D0A7F5-77DD-4C36-8BC8-7BD57EDE41F4}" dt="2021-01-05T17:37:08.530" v="5001"/>
        <pc:sldMkLst>
          <pc:docMk/>
          <pc:sldMk cId="34444915" sldId="8985"/>
        </pc:sldMkLst>
      </pc:sldChg>
      <pc:sldChg chg="addSp delSp">
        <pc:chgData name="Jackman, Lauren" userId="ef96ab20-fb12-476c-a3e0-14bd051fc290" providerId="ADAL" clId="{81D0A7F5-77DD-4C36-8BC8-7BD57EDE41F4}" dt="2020-11-18T20:17:42.269" v="3765"/>
        <pc:sldMkLst>
          <pc:docMk/>
          <pc:sldMk cId="3148283714" sldId="8987"/>
        </pc:sldMkLst>
        <pc:spChg chg="del">
          <ac:chgData name="Jackman, Lauren" userId="ef96ab20-fb12-476c-a3e0-14bd051fc290" providerId="ADAL" clId="{81D0A7F5-77DD-4C36-8BC8-7BD57EDE41F4}" dt="2020-11-18T20:17:41.869" v="3764" actId="478"/>
          <ac:spMkLst>
            <pc:docMk/>
            <pc:sldMk cId="3148283714" sldId="8987"/>
            <ac:spMk id="5" creationId="{3888AD6F-A728-43A6-B967-26FFC8A344D4}"/>
          </ac:spMkLst>
        </pc:spChg>
        <pc:spChg chg="add">
          <ac:chgData name="Jackman, Lauren" userId="ef96ab20-fb12-476c-a3e0-14bd051fc290" providerId="ADAL" clId="{81D0A7F5-77DD-4C36-8BC8-7BD57EDE41F4}" dt="2020-11-18T20:17:42.269" v="3765"/>
          <ac:spMkLst>
            <pc:docMk/>
            <pc:sldMk cId="3148283714" sldId="8987"/>
            <ac:spMk id="6" creationId="{1C3B9623-E13A-4B2B-B2EF-D2C05FC325F8}"/>
          </ac:spMkLst>
        </pc:spChg>
      </pc:sldChg>
      <pc:sldChg chg="addSp delSp modSp">
        <pc:chgData name="Jackman, Lauren" userId="ef96ab20-fb12-476c-a3e0-14bd051fc290" providerId="ADAL" clId="{81D0A7F5-77DD-4C36-8BC8-7BD57EDE41F4}" dt="2020-12-02T13:04:22.475" v="4931" actId="207"/>
        <pc:sldMkLst>
          <pc:docMk/>
          <pc:sldMk cId="969028718" sldId="8990"/>
        </pc:sldMkLst>
        <pc:spChg chg="mod">
          <ac:chgData name="Jackman, Lauren" userId="ef96ab20-fb12-476c-a3e0-14bd051fc290" providerId="ADAL" clId="{81D0A7F5-77DD-4C36-8BC8-7BD57EDE41F4}" dt="2020-11-17T19:18:02.271" v="1841" actId="6549"/>
          <ac:spMkLst>
            <pc:docMk/>
            <pc:sldMk cId="969028718" sldId="8990"/>
            <ac:spMk id="4" creationId="{19788558-1A37-4579-A0FE-124E7635101E}"/>
          </ac:spMkLst>
        </pc:spChg>
        <pc:spChg chg="del">
          <ac:chgData name="Jackman, Lauren" userId="ef96ab20-fb12-476c-a3e0-14bd051fc290" providerId="ADAL" clId="{81D0A7F5-77DD-4C36-8BC8-7BD57EDE41F4}" dt="2020-12-02T13:03:53.170" v="4909" actId="478"/>
          <ac:spMkLst>
            <pc:docMk/>
            <pc:sldMk cId="969028718" sldId="8990"/>
            <ac:spMk id="5" creationId="{9B65C600-BA77-4A8A-AF50-1E0D1ECE8BB4}"/>
          </ac:spMkLst>
        </pc:spChg>
        <pc:spChg chg="del">
          <ac:chgData name="Jackman, Lauren" userId="ef96ab20-fb12-476c-a3e0-14bd051fc290" providerId="ADAL" clId="{81D0A7F5-77DD-4C36-8BC8-7BD57EDE41F4}" dt="2020-12-02T13:03:44.427" v="4905" actId="478"/>
          <ac:spMkLst>
            <pc:docMk/>
            <pc:sldMk cId="969028718" sldId="8990"/>
            <ac:spMk id="6" creationId="{DDD38DEE-46E9-405D-90AB-E6DCCC0508DE}"/>
          </ac:spMkLst>
        </pc:spChg>
        <pc:spChg chg="add mod">
          <ac:chgData name="Jackman, Lauren" userId="ef96ab20-fb12-476c-a3e0-14bd051fc290" providerId="ADAL" clId="{81D0A7F5-77DD-4C36-8BC8-7BD57EDE41F4}" dt="2020-12-02T13:03:55.941" v="4910" actId="1076"/>
          <ac:spMkLst>
            <pc:docMk/>
            <pc:sldMk cId="969028718" sldId="8990"/>
            <ac:spMk id="7" creationId="{D3CC2373-8FD9-460D-AD16-4C922C6E09CC}"/>
          </ac:spMkLst>
        </pc:spChg>
        <pc:spChg chg="del">
          <ac:chgData name="Jackman, Lauren" userId="ef96ab20-fb12-476c-a3e0-14bd051fc290" providerId="ADAL" clId="{81D0A7F5-77DD-4C36-8BC8-7BD57EDE41F4}" dt="2020-11-17T19:18:05.700" v="1842" actId="478"/>
          <ac:spMkLst>
            <pc:docMk/>
            <pc:sldMk cId="969028718" sldId="8990"/>
            <ac:spMk id="7" creationId="{EA050D05-CFF1-4F92-99D8-7B3512919529}"/>
          </ac:spMkLst>
        </pc:spChg>
        <pc:graphicFrameChg chg="mod modGraphic">
          <ac:chgData name="Jackman, Lauren" userId="ef96ab20-fb12-476c-a3e0-14bd051fc290" providerId="ADAL" clId="{81D0A7F5-77DD-4C36-8BC8-7BD57EDE41F4}" dt="2020-12-02T13:04:22.475" v="4931" actId="207"/>
          <ac:graphicFrameMkLst>
            <pc:docMk/>
            <pc:sldMk cId="969028718" sldId="8990"/>
            <ac:graphicFrameMk id="2" creationId="{9FBD2273-D8F8-4BC6-9989-AE46BDA26063}"/>
          </ac:graphicFrameMkLst>
        </pc:graphicFrameChg>
      </pc:sldChg>
      <pc:sldChg chg="addSp">
        <pc:chgData name="Jackman, Lauren" userId="ef96ab20-fb12-476c-a3e0-14bd051fc290" providerId="ADAL" clId="{81D0A7F5-77DD-4C36-8BC8-7BD57EDE41F4}" dt="2020-11-18T20:17:51.573" v="3766"/>
        <pc:sldMkLst>
          <pc:docMk/>
          <pc:sldMk cId="883180132" sldId="8992"/>
        </pc:sldMkLst>
        <pc:spChg chg="add">
          <ac:chgData name="Jackman, Lauren" userId="ef96ab20-fb12-476c-a3e0-14bd051fc290" providerId="ADAL" clId="{81D0A7F5-77DD-4C36-8BC8-7BD57EDE41F4}" dt="2020-11-18T20:17:51.573" v="3766"/>
          <ac:spMkLst>
            <pc:docMk/>
            <pc:sldMk cId="883180132" sldId="8992"/>
            <ac:spMk id="6" creationId="{B9E607AF-8EAE-412D-A440-0B4C36FF269A}"/>
          </ac:spMkLst>
        </pc:spChg>
      </pc:sldChg>
      <pc:sldChg chg="addSp delSp">
        <pc:chgData name="Jackman, Lauren" userId="ef96ab20-fb12-476c-a3e0-14bd051fc290" providerId="ADAL" clId="{81D0A7F5-77DD-4C36-8BC8-7BD57EDE41F4}" dt="2020-11-18T20:17:33.377" v="3761"/>
        <pc:sldMkLst>
          <pc:docMk/>
          <pc:sldMk cId="477347674" sldId="9000"/>
        </pc:sldMkLst>
        <pc:spChg chg="del">
          <ac:chgData name="Jackman, Lauren" userId="ef96ab20-fb12-476c-a3e0-14bd051fc290" providerId="ADAL" clId="{81D0A7F5-77DD-4C36-8BC8-7BD57EDE41F4}" dt="2020-11-18T20:17:32.922" v="3760" actId="478"/>
          <ac:spMkLst>
            <pc:docMk/>
            <pc:sldMk cId="477347674" sldId="9000"/>
            <ac:spMk id="5" creationId="{D893A6DA-F645-46BF-8ABB-2AA4C8D780D2}"/>
          </ac:spMkLst>
        </pc:spChg>
        <pc:spChg chg="add">
          <ac:chgData name="Jackman, Lauren" userId="ef96ab20-fb12-476c-a3e0-14bd051fc290" providerId="ADAL" clId="{81D0A7F5-77DD-4C36-8BC8-7BD57EDE41F4}" dt="2020-11-18T20:17:33.377" v="3761"/>
          <ac:spMkLst>
            <pc:docMk/>
            <pc:sldMk cId="477347674" sldId="9000"/>
            <ac:spMk id="7" creationId="{CC7A3EDD-FFAF-40FF-A468-A711A407E7C0}"/>
          </ac:spMkLst>
        </pc:spChg>
      </pc:sldChg>
      <pc:sldChg chg="addSp delSp">
        <pc:chgData name="Jackman, Lauren" userId="ef96ab20-fb12-476c-a3e0-14bd051fc290" providerId="ADAL" clId="{81D0A7F5-77DD-4C36-8BC8-7BD57EDE41F4}" dt="2020-11-18T20:17:58.165" v="3768"/>
        <pc:sldMkLst>
          <pc:docMk/>
          <pc:sldMk cId="3424447147" sldId="9001"/>
        </pc:sldMkLst>
        <pc:spChg chg="del">
          <ac:chgData name="Jackman, Lauren" userId="ef96ab20-fb12-476c-a3e0-14bd051fc290" providerId="ADAL" clId="{81D0A7F5-77DD-4C36-8BC8-7BD57EDE41F4}" dt="2020-11-18T20:17:57.760" v="3767" actId="478"/>
          <ac:spMkLst>
            <pc:docMk/>
            <pc:sldMk cId="3424447147" sldId="9001"/>
            <ac:spMk id="13" creationId="{FA5A1441-11F3-4FED-8569-4A7884C007C7}"/>
          </ac:spMkLst>
        </pc:spChg>
        <pc:spChg chg="add">
          <ac:chgData name="Jackman, Lauren" userId="ef96ab20-fb12-476c-a3e0-14bd051fc290" providerId="ADAL" clId="{81D0A7F5-77DD-4C36-8BC8-7BD57EDE41F4}" dt="2020-11-18T20:17:58.165" v="3768"/>
          <ac:spMkLst>
            <pc:docMk/>
            <pc:sldMk cId="3424447147" sldId="9001"/>
            <ac:spMk id="17" creationId="{C1D5551F-E05A-4B75-89CB-C0DFC3CB983D}"/>
          </ac:spMkLst>
        </pc:spChg>
      </pc:sldChg>
      <pc:sldChg chg="addSp delSp">
        <pc:chgData name="Jackman, Lauren" userId="ef96ab20-fb12-476c-a3e0-14bd051fc290" providerId="ADAL" clId="{81D0A7F5-77DD-4C36-8BC8-7BD57EDE41F4}" dt="2020-11-18T20:17:37.860" v="3763"/>
        <pc:sldMkLst>
          <pc:docMk/>
          <pc:sldMk cId="2494993325" sldId="9004"/>
        </pc:sldMkLst>
        <pc:spChg chg="del">
          <ac:chgData name="Jackman, Lauren" userId="ef96ab20-fb12-476c-a3e0-14bd051fc290" providerId="ADAL" clId="{81D0A7F5-77DD-4C36-8BC8-7BD57EDE41F4}" dt="2020-11-18T20:17:37.418" v="3762" actId="478"/>
          <ac:spMkLst>
            <pc:docMk/>
            <pc:sldMk cId="2494993325" sldId="9004"/>
            <ac:spMk id="20" creationId="{2E07311D-AAB4-4383-B12B-B54E37BC719B}"/>
          </ac:spMkLst>
        </pc:spChg>
        <pc:spChg chg="add">
          <ac:chgData name="Jackman, Lauren" userId="ef96ab20-fb12-476c-a3e0-14bd051fc290" providerId="ADAL" clId="{81D0A7F5-77DD-4C36-8BC8-7BD57EDE41F4}" dt="2020-11-18T20:17:37.860" v="3763"/>
          <ac:spMkLst>
            <pc:docMk/>
            <pc:sldMk cId="2494993325" sldId="9004"/>
            <ac:spMk id="21" creationId="{C12AD0B7-B56D-4542-A188-5D61CC7C69EA}"/>
          </ac:spMkLst>
        </pc:spChg>
      </pc:sldChg>
      <pc:sldChg chg="addSp delSp modSp add">
        <pc:chgData name="Jackman, Lauren" userId="ef96ab20-fb12-476c-a3e0-14bd051fc290" providerId="ADAL" clId="{81D0A7F5-77DD-4C36-8BC8-7BD57EDE41F4}" dt="2020-12-02T13:06:04.873" v="4968" actId="1076"/>
        <pc:sldMkLst>
          <pc:docMk/>
          <pc:sldMk cId="4197351074" sldId="9008"/>
        </pc:sldMkLst>
        <pc:spChg chg="add">
          <ac:chgData name="Jackman, Lauren" userId="ef96ab20-fb12-476c-a3e0-14bd051fc290" providerId="ADAL" clId="{81D0A7F5-77DD-4C36-8BC8-7BD57EDE41F4}" dt="2020-11-17T19:04:05.950" v="789"/>
          <ac:spMkLst>
            <pc:docMk/>
            <pc:sldMk cId="4197351074" sldId="9008"/>
            <ac:spMk id="2" creationId="{5A408339-6BAC-4AE6-9247-4BAEB1EF5079}"/>
          </ac:spMkLst>
        </pc:spChg>
        <pc:spChg chg="add mod">
          <ac:chgData name="Jackman, Lauren" userId="ef96ab20-fb12-476c-a3e0-14bd051fc290" providerId="ADAL" clId="{81D0A7F5-77DD-4C36-8BC8-7BD57EDE41F4}" dt="2020-12-02T13:06:02.974" v="4967" actId="1076"/>
          <ac:spMkLst>
            <pc:docMk/>
            <pc:sldMk cId="4197351074" sldId="9008"/>
            <ac:spMk id="3" creationId="{842D5ACF-1017-4A93-9345-BD83F2396B17}"/>
          </ac:spMkLst>
        </pc:spChg>
        <pc:spChg chg="add mod">
          <ac:chgData name="Jackman, Lauren" userId="ef96ab20-fb12-476c-a3e0-14bd051fc290" providerId="ADAL" clId="{81D0A7F5-77DD-4C36-8BC8-7BD57EDE41F4}" dt="2020-12-02T13:06:04.873" v="4968" actId="1076"/>
          <ac:spMkLst>
            <pc:docMk/>
            <pc:sldMk cId="4197351074" sldId="9008"/>
            <ac:spMk id="4" creationId="{2404D9B1-661A-435A-BA77-2C94C41072BE}"/>
          </ac:spMkLst>
        </pc:spChg>
        <pc:spChg chg="add mod">
          <ac:chgData name="Jackman, Lauren" userId="ef96ab20-fb12-476c-a3e0-14bd051fc290" providerId="ADAL" clId="{81D0A7F5-77DD-4C36-8BC8-7BD57EDE41F4}" dt="2020-11-18T22:45:45.316" v="4453" actId="1076"/>
          <ac:spMkLst>
            <pc:docMk/>
            <pc:sldMk cId="4197351074" sldId="9008"/>
            <ac:spMk id="5" creationId="{80F9AF88-811F-4586-91BC-14DFDD2198B0}"/>
          </ac:spMkLst>
        </pc:spChg>
        <pc:spChg chg="add mod">
          <ac:chgData name="Jackman, Lauren" userId="ef96ab20-fb12-476c-a3e0-14bd051fc290" providerId="ADAL" clId="{81D0A7F5-77DD-4C36-8BC8-7BD57EDE41F4}" dt="2020-11-18T22:51:12.552" v="4467" actId="1076"/>
          <ac:spMkLst>
            <pc:docMk/>
            <pc:sldMk cId="4197351074" sldId="9008"/>
            <ac:spMk id="6" creationId="{F5FC26EF-39FA-4EFB-B79F-30F57FCB3D8A}"/>
          </ac:spMkLst>
        </pc:spChg>
        <pc:spChg chg="add mod">
          <ac:chgData name="Jackman, Lauren" userId="ef96ab20-fb12-476c-a3e0-14bd051fc290" providerId="ADAL" clId="{81D0A7F5-77DD-4C36-8BC8-7BD57EDE41F4}" dt="2020-11-18T22:45:50.332" v="4454" actId="1076"/>
          <ac:spMkLst>
            <pc:docMk/>
            <pc:sldMk cId="4197351074" sldId="9008"/>
            <ac:spMk id="7" creationId="{5FA34729-20EF-470B-881A-EC77B66225F6}"/>
          </ac:spMkLst>
        </pc:spChg>
        <pc:spChg chg="add mod">
          <ac:chgData name="Jackman, Lauren" userId="ef96ab20-fb12-476c-a3e0-14bd051fc290" providerId="ADAL" clId="{81D0A7F5-77DD-4C36-8BC8-7BD57EDE41F4}" dt="2020-11-18T22:51:14.909" v="4468" actId="1076"/>
          <ac:spMkLst>
            <pc:docMk/>
            <pc:sldMk cId="4197351074" sldId="9008"/>
            <ac:spMk id="8" creationId="{919A0A91-33D0-4631-A8B1-B3DD35FF7241}"/>
          </ac:spMkLst>
        </pc:spChg>
        <pc:spChg chg="add del mod">
          <ac:chgData name="Jackman, Lauren" userId="ef96ab20-fb12-476c-a3e0-14bd051fc290" providerId="ADAL" clId="{81D0A7F5-77DD-4C36-8BC8-7BD57EDE41F4}" dt="2020-11-18T22:44:59.214" v="4385" actId="478"/>
          <ac:spMkLst>
            <pc:docMk/>
            <pc:sldMk cId="4197351074" sldId="9008"/>
            <ac:spMk id="9" creationId="{0B9B6597-06B3-4D8E-8223-F8C19483C1BE}"/>
          </ac:spMkLst>
        </pc:spChg>
        <pc:spChg chg="add mod">
          <ac:chgData name="Jackman, Lauren" userId="ef96ab20-fb12-476c-a3e0-14bd051fc290" providerId="ADAL" clId="{81D0A7F5-77DD-4C36-8BC8-7BD57EDE41F4}" dt="2020-11-18T22:45:54.965" v="4456" actId="1076"/>
          <ac:spMkLst>
            <pc:docMk/>
            <pc:sldMk cId="4197351074" sldId="9008"/>
            <ac:spMk id="10" creationId="{B0D8AEEE-F77E-4EFB-96E8-B71E7CAAC44C}"/>
          </ac:spMkLst>
        </pc:spChg>
        <pc:spChg chg="add mod">
          <ac:chgData name="Jackman, Lauren" userId="ef96ab20-fb12-476c-a3e0-14bd051fc290" providerId="ADAL" clId="{81D0A7F5-77DD-4C36-8BC8-7BD57EDE41F4}" dt="2020-11-18T22:46:00.488" v="4464" actId="20577"/>
          <ac:spMkLst>
            <pc:docMk/>
            <pc:sldMk cId="4197351074" sldId="9008"/>
            <ac:spMk id="11" creationId="{81569000-2ABF-4671-A0F9-F4D9649FFBC6}"/>
          </ac:spMkLst>
        </pc:spChg>
      </pc:sldChg>
      <pc:sldChg chg="addSp modSp add">
        <pc:chgData name="Jackman, Lauren" userId="ef96ab20-fb12-476c-a3e0-14bd051fc290" providerId="ADAL" clId="{81D0A7F5-77DD-4C36-8BC8-7BD57EDE41F4}" dt="2020-11-17T20:00:59.711" v="2930" actId="6549"/>
        <pc:sldMkLst>
          <pc:docMk/>
          <pc:sldMk cId="507629460" sldId="9009"/>
        </pc:sldMkLst>
        <pc:spChg chg="add mod">
          <ac:chgData name="Jackman, Lauren" userId="ef96ab20-fb12-476c-a3e0-14bd051fc290" providerId="ADAL" clId="{81D0A7F5-77DD-4C36-8BC8-7BD57EDE41F4}" dt="2020-11-17T19:52:13.685" v="2066" actId="20577"/>
          <ac:spMkLst>
            <pc:docMk/>
            <pc:sldMk cId="507629460" sldId="9009"/>
            <ac:spMk id="2" creationId="{B1D27B3C-653E-4AE2-8E60-D8F98C7F1621}"/>
          </ac:spMkLst>
        </pc:spChg>
        <pc:spChg chg="add mod">
          <ac:chgData name="Jackman, Lauren" userId="ef96ab20-fb12-476c-a3e0-14bd051fc290" providerId="ADAL" clId="{81D0A7F5-77DD-4C36-8BC8-7BD57EDE41F4}" dt="2020-11-17T20:00:31.212" v="2923" actId="20577"/>
          <ac:spMkLst>
            <pc:docMk/>
            <pc:sldMk cId="507629460" sldId="9009"/>
            <ac:spMk id="3" creationId="{3A8D52F5-78FA-468B-8E92-A6130E2CC36D}"/>
          </ac:spMkLst>
        </pc:spChg>
        <pc:spChg chg="add mod">
          <ac:chgData name="Jackman, Lauren" userId="ef96ab20-fb12-476c-a3e0-14bd051fc290" providerId="ADAL" clId="{81D0A7F5-77DD-4C36-8BC8-7BD57EDE41F4}" dt="2020-11-17T20:00:41.518" v="2927" actId="1076"/>
          <ac:spMkLst>
            <pc:docMk/>
            <pc:sldMk cId="507629460" sldId="9009"/>
            <ac:spMk id="4" creationId="{69193FE1-1BC6-49C1-9983-63F68129C61B}"/>
          </ac:spMkLst>
        </pc:spChg>
        <pc:spChg chg="add mod">
          <ac:chgData name="Jackman, Lauren" userId="ef96ab20-fb12-476c-a3e0-14bd051fc290" providerId="ADAL" clId="{81D0A7F5-77DD-4C36-8BC8-7BD57EDE41F4}" dt="2020-11-17T20:00:59.711" v="2930" actId="6549"/>
          <ac:spMkLst>
            <pc:docMk/>
            <pc:sldMk cId="507629460" sldId="9009"/>
            <ac:spMk id="5" creationId="{096EA0A4-5D97-4B1E-8793-E998640C9E59}"/>
          </ac:spMkLst>
        </pc:spChg>
        <pc:spChg chg="add mod">
          <ac:chgData name="Jackman, Lauren" userId="ef96ab20-fb12-476c-a3e0-14bd051fc290" providerId="ADAL" clId="{81D0A7F5-77DD-4C36-8BC8-7BD57EDE41F4}" dt="2020-11-17T20:00:34.518" v="2925" actId="20577"/>
          <ac:spMkLst>
            <pc:docMk/>
            <pc:sldMk cId="507629460" sldId="9009"/>
            <ac:spMk id="6" creationId="{D6B81A22-8A56-4745-B064-CD50D975DF38}"/>
          </ac:spMkLst>
        </pc:spChg>
      </pc:sldChg>
      <pc:sldChg chg="del">
        <pc:chgData name="Jackman, Lauren" userId="ef96ab20-fb12-476c-a3e0-14bd051fc290" providerId="ADAL" clId="{81D0A7F5-77DD-4C36-8BC8-7BD57EDE41F4}" dt="2020-11-17T19:17:58.297" v="1840" actId="2696"/>
        <pc:sldMkLst>
          <pc:docMk/>
          <pc:sldMk cId="2790508325" sldId="9009"/>
        </pc:sldMkLst>
      </pc:sldChg>
      <pc:sldChg chg="delSp modSp delAnim addCm delCm modCm modNotes">
        <pc:chgData name="Jackman, Lauren" userId="ef96ab20-fb12-476c-a3e0-14bd051fc290" providerId="ADAL" clId="{81D0A7F5-77DD-4C36-8BC8-7BD57EDE41F4}" dt="2021-01-05T17:37:08.530" v="5001"/>
        <pc:sldMkLst>
          <pc:docMk/>
          <pc:sldMk cId="795272350" sldId="9010"/>
        </pc:sldMkLst>
        <pc:spChg chg="mod">
          <ac:chgData name="Jackman, Lauren" userId="ef96ab20-fb12-476c-a3e0-14bd051fc290" providerId="ADAL" clId="{81D0A7F5-77DD-4C36-8BC8-7BD57EDE41F4}" dt="2020-11-30T16:09:26.803" v="4550" actId="14100"/>
          <ac:spMkLst>
            <pc:docMk/>
            <pc:sldMk cId="795272350" sldId="9010"/>
            <ac:spMk id="14" creationId="{5D719E63-E741-4437-8121-ABA5F5E6CA33}"/>
          </ac:spMkLst>
        </pc:spChg>
        <pc:spChg chg="del mod">
          <ac:chgData name="Jackman, Lauren" userId="ef96ab20-fb12-476c-a3e0-14bd051fc290" providerId="ADAL" clId="{81D0A7F5-77DD-4C36-8BC8-7BD57EDE41F4}" dt="2020-12-01T21:25:02.946" v="4872" actId="478"/>
          <ac:spMkLst>
            <pc:docMk/>
            <pc:sldMk cId="795272350" sldId="9010"/>
            <ac:spMk id="16" creationId="{D01206F1-0F1D-48D3-B11C-8148CCC8AB36}"/>
          </ac:spMkLst>
        </pc:spChg>
        <pc:spChg chg="mod">
          <ac:chgData name="Jackman, Lauren" userId="ef96ab20-fb12-476c-a3e0-14bd051fc290" providerId="ADAL" clId="{81D0A7F5-77DD-4C36-8BC8-7BD57EDE41F4}" dt="2020-12-01T21:25:08.637" v="4874" actId="14100"/>
          <ac:spMkLst>
            <pc:docMk/>
            <pc:sldMk cId="795272350" sldId="9010"/>
            <ac:spMk id="18" creationId="{E4EEB0BB-CEA4-435D-930A-B95795FCC5A9}"/>
          </ac:spMkLst>
        </pc:spChg>
        <pc:spChg chg="mod">
          <ac:chgData name="Jackman, Lauren" userId="ef96ab20-fb12-476c-a3e0-14bd051fc290" providerId="ADAL" clId="{81D0A7F5-77DD-4C36-8BC8-7BD57EDE41F4}" dt="2020-12-01T21:25:00.466" v="4871" actId="14100"/>
          <ac:spMkLst>
            <pc:docMk/>
            <pc:sldMk cId="795272350" sldId="9010"/>
            <ac:spMk id="20" creationId="{97F95232-FAF7-4FBD-A394-067DD3DBBE84}"/>
          </ac:spMkLst>
        </pc:spChg>
        <pc:spChg chg="mod">
          <ac:chgData name="Jackman, Lauren" userId="ef96ab20-fb12-476c-a3e0-14bd051fc290" providerId="ADAL" clId="{81D0A7F5-77DD-4C36-8BC8-7BD57EDE41F4}" dt="2020-11-30T16:09:18.914" v="4548" actId="1076"/>
          <ac:spMkLst>
            <pc:docMk/>
            <pc:sldMk cId="795272350" sldId="9010"/>
            <ac:spMk id="21" creationId="{F18A993C-B7C9-4F11-A56F-781ECF936695}"/>
          </ac:spMkLst>
        </pc:spChg>
        <pc:spChg chg="mod">
          <ac:chgData name="Jackman, Lauren" userId="ef96ab20-fb12-476c-a3e0-14bd051fc290" providerId="ADAL" clId="{81D0A7F5-77DD-4C36-8BC8-7BD57EDE41F4}" dt="2020-12-01T21:25:06.613" v="4873" actId="14100"/>
          <ac:spMkLst>
            <pc:docMk/>
            <pc:sldMk cId="795272350" sldId="9010"/>
            <ac:spMk id="22" creationId="{E4EEB0BB-CEA4-435D-930A-B95795FCC5A9}"/>
          </ac:spMkLst>
        </pc:spChg>
        <pc:spChg chg="del">
          <ac:chgData name="Jackman, Lauren" userId="ef96ab20-fb12-476c-a3e0-14bd051fc290" providerId="ADAL" clId="{81D0A7F5-77DD-4C36-8BC8-7BD57EDE41F4}" dt="2020-11-30T16:09:03.937" v="4543" actId="478"/>
          <ac:spMkLst>
            <pc:docMk/>
            <pc:sldMk cId="795272350" sldId="9010"/>
            <ac:spMk id="23" creationId="{1A30CADC-75E8-4087-9CCD-F2E482A1BA12}"/>
          </ac:spMkLst>
        </pc:spChg>
        <pc:spChg chg="mod">
          <ac:chgData name="Jackman, Lauren" userId="ef96ab20-fb12-476c-a3e0-14bd051fc290" providerId="ADAL" clId="{81D0A7F5-77DD-4C36-8BC8-7BD57EDE41F4}" dt="2020-11-30T16:11:20.541" v="4603" actId="20577"/>
          <ac:spMkLst>
            <pc:docMk/>
            <pc:sldMk cId="795272350" sldId="9010"/>
            <ac:spMk id="24" creationId="{D98BE86A-0214-4B8B-8177-71898DD3CBB9}"/>
          </ac:spMkLst>
        </pc:spChg>
        <pc:spChg chg="mod">
          <ac:chgData name="Jackman, Lauren" userId="ef96ab20-fb12-476c-a3e0-14bd051fc290" providerId="ADAL" clId="{81D0A7F5-77DD-4C36-8BC8-7BD57EDE41F4}" dt="2020-11-30T16:09:59.601" v="4560" actId="1076"/>
          <ac:spMkLst>
            <pc:docMk/>
            <pc:sldMk cId="795272350" sldId="9010"/>
            <ac:spMk id="28" creationId="{2FB4EB3B-9421-4BDC-8D10-313B0259D30F}"/>
          </ac:spMkLst>
        </pc:spChg>
      </pc:sldChg>
      <pc:sldChg chg="modSp">
        <pc:chgData name="Jackman, Lauren" userId="ef96ab20-fb12-476c-a3e0-14bd051fc290" providerId="ADAL" clId="{81D0A7F5-77DD-4C36-8BC8-7BD57EDE41F4}" dt="2020-12-04T16:13:01.358" v="5000" actId="1076"/>
        <pc:sldMkLst>
          <pc:docMk/>
          <pc:sldMk cId="1807062554" sldId="9014"/>
        </pc:sldMkLst>
        <pc:spChg chg="mod">
          <ac:chgData name="Jackman, Lauren" userId="ef96ab20-fb12-476c-a3e0-14bd051fc290" providerId="ADAL" clId="{81D0A7F5-77DD-4C36-8BC8-7BD57EDE41F4}" dt="2020-12-04T16:13:01.358" v="5000" actId="1076"/>
          <ac:spMkLst>
            <pc:docMk/>
            <pc:sldMk cId="1807062554" sldId="9014"/>
            <ac:spMk id="2" creationId="{C1356F08-1773-4A2F-A31F-CC2FF5B94A51}"/>
          </ac:spMkLst>
        </pc:spChg>
        <pc:spChg chg="mod">
          <ac:chgData name="Jackman, Lauren" userId="ef96ab20-fb12-476c-a3e0-14bd051fc290" providerId="ADAL" clId="{81D0A7F5-77DD-4C36-8BC8-7BD57EDE41F4}" dt="2020-12-02T21:33:51.056" v="4971" actId="1076"/>
          <ac:spMkLst>
            <pc:docMk/>
            <pc:sldMk cId="1807062554" sldId="9014"/>
            <ac:spMk id="6" creationId="{05113B7F-7D9C-4108-9398-559CE0E8A3CB}"/>
          </ac:spMkLst>
        </pc:spChg>
        <pc:spChg chg="mod">
          <ac:chgData name="Jackman, Lauren" userId="ef96ab20-fb12-476c-a3e0-14bd051fc290" providerId="ADAL" clId="{81D0A7F5-77DD-4C36-8BC8-7BD57EDE41F4}" dt="2020-12-02T21:33:08.495" v="4970" actId="1076"/>
          <ac:spMkLst>
            <pc:docMk/>
            <pc:sldMk cId="1807062554" sldId="9014"/>
            <ac:spMk id="15" creationId="{32403019-685B-49B3-A075-CBFB6B22BFF8}"/>
          </ac:spMkLst>
        </pc:spChg>
        <pc:spChg chg="mod">
          <ac:chgData name="Jackman, Lauren" userId="ef96ab20-fb12-476c-a3e0-14bd051fc290" providerId="ADAL" clId="{81D0A7F5-77DD-4C36-8BC8-7BD57EDE41F4}" dt="2020-11-17T20:23:57.144" v="3342" actId="207"/>
          <ac:spMkLst>
            <pc:docMk/>
            <pc:sldMk cId="1807062554" sldId="9014"/>
            <ac:spMk id="16" creationId="{95CF9EF2-ED64-41F3-895D-4B707AC306C5}"/>
          </ac:spMkLst>
        </pc:spChg>
        <pc:picChg chg="mod">
          <ac:chgData name="Jackman, Lauren" userId="ef96ab20-fb12-476c-a3e0-14bd051fc290" providerId="ADAL" clId="{81D0A7F5-77DD-4C36-8BC8-7BD57EDE41F4}" dt="2020-12-02T21:33:04.452" v="4969" actId="1076"/>
          <ac:picMkLst>
            <pc:docMk/>
            <pc:sldMk cId="1807062554" sldId="9014"/>
            <ac:picMk id="14" creationId="{2F2E665A-18D5-4774-991A-DB6FA154A820}"/>
          </ac:picMkLst>
        </pc:picChg>
      </pc:sldChg>
      <pc:sldChg chg="modSp modNotes">
        <pc:chgData name="Jackman, Lauren" userId="ef96ab20-fb12-476c-a3e0-14bd051fc290" providerId="ADAL" clId="{81D0A7F5-77DD-4C36-8BC8-7BD57EDE41F4}" dt="2021-01-05T17:37:08.530" v="5001"/>
        <pc:sldMkLst>
          <pc:docMk/>
          <pc:sldMk cId="3389621691" sldId="9015"/>
        </pc:sldMkLst>
        <pc:spChg chg="mod">
          <ac:chgData name="Jackman, Lauren" userId="ef96ab20-fb12-476c-a3e0-14bd051fc290" providerId="ADAL" clId="{81D0A7F5-77DD-4C36-8BC8-7BD57EDE41F4}" dt="2020-11-18T20:19:31.050" v="3789" actId="20577"/>
          <ac:spMkLst>
            <pc:docMk/>
            <pc:sldMk cId="3389621691" sldId="9015"/>
            <ac:spMk id="4" creationId="{7A9DFF01-0B03-48E4-B42D-F011C5ECF119}"/>
          </ac:spMkLst>
        </pc:spChg>
      </pc:sldChg>
      <pc:sldChg chg="delSp modSp add">
        <pc:chgData name="Jackman, Lauren" userId="ef96ab20-fb12-476c-a3e0-14bd051fc290" providerId="ADAL" clId="{81D0A7F5-77DD-4C36-8BC8-7BD57EDE41F4}" dt="2020-11-18T20:27:19.156" v="3967" actId="20577"/>
        <pc:sldMkLst>
          <pc:docMk/>
          <pc:sldMk cId="1871634249" sldId="9016"/>
        </pc:sldMkLst>
        <pc:spChg chg="mod">
          <ac:chgData name="Jackman, Lauren" userId="ef96ab20-fb12-476c-a3e0-14bd051fc290" providerId="ADAL" clId="{81D0A7F5-77DD-4C36-8BC8-7BD57EDE41F4}" dt="2020-11-18T20:27:19.156" v="3967" actId="20577"/>
          <ac:spMkLst>
            <pc:docMk/>
            <pc:sldMk cId="1871634249" sldId="9016"/>
            <ac:spMk id="2" creationId="{74E336CA-F901-4B74-AED6-13439BAA7A2B}"/>
          </ac:spMkLst>
        </pc:spChg>
        <pc:spChg chg="del">
          <ac:chgData name="Jackman, Lauren" userId="ef96ab20-fb12-476c-a3e0-14bd051fc290" providerId="ADAL" clId="{81D0A7F5-77DD-4C36-8BC8-7BD57EDE41F4}" dt="2020-11-18T20:27:07.192" v="3961" actId="478"/>
          <ac:spMkLst>
            <pc:docMk/>
            <pc:sldMk cId="1871634249" sldId="9016"/>
            <ac:spMk id="3" creationId="{CE253019-D846-4A68-BA8D-E7B2661A0182}"/>
          </ac:spMkLst>
        </pc:spChg>
      </pc:sldChg>
      <pc:sldChg chg="modSp">
        <pc:chgData name="Jackman, Lauren" userId="ef96ab20-fb12-476c-a3e0-14bd051fc290" providerId="ADAL" clId="{81D0A7F5-77DD-4C36-8BC8-7BD57EDE41F4}" dt="2020-11-18T20:27:46.257" v="3986" actId="20577"/>
        <pc:sldMkLst>
          <pc:docMk/>
          <pc:sldMk cId="1257928931" sldId="9017"/>
        </pc:sldMkLst>
        <pc:spChg chg="mod">
          <ac:chgData name="Jackman, Lauren" userId="ef96ab20-fb12-476c-a3e0-14bd051fc290" providerId="ADAL" clId="{81D0A7F5-77DD-4C36-8BC8-7BD57EDE41F4}" dt="2020-11-18T20:27:46.257" v="3986" actId="20577"/>
          <ac:spMkLst>
            <pc:docMk/>
            <pc:sldMk cId="1257928931" sldId="9017"/>
            <ac:spMk id="2" creationId="{74E336CA-F901-4B74-AED6-13439BAA7A2B}"/>
          </ac:spMkLst>
        </pc:spChg>
      </pc:sldChg>
      <pc:sldChg chg="addSp modSp add addCm modCm">
        <pc:chgData name="Jackman, Lauren" userId="ef96ab20-fb12-476c-a3e0-14bd051fc290" providerId="ADAL" clId="{81D0A7F5-77DD-4C36-8BC8-7BD57EDE41F4}" dt="2020-11-18T20:31:47.367" v="4321"/>
        <pc:sldMkLst>
          <pc:docMk/>
          <pc:sldMk cId="1038663697" sldId="9018"/>
        </pc:sldMkLst>
        <pc:spChg chg="mod">
          <ac:chgData name="Jackman, Lauren" userId="ef96ab20-fb12-476c-a3e0-14bd051fc290" providerId="ADAL" clId="{81D0A7F5-77DD-4C36-8BC8-7BD57EDE41F4}" dt="2020-11-18T20:30:09.497" v="4207" actId="20577"/>
          <ac:spMkLst>
            <pc:docMk/>
            <pc:sldMk cId="1038663697" sldId="9018"/>
            <ac:spMk id="2" creationId="{F9E351F9-72CF-4C5E-AF3D-C21507B56050}"/>
          </ac:spMkLst>
        </pc:spChg>
        <pc:spChg chg="add mod">
          <ac:chgData name="Jackman, Lauren" userId="ef96ab20-fb12-476c-a3e0-14bd051fc290" providerId="ADAL" clId="{81D0A7F5-77DD-4C36-8BC8-7BD57EDE41F4}" dt="2020-11-18T20:31:06.627" v="4319" actId="20577"/>
          <ac:spMkLst>
            <pc:docMk/>
            <pc:sldMk cId="1038663697" sldId="9018"/>
            <ac:spMk id="3" creationId="{9651AA8A-449A-4CB5-BE13-0C46010A0372}"/>
          </ac:spMkLst>
        </pc:spChg>
      </pc:sldChg>
      <pc:sldChg chg="add del">
        <pc:chgData name="Jackman, Lauren" userId="ef96ab20-fb12-476c-a3e0-14bd051fc290" providerId="ADAL" clId="{81D0A7F5-77DD-4C36-8BC8-7BD57EDE41F4}" dt="2020-11-18T20:27:53.366" v="3988"/>
        <pc:sldMkLst>
          <pc:docMk/>
          <pc:sldMk cId="1084426690" sldId="9018"/>
        </pc:sldMkLst>
      </pc:sldChg>
      <pc:sldChg chg="modSp">
        <pc:chgData name="Jackman, Lauren" userId="ef96ab20-fb12-476c-a3e0-14bd051fc290" providerId="ADAL" clId="{81D0A7F5-77DD-4C36-8BC8-7BD57EDE41F4}" dt="2020-12-04T15:01:18.718" v="4993" actId="13926"/>
        <pc:sldMkLst>
          <pc:docMk/>
          <pc:sldMk cId="473660456" sldId="9024"/>
        </pc:sldMkLst>
        <pc:graphicFrameChg chg="mod modGraphic">
          <ac:chgData name="Jackman, Lauren" userId="ef96ab20-fb12-476c-a3e0-14bd051fc290" providerId="ADAL" clId="{81D0A7F5-77DD-4C36-8BC8-7BD57EDE41F4}" dt="2020-12-04T15:01:18.718" v="4993" actId="13926"/>
          <ac:graphicFrameMkLst>
            <pc:docMk/>
            <pc:sldMk cId="473660456" sldId="9024"/>
            <ac:graphicFrameMk id="3" creationId="{52A01B89-C80C-4A73-99F5-B9725D6DA2FC}"/>
          </ac:graphicFrameMkLst>
        </pc:graphicFrameChg>
      </pc:sldChg>
    </pc:docChg>
  </pc:docChgLst>
  <pc:docChgLst>
    <pc:chgData name="M, Shilpa Goud" userId="S::shilpam@deloitte.com::a9d4caf0-26bb-4255-ac96-11e70e69739c" providerId="AD" clId="Web-{D89F205A-AB40-4271-BAD7-FE1675F95C1B}"/>
    <pc:docChg chg="modSld">
      <pc:chgData name="M, Shilpa Goud" userId="S::shilpam@deloitte.com::a9d4caf0-26bb-4255-ac96-11e70e69739c" providerId="AD" clId="Web-{D89F205A-AB40-4271-BAD7-FE1675F95C1B}" dt="2020-07-14T06:55:40.638" v="12" actId="20577"/>
      <pc:docMkLst>
        <pc:docMk/>
      </pc:docMkLst>
      <pc:sldChg chg="modSp">
        <pc:chgData name="M, Shilpa Goud" userId="S::shilpam@deloitte.com::a9d4caf0-26bb-4255-ac96-11e70e69739c" providerId="AD" clId="Web-{D89F205A-AB40-4271-BAD7-FE1675F95C1B}" dt="2020-07-14T06:55:40.638" v="12" actId="20577"/>
        <pc:sldMkLst>
          <pc:docMk/>
          <pc:sldMk cId="2940807522" sldId="8784"/>
        </pc:sldMkLst>
        <pc:spChg chg="mod">
          <ac:chgData name="M, Shilpa Goud" userId="S::shilpam@deloitte.com::a9d4caf0-26bb-4255-ac96-11e70e69739c" providerId="AD" clId="Web-{D89F205A-AB40-4271-BAD7-FE1675F95C1B}" dt="2020-07-14T06:55:40.638" v="12" actId="20577"/>
          <ac:spMkLst>
            <pc:docMk/>
            <pc:sldMk cId="2940807522" sldId="8784"/>
            <ac:spMk id="10" creationId="{63C4D4D1-A06E-4F86-8E1F-FBE3DBFA51E8}"/>
          </ac:spMkLst>
        </pc:spChg>
      </pc:sldChg>
    </pc:docChg>
  </pc:docChgLst>
  <pc:docChgLst>
    <pc:chgData name="Ghosh, Anindya" userId="S::anighosh@deloitte.com::1c8636f3-f28e-411c-9bbf-d78a395a60f5" providerId="AD" clId="Web-{7EC82344-3E9C-4D9F-AC85-5C496BAD6AB9}"/>
    <pc:docChg chg="modSld">
      <pc:chgData name="Ghosh, Anindya" userId="S::anighosh@deloitte.com::1c8636f3-f28e-411c-9bbf-d78a395a60f5" providerId="AD" clId="Web-{7EC82344-3E9C-4D9F-AC85-5C496BAD6AB9}" dt="2020-12-02T07:54:35.478" v="863"/>
      <pc:docMkLst>
        <pc:docMk/>
      </pc:docMkLst>
      <pc:sldChg chg="modSp">
        <pc:chgData name="Ghosh, Anindya" userId="S::anighosh@deloitte.com::1c8636f3-f28e-411c-9bbf-d78a395a60f5" providerId="AD" clId="Web-{7EC82344-3E9C-4D9F-AC85-5C496BAD6AB9}" dt="2020-12-02T07:23:55.879" v="22" actId="20577"/>
        <pc:sldMkLst>
          <pc:docMk/>
          <pc:sldMk cId="2725184318" sldId="8836"/>
        </pc:sldMkLst>
        <pc:spChg chg="mod">
          <ac:chgData name="Ghosh, Anindya" userId="S::anighosh@deloitte.com::1c8636f3-f28e-411c-9bbf-d78a395a60f5" providerId="AD" clId="Web-{7EC82344-3E9C-4D9F-AC85-5C496BAD6AB9}" dt="2020-12-02T07:23:55.879" v="22" actId="20577"/>
          <ac:spMkLst>
            <pc:docMk/>
            <pc:sldMk cId="2725184318" sldId="8836"/>
            <ac:spMk id="13" creationId="{00000000-0000-0000-0000-000000000000}"/>
          </ac:spMkLst>
        </pc:spChg>
      </pc:sldChg>
      <pc:sldChg chg="modSp">
        <pc:chgData name="Ghosh, Anindya" userId="S::anighosh@deloitte.com::1c8636f3-f28e-411c-9bbf-d78a395a60f5" providerId="AD" clId="Web-{7EC82344-3E9C-4D9F-AC85-5C496BAD6AB9}" dt="2020-12-02T07:54:35.478" v="863"/>
        <pc:sldMkLst>
          <pc:docMk/>
          <pc:sldMk cId="473660456" sldId="9024"/>
        </pc:sldMkLst>
        <pc:graphicFrameChg chg="mod modGraphic">
          <ac:chgData name="Ghosh, Anindya" userId="S::anighosh@deloitte.com::1c8636f3-f28e-411c-9bbf-d78a395a60f5" providerId="AD" clId="Web-{7EC82344-3E9C-4D9F-AC85-5C496BAD6AB9}" dt="2020-12-02T07:54:35.478" v="863"/>
          <ac:graphicFrameMkLst>
            <pc:docMk/>
            <pc:sldMk cId="473660456" sldId="9024"/>
            <ac:graphicFrameMk id="3" creationId="{52A01B89-C80C-4A73-99F5-B9725D6DA2FC}"/>
          </ac:graphicFrameMkLst>
        </pc:graphicFrameChg>
      </pc:sldChg>
    </pc:docChg>
  </pc:docChgLst>
  <pc:docChgLst>
    <pc:chgData name="Garugu, Ramana Murthy" userId="4d25478e-3d85-4655-8913-d8fa8988088b" providerId="ADAL" clId="{EEA97504-7271-4CA8-AE86-4DE21CA12A2B}"/>
    <pc:docChg chg="modSld">
      <pc:chgData name="Garugu, Ramana Murthy" userId="4d25478e-3d85-4655-8913-d8fa8988088b" providerId="ADAL" clId="{EEA97504-7271-4CA8-AE86-4DE21CA12A2B}" dt="2020-12-02T13:21:33.864" v="0"/>
      <pc:docMkLst>
        <pc:docMk/>
      </pc:docMkLst>
      <pc:sldChg chg="modSp">
        <pc:chgData name="Garugu, Ramana Murthy" userId="4d25478e-3d85-4655-8913-d8fa8988088b" providerId="ADAL" clId="{EEA97504-7271-4CA8-AE86-4DE21CA12A2B}" dt="2020-12-02T13:21:33.864" v="0"/>
        <pc:sldMkLst>
          <pc:docMk/>
          <pc:sldMk cId="800771401" sldId="8787"/>
        </pc:sldMkLst>
        <pc:graphicFrameChg chg="mod">
          <ac:chgData name="Garugu, Ramana Murthy" userId="4d25478e-3d85-4655-8913-d8fa8988088b" providerId="ADAL" clId="{EEA97504-7271-4CA8-AE86-4DE21CA12A2B}" dt="2020-12-02T13:21:33.864" v="0"/>
          <ac:graphicFrameMkLst>
            <pc:docMk/>
            <pc:sldMk cId="800771401" sldId="8787"/>
            <ac:graphicFrameMk id="2" creationId="{9FBD2273-D8F8-4BC6-9989-AE46BDA26063}"/>
          </ac:graphicFrameMkLst>
        </pc:graphicFrameChg>
      </pc:sldChg>
    </pc:docChg>
  </pc:docChgLst>
  <pc:docChgLst>
    <pc:chgData name="Prakash, Ankur" userId="S::anprakash@deloitte.com::e5ec4ef6-a8ef-421f-ae1a-afd967453ffe" providerId="AD" clId="Web-{70244E7A-BE6F-4825-97F9-EBADF69E4C33}"/>
    <pc:docChg chg="addSld delSld modSld sldOrd addMainMaster modSection">
      <pc:chgData name="Prakash, Ankur" userId="S::anprakash@deloitte.com::e5ec4ef6-a8ef-421f-ae1a-afd967453ffe" providerId="AD" clId="Web-{70244E7A-BE6F-4825-97F9-EBADF69E4C33}" dt="2020-06-11T12:58:11.950" v="147"/>
      <pc:docMkLst>
        <pc:docMk/>
      </pc:docMkLst>
      <pc:sldChg chg="modSp">
        <pc:chgData name="Prakash, Ankur" userId="S::anprakash@deloitte.com::e5ec4ef6-a8ef-421f-ae1a-afd967453ffe" providerId="AD" clId="Web-{70244E7A-BE6F-4825-97F9-EBADF69E4C33}" dt="2020-06-11T12:58:11.950" v="147"/>
        <pc:sldMkLst>
          <pc:docMk/>
          <pc:sldMk cId="3491360341" sldId="8786"/>
        </pc:sldMkLst>
        <pc:graphicFrameChg chg="mod modGraphic">
          <ac:chgData name="Prakash, Ankur" userId="S::anprakash@deloitte.com::e5ec4ef6-a8ef-421f-ae1a-afd967453ffe" providerId="AD" clId="Web-{70244E7A-BE6F-4825-97F9-EBADF69E4C33}" dt="2020-06-11T12:58:11.950" v="147"/>
          <ac:graphicFrameMkLst>
            <pc:docMk/>
            <pc:sldMk cId="3491360341" sldId="8786"/>
            <ac:graphicFrameMk id="4" creationId="{FE664A44-2B52-48E1-842B-86373307A2AD}"/>
          </ac:graphicFrameMkLst>
        </pc:graphicFrameChg>
      </pc:sldChg>
      <pc:sldChg chg="modSp add ord replId">
        <pc:chgData name="Prakash, Ankur" userId="S::anprakash@deloitte.com::e5ec4ef6-a8ef-421f-ae1a-afd967453ffe" providerId="AD" clId="Web-{70244E7A-BE6F-4825-97F9-EBADF69E4C33}" dt="2020-06-11T12:56:33.560" v="70" actId="14100"/>
        <pc:sldMkLst>
          <pc:docMk/>
          <pc:sldMk cId="3924100793" sldId="8832"/>
        </pc:sldMkLst>
        <pc:spChg chg="mod">
          <ac:chgData name="Prakash, Ankur" userId="S::anprakash@deloitte.com::e5ec4ef6-a8ef-421f-ae1a-afd967453ffe" providerId="AD" clId="Web-{70244E7A-BE6F-4825-97F9-EBADF69E4C33}" dt="2020-06-11T12:54:17.263" v="37" actId="20577"/>
          <ac:spMkLst>
            <pc:docMk/>
            <pc:sldMk cId="3924100793" sldId="8832"/>
            <ac:spMk id="3" creationId="{1A0176DF-1B97-473D-A10D-2782ED1043DD}"/>
          </ac:spMkLst>
        </pc:spChg>
        <pc:spChg chg="mod">
          <ac:chgData name="Prakash, Ankur" userId="S::anprakash@deloitte.com::e5ec4ef6-a8ef-421f-ae1a-afd967453ffe" providerId="AD" clId="Web-{70244E7A-BE6F-4825-97F9-EBADF69E4C33}" dt="2020-06-11T12:54:34.763" v="38" actId="20577"/>
          <ac:spMkLst>
            <pc:docMk/>
            <pc:sldMk cId="3924100793" sldId="8832"/>
            <ac:spMk id="4" creationId="{DA74E4A6-3B76-4E6E-8D06-3104FCD110F4}"/>
          </ac:spMkLst>
        </pc:spChg>
        <pc:spChg chg="mod">
          <ac:chgData name="Prakash, Ankur" userId="S::anprakash@deloitte.com::e5ec4ef6-a8ef-421f-ae1a-afd967453ffe" providerId="AD" clId="Web-{70244E7A-BE6F-4825-97F9-EBADF69E4C33}" dt="2020-06-11T12:56:33.560" v="70" actId="14100"/>
          <ac:spMkLst>
            <pc:docMk/>
            <pc:sldMk cId="3924100793" sldId="8832"/>
            <ac:spMk id="7" creationId="{BD52B5DB-DDAB-4EC0-94A0-8CED04FAB517}"/>
          </ac:spMkLst>
        </pc:spChg>
        <pc:spChg chg="mod">
          <ac:chgData name="Prakash, Ankur" userId="S::anprakash@deloitte.com::e5ec4ef6-a8ef-421f-ae1a-afd967453ffe" providerId="AD" clId="Web-{70244E7A-BE6F-4825-97F9-EBADF69E4C33}" dt="2020-06-11T12:52:34.951" v="28" actId="20577"/>
          <ac:spMkLst>
            <pc:docMk/>
            <pc:sldMk cId="3924100793" sldId="8832"/>
            <ac:spMk id="15" creationId="{3A2580C5-CA76-46C2-9A0D-5F85045F5460}"/>
          </ac:spMkLst>
        </pc:spChg>
        <pc:spChg chg="mod">
          <ac:chgData name="Prakash, Ankur" userId="S::anprakash@deloitte.com::e5ec4ef6-a8ef-421f-ae1a-afd967453ffe" providerId="AD" clId="Web-{70244E7A-BE6F-4825-97F9-EBADF69E4C33}" dt="2020-06-11T12:53:20.732" v="31" actId="20577"/>
          <ac:spMkLst>
            <pc:docMk/>
            <pc:sldMk cId="3924100793" sldId="8832"/>
            <ac:spMk id="16" creationId="{710120A0-9CD3-4973-9051-F6B314FD17A7}"/>
          </ac:spMkLst>
        </pc:spChg>
        <pc:spChg chg="mod">
          <ac:chgData name="Prakash, Ankur" userId="S::anprakash@deloitte.com::e5ec4ef6-a8ef-421f-ae1a-afd967453ffe" providerId="AD" clId="Web-{70244E7A-BE6F-4825-97F9-EBADF69E4C33}" dt="2020-06-11T12:52:49.295" v="29" actId="20577"/>
          <ac:spMkLst>
            <pc:docMk/>
            <pc:sldMk cId="3924100793" sldId="8832"/>
            <ac:spMk id="17" creationId="{7111F526-39E7-4973-AD26-42B4A4C98B3D}"/>
          </ac:spMkLst>
        </pc:spChg>
        <pc:spChg chg="mod">
          <ac:chgData name="Prakash, Ankur" userId="S::anprakash@deloitte.com::e5ec4ef6-a8ef-421f-ae1a-afd967453ffe" providerId="AD" clId="Web-{70244E7A-BE6F-4825-97F9-EBADF69E4C33}" dt="2020-06-11T12:54:47.607" v="43" actId="20577"/>
          <ac:spMkLst>
            <pc:docMk/>
            <pc:sldMk cId="3924100793" sldId="8832"/>
            <ac:spMk id="18" creationId="{9833B69B-8FC8-48B1-BAB1-9CA16F36D2A7}"/>
          </ac:spMkLst>
        </pc:spChg>
      </pc:sldChg>
    </pc:docChg>
  </pc:docChgLst>
  <pc:docChgLst>
    <pc:chgData name="Patel, Jignesh" userId="c8f6f643-687e-4b58-941e-b5f86bf4291b" providerId="ADAL" clId="{686DA34C-FF9C-4FF8-9ED7-8615880C0005}"/>
    <pc:docChg chg="custSel modSld">
      <pc:chgData name="Patel, Jignesh" userId="c8f6f643-687e-4b58-941e-b5f86bf4291b" providerId="ADAL" clId="{686DA34C-FF9C-4FF8-9ED7-8615880C0005}" dt="2021-07-13T12:05:41.135" v="166" actId="20577"/>
      <pc:docMkLst>
        <pc:docMk/>
      </pc:docMkLst>
      <pc:sldChg chg="delSp mod">
        <pc:chgData name="Patel, Jignesh" userId="c8f6f643-687e-4b58-941e-b5f86bf4291b" providerId="ADAL" clId="{686DA34C-FF9C-4FF8-9ED7-8615880C0005}" dt="2021-07-12T22:55:10.526" v="43" actId="478"/>
        <pc:sldMkLst>
          <pc:docMk/>
          <pc:sldMk cId="3007601309" sldId="442"/>
        </pc:sldMkLst>
        <pc:spChg chg="del">
          <ac:chgData name="Patel, Jignesh" userId="c8f6f643-687e-4b58-941e-b5f86bf4291b" providerId="ADAL" clId="{686DA34C-FF9C-4FF8-9ED7-8615880C0005}" dt="2021-07-12T22:55:10.526" v="43" actId="478"/>
          <ac:spMkLst>
            <pc:docMk/>
            <pc:sldMk cId="3007601309" sldId="442"/>
            <ac:spMk id="7" creationId="{2E623CC9-D241-42DF-9F7C-3608CD532564}"/>
          </ac:spMkLst>
        </pc:spChg>
      </pc:sldChg>
      <pc:sldChg chg="delSp mod">
        <pc:chgData name="Patel, Jignesh" userId="c8f6f643-687e-4b58-941e-b5f86bf4291b" providerId="ADAL" clId="{686DA34C-FF9C-4FF8-9ED7-8615880C0005}" dt="2021-07-12T22:55:14.545" v="44" actId="478"/>
        <pc:sldMkLst>
          <pc:docMk/>
          <pc:sldMk cId="2286709491" sldId="443"/>
        </pc:sldMkLst>
        <pc:spChg chg="del">
          <ac:chgData name="Patel, Jignesh" userId="c8f6f643-687e-4b58-941e-b5f86bf4291b" providerId="ADAL" clId="{686DA34C-FF9C-4FF8-9ED7-8615880C0005}" dt="2021-07-12T22:55:14.545" v="44" actId="478"/>
          <ac:spMkLst>
            <pc:docMk/>
            <pc:sldMk cId="2286709491" sldId="443"/>
            <ac:spMk id="41" creationId="{A7187061-34A7-4895-927C-DEB2F034C0F8}"/>
          </ac:spMkLst>
        </pc:spChg>
      </pc:sldChg>
      <pc:sldChg chg="delSp mod">
        <pc:chgData name="Patel, Jignesh" userId="c8f6f643-687e-4b58-941e-b5f86bf4291b" providerId="ADAL" clId="{686DA34C-FF9C-4FF8-9ED7-8615880C0005}" dt="2021-07-12T22:55:19.040" v="45" actId="478"/>
        <pc:sldMkLst>
          <pc:docMk/>
          <pc:sldMk cId="793120422" sldId="444"/>
        </pc:sldMkLst>
        <pc:spChg chg="del">
          <ac:chgData name="Patel, Jignesh" userId="c8f6f643-687e-4b58-941e-b5f86bf4291b" providerId="ADAL" clId="{686DA34C-FF9C-4FF8-9ED7-8615880C0005}" dt="2021-07-12T22:55:19.040" v="45" actId="478"/>
          <ac:spMkLst>
            <pc:docMk/>
            <pc:sldMk cId="793120422" sldId="444"/>
            <ac:spMk id="5" creationId="{65E99BAC-81A0-4BE8-B7AD-DFD87A484AB9}"/>
          </ac:spMkLst>
        </pc:spChg>
      </pc:sldChg>
      <pc:sldChg chg="delSp modSp mod">
        <pc:chgData name="Patel, Jignesh" userId="c8f6f643-687e-4b58-941e-b5f86bf4291b" providerId="ADAL" clId="{686DA34C-FF9C-4FF8-9ED7-8615880C0005}" dt="2021-07-13T12:05:41.135" v="166" actId="20577"/>
        <pc:sldMkLst>
          <pc:docMk/>
          <pc:sldMk cId="3148283714" sldId="8987"/>
        </pc:sldMkLst>
        <pc:spChg chg="del mod">
          <ac:chgData name="Patel, Jignesh" userId="c8f6f643-687e-4b58-941e-b5f86bf4291b" providerId="ADAL" clId="{686DA34C-FF9C-4FF8-9ED7-8615880C0005}" dt="2021-07-12T21:29:49.690" v="7" actId="478"/>
          <ac:spMkLst>
            <pc:docMk/>
            <pc:sldMk cId="3148283714" sldId="8987"/>
            <ac:spMk id="5" creationId="{11D37229-AD3E-4553-9495-CBC563D7CA10}"/>
          </ac:spMkLst>
        </pc:spChg>
        <pc:spChg chg="mod">
          <ac:chgData name="Patel, Jignesh" userId="c8f6f643-687e-4b58-941e-b5f86bf4291b" providerId="ADAL" clId="{686DA34C-FF9C-4FF8-9ED7-8615880C0005}" dt="2021-07-13T12:05:41.135" v="166" actId="20577"/>
          <ac:spMkLst>
            <pc:docMk/>
            <pc:sldMk cId="3148283714" sldId="8987"/>
            <ac:spMk id="13" creationId="{00000000-0000-0000-0000-000000000000}"/>
          </ac:spMkLst>
        </pc:spChg>
      </pc:sldChg>
      <pc:sldChg chg="addSp delSp modSp mod">
        <pc:chgData name="Patel, Jignesh" userId="c8f6f643-687e-4b58-941e-b5f86bf4291b" providerId="ADAL" clId="{686DA34C-FF9C-4FF8-9ED7-8615880C0005}" dt="2021-07-12T21:14:19.738" v="5" actId="478"/>
        <pc:sldMkLst>
          <pc:docMk/>
          <pc:sldMk cId="3424447147" sldId="9001"/>
        </pc:sldMkLst>
        <pc:spChg chg="add del mod">
          <ac:chgData name="Patel, Jignesh" userId="c8f6f643-687e-4b58-941e-b5f86bf4291b" providerId="ADAL" clId="{686DA34C-FF9C-4FF8-9ED7-8615880C0005}" dt="2021-07-12T21:14:19.738" v="5" actId="478"/>
          <ac:spMkLst>
            <pc:docMk/>
            <pc:sldMk cId="3424447147" sldId="9001"/>
            <ac:spMk id="13" creationId="{245618A0-6D42-452E-AF05-C62D48C571F6}"/>
          </ac:spMkLst>
        </pc:spChg>
      </pc:sldChg>
      <pc:sldChg chg="addSp delSp modSp mod">
        <pc:chgData name="Patel, Jignesh" userId="c8f6f643-687e-4b58-941e-b5f86bf4291b" providerId="ADAL" clId="{686DA34C-FF9C-4FF8-9ED7-8615880C0005}" dt="2021-07-12T21:29:42.260" v="6" actId="478"/>
        <pc:sldMkLst>
          <pc:docMk/>
          <pc:sldMk cId="2318716816" sldId="9041"/>
        </pc:sldMkLst>
        <pc:spChg chg="del">
          <ac:chgData name="Patel, Jignesh" userId="c8f6f643-687e-4b58-941e-b5f86bf4291b" providerId="ADAL" clId="{686DA34C-FF9C-4FF8-9ED7-8615880C0005}" dt="2021-07-12T19:35:49.655" v="2" actId="478"/>
          <ac:spMkLst>
            <pc:docMk/>
            <pc:sldMk cId="2318716816" sldId="9041"/>
            <ac:spMk id="5" creationId="{C25A194D-8832-4FB9-A6B7-43CB023BDCA4}"/>
          </ac:spMkLst>
        </pc:spChg>
        <pc:spChg chg="add del mod">
          <ac:chgData name="Patel, Jignesh" userId="c8f6f643-687e-4b58-941e-b5f86bf4291b" providerId="ADAL" clId="{686DA34C-FF9C-4FF8-9ED7-8615880C0005}" dt="2021-07-12T21:29:42.260" v="6" actId="478"/>
          <ac:spMkLst>
            <pc:docMk/>
            <pc:sldMk cId="2318716816" sldId="9041"/>
            <ac:spMk id="6" creationId="{AAD3EF01-0FA1-4DF3-A329-B0D4A60974FC}"/>
          </ac:spMkLst>
        </pc:spChg>
      </pc:sldChg>
    </pc:docChg>
  </pc:docChgLst>
  <pc:docChgLst>
    <pc:chgData name="Jivrajani, Dharini" userId="9f28c9a6-e07b-4de5-8682-ac3f5c875595" providerId="ADAL" clId="{46958D9F-D3DC-425E-B46D-4B0EFD6E93F4}"/>
    <pc:docChg chg="custSel addSld delSld modSld modSection">
      <pc:chgData name="Jivrajani, Dharini" userId="9f28c9a6-e07b-4de5-8682-ac3f5c875595" providerId="ADAL" clId="{46958D9F-D3DC-425E-B46D-4B0EFD6E93F4}" dt="2021-03-29T15:19:04.993" v="11" actId="1076"/>
      <pc:docMkLst>
        <pc:docMk/>
      </pc:docMkLst>
      <pc:sldChg chg="add del">
        <pc:chgData name="Jivrajani, Dharini" userId="9f28c9a6-e07b-4de5-8682-ac3f5c875595" providerId="ADAL" clId="{46958D9F-D3DC-425E-B46D-4B0EFD6E93F4}" dt="2021-03-23T10:38:43.082" v="8"/>
        <pc:sldMkLst>
          <pc:docMk/>
          <pc:sldMk cId="2803360750" sldId="271"/>
        </pc:sldMkLst>
      </pc:sldChg>
      <pc:sldChg chg="add del">
        <pc:chgData name="Jivrajani, Dharini" userId="9f28c9a6-e07b-4de5-8682-ac3f5c875595" providerId="ADAL" clId="{46958D9F-D3DC-425E-B46D-4B0EFD6E93F4}" dt="2021-03-23T10:38:43.082" v="8"/>
        <pc:sldMkLst>
          <pc:docMk/>
          <pc:sldMk cId="3779940784" sldId="272"/>
        </pc:sldMkLst>
      </pc:sldChg>
      <pc:sldChg chg="add del">
        <pc:chgData name="Jivrajani, Dharini" userId="9f28c9a6-e07b-4de5-8682-ac3f5c875595" providerId="ADAL" clId="{46958D9F-D3DC-425E-B46D-4B0EFD6E93F4}" dt="2021-03-23T10:38:43.082" v="8"/>
        <pc:sldMkLst>
          <pc:docMk/>
          <pc:sldMk cId="2838729022" sldId="273"/>
        </pc:sldMkLst>
      </pc:sldChg>
      <pc:sldChg chg="add del">
        <pc:chgData name="Jivrajani, Dharini" userId="9f28c9a6-e07b-4de5-8682-ac3f5c875595" providerId="ADAL" clId="{46958D9F-D3DC-425E-B46D-4B0EFD6E93F4}" dt="2021-03-23T10:38:43.082" v="8"/>
        <pc:sldMkLst>
          <pc:docMk/>
          <pc:sldMk cId="1298414651" sldId="274"/>
        </pc:sldMkLst>
      </pc:sldChg>
      <pc:sldChg chg="add">
        <pc:chgData name="Jivrajani, Dharini" userId="9f28c9a6-e07b-4de5-8682-ac3f5c875595" providerId="ADAL" clId="{46958D9F-D3DC-425E-B46D-4B0EFD6E93F4}" dt="2021-03-23T10:38:43.082" v="8"/>
        <pc:sldMkLst>
          <pc:docMk/>
          <pc:sldMk cId="879275369" sldId="275"/>
        </pc:sldMkLst>
      </pc:sldChg>
      <pc:sldChg chg="add">
        <pc:chgData name="Jivrajani, Dharini" userId="9f28c9a6-e07b-4de5-8682-ac3f5c875595" providerId="ADAL" clId="{46958D9F-D3DC-425E-B46D-4B0EFD6E93F4}" dt="2021-03-23T10:38:43.082" v="8"/>
        <pc:sldMkLst>
          <pc:docMk/>
          <pc:sldMk cId="2823402429" sldId="276"/>
        </pc:sldMkLst>
      </pc:sldChg>
      <pc:sldChg chg="add">
        <pc:chgData name="Jivrajani, Dharini" userId="9f28c9a6-e07b-4de5-8682-ac3f5c875595" providerId="ADAL" clId="{46958D9F-D3DC-425E-B46D-4B0EFD6E93F4}" dt="2021-03-23T10:38:43.082" v="8"/>
        <pc:sldMkLst>
          <pc:docMk/>
          <pc:sldMk cId="2455683379" sldId="277"/>
        </pc:sldMkLst>
      </pc:sldChg>
      <pc:sldChg chg="add">
        <pc:chgData name="Jivrajani, Dharini" userId="9f28c9a6-e07b-4de5-8682-ac3f5c875595" providerId="ADAL" clId="{46958D9F-D3DC-425E-B46D-4B0EFD6E93F4}" dt="2021-03-23T10:38:43.082" v="8"/>
        <pc:sldMkLst>
          <pc:docMk/>
          <pc:sldMk cId="2570198846" sldId="278"/>
        </pc:sldMkLst>
      </pc:sldChg>
      <pc:sldChg chg="add">
        <pc:chgData name="Jivrajani, Dharini" userId="9f28c9a6-e07b-4de5-8682-ac3f5c875595" providerId="ADAL" clId="{46958D9F-D3DC-425E-B46D-4B0EFD6E93F4}" dt="2021-03-23T10:38:43.082" v="8"/>
        <pc:sldMkLst>
          <pc:docMk/>
          <pc:sldMk cId="1595038700" sldId="279"/>
        </pc:sldMkLst>
      </pc:sldChg>
      <pc:sldChg chg="addSp">
        <pc:chgData name="Jivrajani, Dharini" userId="9f28c9a6-e07b-4de5-8682-ac3f5c875595" providerId="ADAL" clId="{46958D9F-D3DC-425E-B46D-4B0EFD6E93F4}" dt="2021-03-23T10:37:31.843" v="7"/>
        <pc:sldMkLst>
          <pc:docMk/>
          <pc:sldMk cId="24609206" sldId="2104"/>
        </pc:sldMkLst>
        <pc:spChg chg="add">
          <ac:chgData name="Jivrajani, Dharini" userId="9f28c9a6-e07b-4de5-8682-ac3f5c875595" providerId="ADAL" clId="{46958D9F-D3DC-425E-B46D-4B0EFD6E93F4}" dt="2021-03-23T10:37:02.992" v="6"/>
          <ac:spMkLst>
            <pc:docMk/>
            <pc:sldMk cId="24609206" sldId="2104"/>
            <ac:spMk id="2" creationId="{6E81900C-A12B-44A5-96B6-40D4B89D56BA}"/>
          </ac:spMkLst>
        </pc:spChg>
        <pc:spChg chg="add">
          <ac:chgData name="Jivrajani, Dharini" userId="9f28c9a6-e07b-4de5-8682-ac3f5c875595" providerId="ADAL" clId="{46958D9F-D3DC-425E-B46D-4B0EFD6E93F4}" dt="2021-03-23T10:37:31.843" v="7"/>
          <ac:spMkLst>
            <pc:docMk/>
            <pc:sldMk cId="24609206" sldId="2104"/>
            <ac:spMk id="4" creationId="{AA0A4519-B1B6-470F-882D-0007F3A9A971}"/>
          </ac:spMkLst>
        </pc:spChg>
      </pc:sldChg>
      <pc:sldChg chg="add del">
        <pc:chgData name="Jivrajani, Dharini" userId="9f28c9a6-e07b-4de5-8682-ac3f5c875595" providerId="ADAL" clId="{46958D9F-D3DC-425E-B46D-4B0EFD6E93F4}" dt="2021-03-23T10:38:43.082" v="8"/>
        <pc:sldMkLst>
          <pc:docMk/>
          <pc:sldMk cId="1807062554" sldId="9014"/>
        </pc:sldMkLst>
      </pc:sldChg>
      <pc:sldChg chg="add modTransition">
        <pc:chgData name="Jivrajani, Dharini" userId="9f28c9a6-e07b-4de5-8682-ac3f5c875595" providerId="ADAL" clId="{46958D9F-D3DC-425E-B46D-4B0EFD6E93F4}" dt="2021-03-23T10:38:43.082" v="8"/>
        <pc:sldMkLst>
          <pc:docMk/>
          <pc:sldMk cId="1422481146" sldId="9016"/>
        </pc:sldMkLst>
      </pc:sldChg>
      <pc:sldChg chg="addSp del">
        <pc:chgData name="Jivrajani, Dharini" userId="9f28c9a6-e07b-4de5-8682-ac3f5c875595" providerId="ADAL" clId="{46958D9F-D3DC-425E-B46D-4B0EFD6E93F4}" dt="2021-03-23T10:52:49.142" v="10" actId="2696"/>
        <pc:sldMkLst>
          <pc:docMk/>
          <pc:sldMk cId="571478568" sldId="9020"/>
        </pc:sldMkLst>
        <pc:spChg chg="add">
          <ac:chgData name="Jivrajani, Dharini" userId="9f28c9a6-e07b-4de5-8682-ac3f5c875595" providerId="ADAL" clId="{46958D9F-D3DC-425E-B46D-4B0EFD6E93F4}" dt="2021-03-23T10:52:37.663" v="9"/>
          <ac:spMkLst>
            <pc:docMk/>
            <pc:sldMk cId="571478568" sldId="9020"/>
            <ac:spMk id="2" creationId="{68E54734-21DA-4A17-81DE-34ED436EF806}"/>
          </ac:spMkLst>
        </pc:spChg>
      </pc:sldChg>
      <pc:sldChg chg="add modTransition">
        <pc:chgData name="Jivrajani, Dharini" userId="9f28c9a6-e07b-4de5-8682-ac3f5c875595" providerId="ADAL" clId="{46958D9F-D3DC-425E-B46D-4B0EFD6E93F4}" dt="2021-03-23T10:38:43.082" v="8"/>
        <pc:sldMkLst>
          <pc:docMk/>
          <pc:sldMk cId="1006597134" sldId="9021"/>
        </pc:sldMkLst>
      </pc:sldChg>
      <pc:sldChg chg="add modTransition">
        <pc:chgData name="Jivrajani, Dharini" userId="9f28c9a6-e07b-4de5-8682-ac3f5c875595" providerId="ADAL" clId="{46958D9F-D3DC-425E-B46D-4B0EFD6E93F4}" dt="2021-03-23T10:38:43.082" v="8"/>
        <pc:sldMkLst>
          <pc:docMk/>
          <pc:sldMk cId="3573479415" sldId="9022"/>
        </pc:sldMkLst>
      </pc:sldChg>
      <pc:sldChg chg="add modTransition">
        <pc:chgData name="Jivrajani, Dharini" userId="9f28c9a6-e07b-4de5-8682-ac3f5c875595" providerId="ADAL" clId="{46958D9F-D3DC-425E-B46D-4B0EFD6E93F4}" dt="2021-03-23T10:38:43.082" v="8"/>
        <pc:sldMkLst>
          <pc:docMk/>
          <pc:sldMk cId="2817612216" sldId="9023"/>
        </pc:sldMkLst>
      </pc:sldChg>
      <pc:sldChg chg="add modTransition">
        <pc:chgData name="Jivrajani, Dharini" userId="9f28c9a6-e07b-4de5-8682-ac3f5c875595" providerId="ADAL" clId="{46958D9F-D3DC-425E-B46D-4B0EFD6E93F4}" dt="2021-03-23T10:38:43.082" v="8"/>
        <pc:sldMkLst>
          <pc:docMk/>
          <pc:sldMk cId="313821740" sldId="9024"/>
        </pc:sldMkLst>
      </pc:sldChg>
      <pc:sldChg chg="add modTransition">
        <pc:chgData name="Jivrajani, Dharini" userId="9f28c9a6-e07b-4de5-8682-ac3f5c875595" providerId="ADAL" clId="{46958D9F-D3DC-425E-B46D-4B0EFD6E93F4}" dt="2021-03-23T10:38:43.082" v="8"/>
        <pc:sldMkLst>
          <pc:docMk/>
          <pc:sldMk cId="340276871" sldId="9028"/>
        </pc:sldMkLst>
      </pc:sldChg>
      <pc:sldChg chg="modSp add modTransition">
        <pc:chgData name="Jivrajani, Dharini" userId="9f28c9a6-e07b-4de5-8682-ac3f5c875595" providerId="ADAL" clId="{46958D9F-D3DC-425E-B46D-4B0EFD6E93F4}" dt="2021-03-29T15:19:04.993" v="11" actId="1076"/>
        <pc:sldMkLst>
          <pc:docMk/>
          <pc:sldMk cId="2269658214" sldId="9049"/>
        </pc:sldMkLst>
        <pc:spChg chg="mod">
          <ac:chgData name="Jivrajani, Dharini" userId="9f28c9a6-e07b-4de5-8682-ac3f5c875595" providerId="ADAL" clId="{46958D9F-D3DC-425E-B46D-4B0EFD6E93F4}" dt="2021-03-29T15:19:04.993" v="11" actId="1076"/>
          <ac:spMkLst>
            <pc:docMk/>
            <pc:sldMk cId="2269658214" sldId="9049"/>
            <ac:spMk id="5" creationId="{D2891B24-4023-41DF-AA3B-BADB48402D05}"/>
          </ac:spMkLst>
        </pc:spChg>
      </pc:sldChg>
      <pc:sldChg chg="add">
        <pc:chgData name="Jivrajani, Dharini" userId="9f28c9a6-e07b-4de5-8682-ac3f5c875595" providerId="ADAL" clId="{46958D9F-D3DC-425E-B46D-4B0EFD6E93F4}" dt="2021-03-23T10:38:43.082" v="8"/>
        <pc:sldMkLst>
          <pc:docMk/>
          <pc:sldMk cId="563829202" sldId="9050"/>
        </pc:sldMkLst>
      </pc:sldChg>
      <pc:sldChg chg="add modTransition">
        <pc:chgData name="Jivrajani, Dharini" userId="9f28c9a6-e07b-4de5-8682-ac3f5c875595" providerId="ADAL" clId="{46958D9F-D3DC-425E-B46D-4B0EFD6E93F4}" dt="2021-03-23T10:38:43.082" v="8"/>
        <pc:sldMkLst>
          <pc:docMk/>
          <pc:sldMk cId="3991502024" sldId="9051"/>
        </pc:sldMkLst>
      </pc:sldChg>
      <pc:sldChg chg="add modTransition">
        <pc:chgData name="Jivrajani, Dharini" userId="9f28c9a6-e07b-4de5-8682-ac3f5c875595" providerId="ADAL" clId="{46958D9F-D3DC-425E-B46D-4B0EFD6E93F4}" dt="2021-03-23T10:38:43.082" v="8"/>
        <pc:sldMkLst>
          <pc:docMk/>
          <pc:sldMk cId="1059558676" sldId="9052"/>
        </pc:sldMkLst>
      </pc:sldChg>
      <pc:sldChg chg="add modTransition">
        <pc:chgData name="Jivrajani, Dharini" userId="9f28c9a6-e07b-4de5-8682-ac3f5c875595" providerId="ADAL" clId="{46958D9F-D3DC-425E-B46D-4B0EFD6E93F4}" dt="2021-03-23T10:38:43.082" v="8"/>
        <pc:sldMkLst>
          <pc:docMk/>
          <pc:sldMk cId="1510578974" sldId="9053"/>
        </pc:sldMkLst>
      </pc:sldChg>
      <pc:sldChg chg="add modTransition">
        <pc:chgData name="Jivrajani, Dharini" userId="9f28c9a6-e07b-4de5-8682-ac3f5c875595" providerId="ADAL" clId="{46958D9F-D3DC-425E-B46D-4B0EFD6E93F4}" dt="2021-03-23T10:38:43.082" v="8"/>
        <pc:sldMkLst>
          <pc:docMk/>
          <pc:sldMk cId="4076837287" sldId="9054"/>
        </pc:sldMkLst>
      </pc:sldChg>
      <pc:sldChg chg="add modTransition">
        <pc:chgData name="Jivrajani, Dharini" userId="9f28c9a6-e07b-4de5-8682-ac3f5c875595" providerId="ADAL" clId="{46958D9F-D3DC-425E-B46D-4B0EFD6E93F4}" dt="2021-03-23T10:38:43.082" v="8"/>
        <pc:sldMkLst>
          <pc:docMk/>
          <pc:sldMk cId="3320310001" sldId="9055"/>
        </pc:sldMkLst>
      </pc:sldChg>
      <pc:sldChg chg="add modTransition">
        <pc:chgData name="Jivrajani, Dharini" userId="9f28c9a6-e07b-4de5-8682-ac3f5c875595" providerId="ADAL" clId="{46958D9F-D3DC-425E-B46D-4B0EFD6E93F4}" dt="2021-03-23T10:38:43.082" v="8"/>
        <pc:sldMkLst>
          <pc:docMk/>
          <pc:sldMk cId="3087619356" sldId="9056"/>
        </pc:sldMkLst>
      </pc:sldChg>
      <pc:sldMasterChg chg="delSldLayout">
        <pc:chgData name="Jivrajani, Dharini" userId="9f28c9a6-e07b-4de5-8682-ac3f5c875595" providerId="ADAL" clId="{46958D9F-D3DC-425E-B46D-4B0EFD6E93F4}" dt="2021-03-23T10:34:17.282" v="5" actId="2696"/>
        <pc:sldMasterMkLst>
          <pc:docMk/>
          <pc:sldMasterMk cId="2442695915" sldId="2147483990"/>
        </pc:sldMasterMkLst>
        <pc:sldLayoutChg chg="del">
          <pc:chgData name="Jivrajani, Dharini" userId="9f28c9a6-e07b-4de5-8682-ac3f5c875595" providerId="ADAL" clId="{46958D9F-D3DC-425E-B46D-4B0EFD6E93F4}" dt="2021-03-23T10:34:17.282" v="5" actId="2696"/>
          <pc:sldLayoutMkLst>
            <pc:docMk/>
            <pc:sldMasterMk cId="2442695915" sldId="2147483990"/>
            <pc:sldLayoutMk cId="1749484389" sldId="2147484104"/>
          </pc:sldLayoutMkLst>
        </pc:sldLayoutChg>
      </pc:sldMasterChg>
    </pc:docChg>
  </pc:docChgLst>
  <pc:docChgLst>
    <pc:chgData name="Sharma Palla, Rakesh" userId="S::rsharmapalla@deloitte.com::10f9904b-c976-486e-940c-ca5698800d24" providerId="AD" clId="Web-{030B7864-84B5-4384-A6CE-FEB26D1B0AE2}"/>
    <pc:docChg chg="modSld">
      <pc:chgData name="Sharma Palla, Rakesh" userId="S::rsharmapalla@deloitte.com::10f9904b-c976-486e-940c-ca5698800d24" providerId="AD" clId="Web-{030B7864-84B5-4384-A6CE-FEB26D1B0AE2}" dt="2020-11-30T18:21:04.747" v="34" actId="20577"/>
      <pc:docMkLst>
        <pc:docMk/>
      </pc:docMkLst>
      <pc:sldChg chg="modSp">
        <pc:chgData name="Sharma Palla, Rakesh" userId="S::rsharmapalla@deloitte.com::10f9904b-c976-486e-940c-ca5698800d24" providerId="AD" clId="Web-{030B7864-84B5-4384-A6CE-FEB26D1B0AE2}" dt="2020-11-30T18:21:04.747" v="34" actId="20577"/>
        <pc:sldMkLst>
          <pc:docMk/>
          <pc:sldMk cId="795272350" sldId="9010"/>
        </pc:sldMkLst>
        <pc:spChg chg="mod">
          <ac:chgData name="Sharma Palla, Rakesh" userId="S::rsharmapalla@deloitte.com::10f9904b-c976-486e-940c-ca5698800d24" providerId="AD" clId="Web-{030B7864-84B5-4384-A6CE-FEB26D1B0AE2}" dt="2020-11-30T18:20:54.997" v="32" actId="20577"/>
          <ac:spMkLst>
            <pc:docMk/>
            <pc:sldMk cId="795272350" sldId="9010"/>
            <ac:spMk id="18" creationId="{E4EEB0BB-CEA4-435D-930A-B95795FCC5A9}"/>
          </ac:spMkLst>
        </pc:spChg>
        <pc:spChg chg="mod">
          <ac:chgData name="Sharma Palla, Rakesh" userId="S::rsharmapalla@deloitte.com::10f9904b-c976-486e-940c-ca5698800d24" providerId="AD" clId="Web-{030B7864-84B5-4384-A6CE-FEB26D1B0AE2}" dt="2020-11-30T18:21:04.747" v="34" actId="20577"/>
          <ac:spMkLst>
            <pc:docMk/>
            <pc:sldMk cId="795272350" sldId="9010"/>
            <ac:spMk id="20" creationId="{97F95232-FAF7-4FBD-A394-067DD3DBBE84}"/>
          </ac:spMkLst>
        </pc:spChg>
        <pc:spChg chg="mod">
          <ac:chgData name="Sharma Palla, Rakesh" userId="S::rsharmapalla@deloitte.com::10f9904b-c976-486e-940c-ca5698800d24" providerId="AD" clId="Web-{030B7864-84B5-4384-A6CE-FEB26D1B0AE2}" dt="2020-11-30T18:20:42.231" v="27" actId="20577"/>
          <ac:spMkLst>
            <pc:docMk/>
            <pc:sldMk cId="795272350" sldId="9010"/>
            <ac:spMk id="22" creationId="{E4EEB0BB-CEA4-435D-930A-B95795FCC5A9}"/>
          </ac:spMkLst>
        </pc:spChg>
      </pc:sldChg>
    </pc:docChg>
  </pc:docChgLst>
  <pc:docChgLst>
    <pc:chgData name="Chinda, Sowjanya" userId="S::schinda@deloitte.com::fc5c6afc-3b7c-40b3-bf0d-c9a2eae19122" providerId="AD" clId="Web-{732EE0A7-D063-40EF-9196-3D5AC0ED7D30}"/>
    <pc:docChg chg="modSld">
      <pc:chgData name="Chinda, Sowjanya" userId="S::schinda@deloitte.com::fc5c6afc-3b7c-40b3-bf0d-c9a2eae19122" providerId="AD" clId="Web-{732EE0A7-D063-40EF-9196-3D5AC0ED7D30}" dt="2021-03-23T07:53:59.716" v="37" actId="20577"/>
      <pc:docMkLst>
        <pc:docMk/>
      </pc:docMkLst>
      <pc:sldChg chg="modSp">
        <pc:chgData name="Chinda, Sowjanya" userId="S::schinda@deloitte.com::fc5c6afc-3b7c-40b3-bf0d-c9a2eae19122" providerId="AD" clId="Web-{732EE0A7-D063-40EF-9196-3D5AC0ED7D30}" dt="2021-03-23T07:53:59.716" v="37" actId="20577"/>
        <pc:sldMkLst>
          <pc:docMk/>
          <pc:sldMk cId="4099786269" sldId="8812"/>
        </pc:sldMkLst>
        <pc:spChg chg="mod">
          <ac:chgData name="Chinda, Sowjanya" userId="S::schinda@deloitte.com::fc5c6afc-3b7c-40b3-bf0d-c9a2eae19122" providerId="AD" clId="Web-{732EE0A7-D063-40EF-9196-3D5AC0ED7D30}" dt="2021-03-23T07:53:59.716" v="37" actId="20577"/>
          <ac:spMkLst>
            <pc:docMk/>
            <pc:sldMk cId="4099786269" sldId="8812"/>
            <ac:spMk id="4" creationId="{00000000-0000-0000-0000-000000000000}"/>
          </ac:spMkLst>
        </pc:spChg>
      </pc:sldChg>
    </pc:docChg>
  </pc:docChgLst>
  <pc:docChgLst>
    <pc:chgData name="Jivrajani, Dharini" userId="S::djivrajani@deloitte.com::9f28c9a6-e07b-4de5-8682-ac3f5c875595" providerId="AD" clId="Web-{FFDD1729-E1B7-49DB-85B6-BB4EDD9F169A}"/>
    <pc:docChg chg="modSld">
      <pc:chgData name="Jivrajani, Dharini" userId="S::djivrajani@deloitte.com::9f28c9a6-e07b-4de5-8682-ac3f5c875595" providerId="AD" clId="Web-{FFDD1729-E1B7-49DB-85B6-BB4EDD9F169A}" dt="2021-06-28T13:28:19.466" v="128" actId="20577"/>
      <pc:docMkLst>
        <pc:docMk/>
      </pc:docMkLst>
      <pc:sldChg chg="modSp">
        <pc:chgData name="Jivrajani, Dharini" userId="S::djivrajani@deloitte.com::9f28c9a6-e07b-4de5-8682-ac3f5c875595" providerId="AD" clId="Web-{FFDD1729-E1B7-49DB-85B6-BB4EDD9F169A}" dt="2021-06-28T13:28:19.466" v="128" actId="20577"/>
        <pc:sldMkLst>
          <pc:docMk/>
          <pc:sldMk cId="3491360341" sldId="8786"/>
        </pc:sldMkLst>
        <pc:spChg chg="mod">
          <ac:chgData name="Jivrajani, Dharini" userId="S::djivrajani@deloitte.com::9f28c9a6-e07b-4de5-8682-ac3f5c875595" providerId="AD" clId="Web-{FFDD1729-E1B7-49DB-85B6-BB4EDD9F169A}" dt="2021-06-28T13:28:19.466" v="128" actId="20577"/>
          <ac:spMkLst>
            <pc:docMk/>
            <pc:sldMk cId="3491360341" sldId="8786"/>
            <ac:spMk id="40" creationId="{121719F8-2A26-490B-BE98-0511C598856F}"/>
          </ac:spMkLst>
        </pc:spChg>
        <pc:spChg chg="mod">
          <ac:chgData name="Jivrajani, Dharini" userId="S::djivrajani@deloitte.com::9f28c9a6-e07b-4de5-8682-ac3f5c875595" providerId="AD" clId="Web-{FFDD1729-E1B7-49DB-85B6-BB4EDD9F169A}" dt="2021-06-28T13:24:35.210" v="12" actId="1076"/>
          <ac:spMkLst>
            <pc:docMk/>
            <pc:sldMk cId="3491360341" sldId="8786"/>
            <ac:spMk id="55" creationId="{28000978-1E9B-46D2-BA47-4CC46A76016A}"/>
          </ac:spMkLst>
        </pc:spChg>
        <pc:grpChg chg="mod">
          <ac:chgData name="Jivrajani, Dharini" userId="S::djivrajani@deloitte.com::9f28c9a6-e07b-4de5-8682-ac3f5c875595" providerId="AD" clId="Web-{FFDD1729-E1B7-49DB-85B6-BB4EDD9F169A}" dt="2021-06-28T13:23:48.537" v="0" actId="1076"/>
          <ac:grpSpMkLst>
            <pc:docMk/>
            <pc:sldMk cId="3491360341" sldId="8786"/>
            <ac:grpSpMk id="6" creationId="{E07FABE6-2EC8-4D51-A59C-8476977608C6}"/>
          </ac:grpSpMkLst>
        </pc:grpChg>
        <pc:graphicFrameChg chg="mod modGraphic">
          <ac:chgData name="Jivrajani, Dharini" userId="S::djivrajani@deloitte.com::9f28c9a6-e07b-4de5-8682-ac3f5c875595" providerId="AD" clId="Web-{FFDD1729-E1B7-49DB-85B6-BB4EDD9F169A}" dt="2021-06-28T13:28:12.028" v="124"/>
          <ac:graphicFrameMkLst>
            <pc:docMk/>
            <pc:sldMk cId="3491360341" sldId="8786"/>
            <ac:graphicFrameMk id="4" creationId="{FE664A44-2B52-48E1-842B-86373307A2AD}"/>
          </ac:graphicFrameMkLst>
        </pc:graphicFrameChg>
      </pc:sldChg>
    </pc:docChg>
  </pc:docChgLst>
  <pc:docChgLst>
    <pc:chgData name="Jivrajani, Dharini" userId="S::djivrajani@deloitte.com::9f28c9a6-e07b-4de5-8682-ac3f5c875595" providerId="AD" clId="Web-{3117FAAA-70BB-4E2D-BD69-13F64C237536}"/>
    <pc:docChg chg="modSld">
      <pc:chgData name="Jivrajani, Dharini" userId="S::djivrajani@deloitte.com::9f28c9a6-e07b-4de5-8682-ac3f5c875595" providerId="AD" clId="Web-{3117FAAA-70BB-4E2D-BD69-13F64C237536}" dt="2020-07-15T10:57:51.547" v="7"/>
      <pc:docMkLst>
        <pc:docMk/>
      </pc:docMkLst>
      <pc:sldChg chg="modSp">
        <pc:chgData name="Jivrajani, Dharini" userId="S::djivrajani@deloitte.com::9f28c9a6-e07b-4de5-8682-ac3f5c875595" providerId="AD" clId="Web-{3117FAAA-70BB-4E2D-BD69-13F64C237536}" dt="2020-07-15T10:57:51.547" v="7"/>
        <pc:sldMkLst>
          <pc:docMk/>
          <pc:sldMk cId="1039189330" sldId="8774"/>
        </pc:sldMkLst>
        <pc:graphicFrameChg chg="mod modGraphic">
          <ac:chgData name="Jivrajani, Dharini" userId="S::djivrajani@deloitte.com::9f28c9a6-e07b-4de5-8682-ac3f5c875595" providerId="AD" clId="Web-{3117FAAA-70BB-4E2D-BD69-13F64C237536}" dt="2020-07-15T10:57:51.547" v="7"/>
          <ac:graphicFrameMkLst>
            <pc:docMk/>
            <pc:sldMk cId="1039189330" sldId="8774"/>
            <ac:graphicFrameMk id="4" creationId="{2AAAC88F-F4B4-4FE3-956E-C3F806D71324}"/>
          </ac:graphicFrameMkLst>
        </pc:graphicFrameChg>
      </pc:sldChg>
    </pc:docChg>
  </pc:docChgLst>
  <pc:docChgLst>
    <pc:chgData name="Prakash, Ankur" userId="S::anprakash@deloitte.com::e5ec4ef6-a8ef-421f-ae1a-afd967453ffe" providerId="AD" clId="Web-{34675035-08C0-423F-B718-1B4F56EEAFA1}"/>
    <pc:docChg chg="modSld">
      <pc:chgData name="Prakash, Ankur" userId="S::anprakash@deloitte.com::e5ec4ef6-a8ef-421f-ae1a-afd967453ffe" providerId="AD" clId="Web-{34675035-08C0-423F-B718-1B4F56EEAFA1}" dt="2020-07-06T13:01:08.543" v="341"/>
      <pc:docMkLst>
        <pc:docMk/>
      </pc:docMkLst>
      <pc:sldChg chg="modSp">
        <pc:chgData name="Prakash, Ankur" userId="S::anprakash@deloitte.com::e5ec4ef6-a8ef-421f-ae1a-afd967453ffe" providerId="AD" clId="Web-{34675035-08C0-423F-B718-1B4F56EEAFA1}" dt="2020-07-06T13:01:08.543" v="341"/>
        <pc:sldMkLst>
          <pc:docMk/>
          <pc:sldMk cId="3377722835" sldId="8772"/>
        </pc:sldMkLst>
        <pc:graphicFrameChg chg="mod modGraphic">
          <ac:chgData name="Prakash, Ankur" userId="S::anprakash@deloitte.com::e5ec4ef6-a8ef-421f-ae1a-afd967453ffe" providerId="AD" clId="Web-{34675035-08C0-423F-B718-1B4F56EEAFA1}" dt="2020-07-06T13:01:08.543" v="341"/>
          <ac:graphicFrameMkLst>
            <pc:docMk/>
            <pc:sldMk cId="3377722835" sldId="8772"/>
            <ac:graphicFrameMk id="2" creationId="{7D8F2493-A0C4-4740-A16F-E066BC79CDD8}"/>
          </ac:graphicFrameMkLst>
        </pc:graphicFrameChg>
      </pc:sldChg>
    </pc:docChg>
  </pc:docChgLst>
  <pc:docChgLst>
    <pc:chgData name="Swarna, Padmini" userId="S::padswarna@deloitte.com::03b348e6-46b3-471e-9507-2b8a34198287" providerId="AD" clId="Web-{D6373344-352B-492F-B561-53B81DCB6100}"/>
    <pc:docChg chg="modSld">
      <pc:chgData name="Swarna, Padmini" userId="S::padswarna@deloitte.com::03b348e6-46b3-471e-9507-2b8a34198287" providerId="AD" clId="Web-{D6373344-352B-492F-B561-53B81DCB6100}" dt="2021-03-23T07:30:43.186" v="9" actId="20577"/>
      <pc:docMkLst>
        <pc:docMk/>
      </pc:docMkLst>
      <pc:sldChg chg="modSp">
        <pc:chgData name="Swarna, Padmini" userId="S::padswarna@deloitte.com::03b348e6-46b3-471e-9507-2b8a34198287" providerId="AD" clId="Web-{D6373344-352B-492F-B561-53B81DCB6100}" dt="2021-03-23T07:30:43.186" v="9" actId="20577"/>
        <pc:sldMkLst>
          <pc:docMk/>
          <pc:sldMk cId="132515051" sldId="9029"/>
        </pc:sldMkLst>
        <pc:spChg chg="mod">
          <ac:chgData name="Swarna, Padmini" userId="S::padswarna@deloitte.com::03b348e6-46b3-471e-9507-2b8a34198287" providerId="AD" clId="Web-{D6373344-352B-492F-B561-53B81DCB6100}" dt="2021-03-23T07:30:43.186" v="9" actId="20577"/>
          <ac:spMkLst>
            <pc:docMk/>
            <pc:sldMk cId="132515051" sldId="9029"/>
            <ac:spMk id="3" creationId="{2B44DC9A-1DE4-4B24-8493-D9073A6B5DAE}"/>
          </ac:spMkLst>
        </pc:spChg>
        <pc:spChg chg="mod">
          <ac:chgData name="Swarna, Padmini" userId="S::padswarna@deloitte.com::03b348e6-46b3-471e-9507-2b8a34198287" providerId="AD" clId="Web-{D6373344-352B-492F-B561-53B81DCB6100}" dt="2021-03-23T07:06:30.658" v="7" actId="20577"/>
          <ac:spMkLst>
            <pc:docMk/>
            <pc:sldMk cId="132515051" sldId="9029"/>
            <ac:spMk id="4" creationId="{3FAEEAA9-008B-43F6-BAE2-39F36A6706FE}"/>
          </ac:spMkLst>
        </pc:spChg>
      </pc:sldChg>
    </pc:docChg>
  </pc:docChgLst>
  <pc:docChgLst>
    <pc:chgData name="Prakash, Ankur" userId="S::anprakash@deloitte.com::e5ec4ef6-a8ef-421f-ae1a-afd967453ffe" providerId="AD" clId="Web-{B09F4039-13BC-48BE-8FE6-624A86635251}"/>
    <pc:docChg chg="modSld">
      <pc:chgData name="Prakash, Ankur" userId="S::anprakash@deloitte.com::e5ec4ef6-a8ef-421f-ae1a-afd967453ffe" providerId="AD" clId="Web-{B09F4039-13BC-48BE-8FE6-624A86635251}" dt="2020-06-11T12:39:12.411" v="229"/>
      <pc:docMkLst>
        <pc:docMk/>
      </pc:docMkLst>
      <pc:sldChg chg="modSp">
        <pc:chgData name="Prakash, Ankur" userId="S::anprakash@deloitte.com::e5ec4ef6-a8ef-421f-ae1a-afd967453ffe" providerId="AD" clId="Web-{B09F4039-13BC-48BE-8FE6-624A86635251}" dt="2020-06-11T12:17:59.040" v="113"/>
        <pc:sldMkLst>
          <pc:docMk/>
          <pc:sldMk cId="1369081146" sldId="8773"/>
        </pc:sldMkLst>
        <pc:graphicFrameChg chg="mod modGraphic">
          <ac:chgData name="Prakash, Ankur" userId="S::anprakash@deloitte.com::e5ec4ef6-a8ef-421f-ae1a-afd967453ffe" providerId="AD" clId="Web-{B09F4039-13BC-48BE-8FE6-624A86635251}" dt="2020-06-11T12:17:59.040" v="113"/>
          <ac:graphicFrameMkLst>
            <pc:docMk/>
            <pc:sldMk cId="1369081146" sldId="8773"/>
            <ac:graphicFrameMk id="4" creationId="{2AAAC88F-F4B4-4FE3-956E-C3F806D71324}"/>
          </ac:graphicFrameMkLst>
        </pc:graphicFrameChg>
      </pc:sldChg>
      <pc:sldChg chg="modSp">
        <pc:chgData name="Prakash, Ankur" userId="S::anprakash@deloitte.com::e5ec4ef6-a8ef-421f-ae1a-afd967453ffe" providerId="AD" clId="Web-{B09F4039-13BC-48BE-8FE6-624A86635251}" dt="2020-06-11T12:04:06.981" v="42"/>
        <pc:sldMkLst>
          <pc:docMk/>
          <pc:sldMk cId="1039189330" sldId="8774"/>
        </pc:sldMkLst>
        <pc:graphicFrameChg chg="mod modGraphic">
          <ac:chgData name="Prakash, Ankur" userId="S::anprakash@deloitte.com::e5ec4ef6-a8ef-421f-ae1a-afd967453ffe" providerId="AD" clId="Web-{B09F4039-13BC-48BE-8FE6-624A86635251}" dt="2020-06-11T12:04:06.981" v="42"/>
          <ac:graphicFrameMkLst>
            <pc:docMk/>
            <pc:sldMk cId="1039189330" sldId="8774"/>
            <ac:graphicFrameMk id="4" creationId="{2AAAC88F-F4B4-4FE3-956E-C3F806D71324}"/>
          </ac:graphicFrameMkLst>
        </pc:graphicFrameChg>
      </pc:sldChg>
      <pc:sldChg chg="modSp">
        <pc:chgData name="Prakash, Ankur" userId="S::anprakash@deloitte.com::e5ec4ef6-a8ef-421f-ae1a-afd967453ffe" providerId="AD" clId="Web-{B09F4039-13BC-48BE-8FE6-624A86635251}" dt="2020-06-11T12:04:15.982" v="56"/>
        <pc:sldMkLst>
          <pc:docMk/>
          <pc:sldMk cId="2407685793" sldId="8775"/>
        </pc:sldMkLst>
        <pc:graphicFrameChg chg="mod modGraphic">
          <ac:chgData name="Prakash, Ankur" userId="S::anprakash@deloitte.com::e5ec4ef6-a8ef-421f-ae1a-afd967453ffe" providerId="AD" clId="Web-{B09F4039-13BC-48BE-8FE6-624A86635251}" dt="2020-06-11T12:04:15.982" v="56"/>
          <ac:graphicFrameMkLst>
            <pc:docMk/>
            <pc:sldMk cId="2407685793" sldId="8775"/>
            <ac:graphicFrameMk id="4" creationId="{2AAAC88F-F4B4-4FE3-956E-C3F806D71324}"/>
          </ac:graphicFrameMkLst>
        </pc:graphicFrameChg>
      </pc:sldChg>
      <pc:sldChg chg="modSp">
        <pc:chgData name="Prakash, Ankur" userId="S::anprakash@deloitte.com::e5ec4ef6-a8ef-421f-ae1a-afd967453ffe" providerId="AD" clId="Web-{B09F4039-13BC-48BE-8FE6-624A86635251}" dt="2020-06-11T12:04:37.639" v="71" actId="1076"/>
        <pc:sldMkLst>
          <pc:docMk/>
          <pc:sldMk cId="568126937" sldId="8777"/>
        </pc:sldMkLst>
        <pc:spChg chg="mod">
          <ac:chgData name="Prakash, Ankur" userId="S::anprakash@deloitte.com::e5ec4ef6-a8ef-421f-ae1a-afd967453ffe" providerId="AD" clId="Web-{B09F4039-13BC-48BE-8FE6-624A86635251}" dt="2020-06-11T12:04:37.639" v="71" actId="1076"/>
          <ac:spMkLst>
            <pc:docMk/>
            <pc:sldMk cId="568126937" sldId="8777"/>
            <ac:spMk id="3" creationId="{7522B76D-147D-43E1-AD0B-898E5F384705}"/>
          </ac:spMkLst>
        </pc:spChg>
      </pc:sldChg>
      <pc:sldChg chg="modSp">
        <pc:chgData name="Prakash, Ankur" userId="S::anprakash@deloitte.com::e5ec4ef6-a8ef-421f-ae1a-afd967453ffe" providerId="AD" clId="Web-{B09F4039-13BC-48BE-8FE6-624A86635251}" dt="2020-06-11T12:27:27.127" v="141" actId="20577"/>
        <pc:sldMkLst>
          <pc:docMk/>
          <pc:sldMk cId="2506138062" sldId="8782"/>
        </pc:sldMkLst>
        <pc:spChg chg="mod">
          <ac:chgData name="Prakash, Ankur" userId="S::anprakash@deloitte.com::e5ec4ef6-a8ef-421f-ae1a-afd967453ffe" providerId="AD" clId="Web-{B09F4039-13BC-48BE-8FE6-624A86635251}" dt="2020-06-11T12:27:27.127" v="141" actId="20577"/>
          <ac:spMkLst>
            <pc:docMk/>
            <pc:sldMk cId="2506138062" sldId="8782"/>
            <ac:spMk id="4" creationId="{3FAEEAA9-008B-43F6-BAE2-39F36A6706FE}"/>
          </ac:spMkLst>
        </pc:spChg>
        <pc:spChg chg="mod">
          <ac:chgData name="Prakash, Ankur" userId="S::anprakash@deloitte.com::e5ec4ef6-a8ef-421f-ae1a-afd967453ffe" providerId="AD" clId="Web-{B09F4039-13BC-48BE-8FE6-624A86635251}" dt="2020-06-11T12:25:55.277" v="127" actId="20577"/>
          <ac:spMkLst>
            <pc:docMk/>
            <pc:sldMk cId="2506138062" sldId="8782"/>
            <ac:spMk id="9" creationId="{DFF8BB62-12B9-49CA-9340-4A09AED59F59}"/>
          </ac:spMkLst>
        </pc:spChg>
      </pc:sldChg>
      <pc:sldChg chg="modSp">
        <pc:chgData name="Prakash, Ankur" userId="S::anprakash@deloitte.com::e5ec4ef6-a8ef-421f-ae1a-afd967453ffe" providerId="AD" clId="Web-{B09F4039-13BC-48BE-8FE6-624A86635251}" dt="2020-06-11T12:35:47.475" v="179" actId="20577"/>
        <pc:sldMkLst>
          <pc:docMk/>
          <pc:sldMk cId="1709308679" sldId="8783"/>
        </pc:sldMkLst>
        <pc:spChg chg="mod">
          <ac:chgData name="Prakash, Ankur" userId="S::anprakash@deloitte.com::e5ec4ef6-a8ef-421f-ae1a-afd967453ffe" providerId="AD" clId="Web-{B09F4039-13BC-48BE-8FE6-624A86635251}" dt="2020-06-11T12:29:53.997" v="144" actId="20577"/>
          <ac:spMkLst>
            <pc:docMk/>
            <pc:sldMk cId="1709308679" sldId="8783"/>
            <ac:spMk id="6" creationId="{9C163676-2CF3-4FA5-9828-5A9969A379CA}"/>
          </ac:spMkLst>
        </pc:spChg>
        <pc:spChg chg="mod">
          <ac:chgData name="Prakash, Ankur" userId="S::anprakash@deloitte.com::e5ec4ef6-a8ef-421f-ae1a-afd967453ffe" providerId="AD" clId="Web-{B09F4039-13BC-48BE-8FE6-624A86635251}" dt="2020-06-11T12:35:47.475" v="179" actId="20577"/>
          <ac:spMkLst>
            <pc:docMk/>
            <pc:sldMk cId="1709308679" sldId="8783"/>
            <ac:spMk id="13" creationId="{EF8A928F-790F-4408-9D94-F7104E6CE2DC}"/>
          </ac:spMkLst>
        </pc:spChg>
        <pc:spChg chg="mod">
          <ac:chgData name="Prakash, Ankur" userId="S::anprakash@deloitte.com::e5ec4ef6-a8ef-421f-ae1a-afd967453ffe" providerId="AD" clId="Web-{B09F4039-13BC-48BE-8FE6-624A86635251}" dt="2020-06-11T12:30:17.514" v="148" actId="20577"/>
          <ac:spMkLst>
            <pc:docMk/>
            <pc:sldMk cId="1709308679" sldId="8783"/>
            <ac:spMk id="14" creationId="{E000F57D-05FA-4E5A-8E44-848A42C21BE2}"/>
          </ac:spMkLst>
        </pc:spChg>
      </pc:sldChg>
      <pc:sldChg chg="modSp">
        <pc:chgData name="Prakash, Ankur" userId="S::anprakash@deloitte.com::e5ec4ef6-a8ef-421f-ae1a-afd967453ffe" providerId="AD" clId="Web-{B09F4039-13BC-48BE-8FE6-624A86635251}" dt="2020-06-11T12:39:12.411" v="229"/>
        <pc:sldMkLst>
          <pc:docMk/>
          <pc:sldMk cId="3491360341" sldId="8786"/>
        </pc:sldMkLst>
        <pc:spChg chg="mod">
          <ac:chgData name="Prakash, Ankur" userId="S::anprakash@deloitte.com::e5ec4ef6-a8ef-421f-ae1a-afd967453ffe" providerId="AD" clId="Web-{B09F4039-13BC-48BE-8FE6-624A86635251}" dt="2020-06-11T12:38:24.939" v="201" actId="20577"/>
          <ac:spMkLst>
            <pc:docMk/>
            <pc:sldMk cId="3491360341" sldId="8786"/>
            <ac:spMk id="40" creationId="{121719F8-2A26-490B-BE98-0511C598856F}"/>
          </ac:spMkLst>
        </pc:spChg>
        <pc:graphicFrameChg chg="mod modGraphic">
          <ac:chgData name="Prakash, Ankur" userId="S::anprakash@deloitte.com::e5ec4ef6-a8ef-421f-ae1a-afd967453ffe" providerId="AD" clId="Web-{B09F4039-13BC-48BE-8FE6-624A86635251}" dt="2020-06-11T12:39:12.411" v="229"/>
          <ac:graphicFrameMkLst>
            <pc:docMk/>
            <pc:sldMk cId="3491360341" sldId="8786"/>
            <ac:graphicFrameMk id="4" creationId="{FE664A44-2B52-48E1-842B-86373307A2AD}"/>
          </ac:graphicFrameMkLst>
        </pc:graphicFrameChg>
      </pc:sldChg>
      <pc:sldChg chg="modSp">
        <pc:chgData name="Prakash, Ankur" userId="S::anprakash@deloitte.com::e5ec4ef6-a8ef-421f-ae1a-afd967453ffe" providerId="AD" clId="Web-{B09F4039-13BC-48BE-8FE6-624A86635251}" dt="2020-06-11T12:34:55.159" v="170" actId="20577"/>
        <pc:sldMkLst>
          <pc:docMk/>
          <pc:sldMk cId="2399400722" sldId="8809"/>
        </pc:sldMkLst>
        <pc:spChg chg="mod">
          <ac:chgData name="Prakash, Ankur" userId="S::anprakash@deloitte.com::e5ec4ef6-a8ef-421f-ae1a-afd967453ffe" providerId="AD" clId="Web-{B09F4039-13BC-48BE-8FE6-624A86635251}" dt="2020-06-11T12:33:34.715" v="156" actId="20577"/>
          <ac:spMkLst>
            <pc:docMk/>
            <pc:sldMk cId="2399400722" sldId="8809"/>
            <ac:spMk id="2" creationId="{84D18CB2-B123-430E-9C92-802E3595183B}"/>
          </ac:spMkLst>
        </pc:spChg>
        <pc:spChg chg="mod">
          <ac:chgData name="Prakash, Ankur" userId="S::anprakash@deloitte.com::e5ec4ef6-a8ef-421f-ae1a-afd967453ffe" providerId="AD" clId="Web-{B09F4039-13BC-48BE-8FE6-624A86635251}" dt="2020-06-11T12:34:55.159" v="170" actId="20577"/>
          <ac:spMkLst>
            <pc:docMk/>
            <pc:sldMk cId="2399400722" sldId="8809"/>
            <ac:spMk id="7" creationId="{BD52B5DB-DDAB-4EC0-94A0-8CED04FAB517}"/>
          </ac:spMkLst>
        </pc:spChg>
      </pc:sldChg>
    </pc:docChg>
  </pc:docChgLst>
  <pc:docChgLst>
    <pc:chgData name="Zhong, Rose" userId="S::rozhong@deloitte.com::91b20ec7-2220-4f96-9b07-259aafca34b3" providerId="AD" clId="Web-{C5B42872-E301-4F53-AA8B-A7C83BA2A2B7}"/>
    <pc:docChg chg="addSld delSld modSld addMainMaster modSection">
      <pc:chgData name="Zhong, Rose" userId="S::rozhong@deloitte.com::91b20ec7-2220-4f96-9b07-259aafca34b3" providerId="AD" clId="Web-{C5B42872-E301-4F53-AA8B-A7C83BA2A2B7}" dt="2020-10-30T02:58:25.906" v="27" actId="1076"/>
      <pc:docMkLst>
        <pc:docMk/>
      </pc:docMkLst>
      <pc:sldChg chg="modSp">
        <pc:chgData name="Zhong, Rose" userId="S::rozhong@deloitte.com::91b20ec7-2220-4f96-9b07-259aafca34b3" providerId="AD" clId="Web-{C5B42872-E301-4F53-AA8B-A7C83BA2A2B7}" dt="2020-10-30T02:58:25.906" v="27" actId="1076"/>
        <pc:sldMkLst>
          <pc:docMk/>
          <pc:sldMk cId="2138715199" sldId="8833"/>
        </pc:sldMkLst>
        <pc:spChg chg="mod">
          <ac:chgData name="Zhong, Rose" userId="S::rozhong@deloitte.com::91b20ec7-2220-4f96-9b07-259aafca34b3" providerId="AD" clId="Web-{C5B42872-E301-4F53-AA8B-A7C83BA2A2B7}" dt="2020-10-30T02:58:25.906" v="27" actId="1076"/>
          <ac:spMkLst>
            <pc:docMk/>
            <pc:sldMk cId="2138715199" sldId="8833"/>
            <ac:spMk id="5" creationId="{04E3B074-3CBA-41FE-9B88-0578E5E688CC}"/>
          </ac:spMkLst>
        </pc:spChg>
        <pc:graphicFrameChg chg="mod modGraphic">
          <ac:chgData name="Zhong, Rose" userId="S::rozhong@deloitte.com::91b20ec7-2220-4f96-9b07-259aafca34b3" providerId="AD" clId="Web-{C5B42872-E301-4F53-AA8B-A7C83BA2A2B7}" dt="2020-10-30T02:58:22.140" v="26"/>
          <ac:graphicFrameMkLst>
            <pc:docMk/>
            <pc:sldMk cId="2138715199" sldId="8833"/>
            <ac:graphicFrameMk id="2" creationId="{DBFB0C01-4024-4DDF-BB08-6AA678F60360}"/>
          </ac:graphicFrameMkLst>
        </pc:graphicFrameChg>
      </pc:sldChg>
      <pc:sldChg chg="del">
        <pc:chgData name="Zhong, Rose" userId="S::rozhong@deloitte.com::91b20ec7-2220-4f96-9b07-259aafca34b3" providerId="AD" clId="Web-{C5B42872-E301-4F53-AA8B-A7C83BA2A2B7}" dt="2020-10-30T02:57:44.403" v="0"/>
        <pc:sldMkLst>
          <pc:docMk/>
          <pc:sldMk cId="3911023700" sldId="8997"/>
        </pc:sldMkLst>
      </pc:sldChg>
      <pc:sldChg chg="add">
        <pc:chgData name="Zhong, Rose" userId="S::rozhong@deloitte.com::91b20ec7-2220-4f96-9b07-259aafca34b3" providerId="AD" clId="Web-{C5B42872-E301-4F53-AA8B-A7C83BA2A2B7}" dt="2020-10-30T02:57:57.967" v="1"/>
        <pc:sldMkLst>
          <pc:docMk/>
          <pc:sldMk cId="678701893" sldId="9006"/>
        </pc:sldMkLst>
      </pc:sldChg>
      <pc:sldChg chg="add">
        <pc:chgData name="Zhong, Rose" userId="S::rozhong@deloitte.com::91b20ec7-2220-4f96-9b07-259aafca34b3" providerId="AD" clId="Web-{C5B42872-E301-4F53-AA8B-A7C83BA2A2B7}" dt="2020-10-30T02:57:58.170" v="2"/>
        <pc:sldMkLst>
          <pc:docMk/>
          <pc:sldMk cId="1736536038" sldId="9007"/>
        </pc:sldMkLst>
      </pc:sldChg>
      <pc:sldMasterChg chg="add addSldLayout">
        <pc:chgData name="Zhong, Rose" userId="S::rozhong@deloitte.com::91b20ec7-2220-4f96-9b07-259aafca34b3" providerId="AD" clId="Web-{C5B42872-E301-4F53-AA8B-A7C83BA2A2B7}" dt="2020-10-30T02:57:57.967" v="1"/>
        <pc:sldMasterMkLst>
          <pc:docMk/>
          <pc:sldMasterMk cId="2552472250" sldId="2147483687"/>
        </pc:sldMasterMkLst>
        <pc:sldLayoutChg chg="add">
          <pc:chgData name="Zhong, Rose" userId="S::rozhong@deloitte.com::91b20ec7-2220-4f96-9b07-259aafca34b3" providerId="AD" clId="Web-{C5B42872-E301-4F53-AA8B-A7C83BA2A2B7}" dt="2020-10-30T02:57:57.967" v="1"/>
          <pc:sldLayoutMkLst>
            <pc:docMk/>
            <pc:sldMasterMk cId="2552472250" sldId="2147483687"/>
            <pc:sldLayoutMk cId="2204460921" sldId="2147483688"/>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713779778" sldId="2147483689"/>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335734629" sldId="2147483690"/>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2601959958" sldId="2147483691"/>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3748464061" sldId="2147483692"/>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1234415721" sldId="2147483693"/>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314686087" sldId="2147483694"/>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2192717930" sldId="2147483695"/>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3741236867" sldId="2147483696"/>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1952248281" sldId="2147483697"/>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3739037788" sldId="2147483698"/>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4139844939" sldId="2147483699"/>
          </pc:sldLayoutMkLst>
        </pc:sldLayoutChg>
        <pc:sldLayoutChg chg="add">
          <pc:chgData name="Zhong, Rose" userId="S::rozhong@deloitte.com::91b20ec7-2220-4f96-9b07-259aafca34b3" providerId="AD" clId="Web-{C5B42872-E301-4F53-AA8B-A7C83BA2A2B7}" dt="2020-10-30T02:57:57.967" v="1"/>
          <pc:sldLayoutMkLst>
            <pc:docMk/>
            <pc:sldMasterMk cId="2552472250" sldId="2147483687"/>
            <pc:sldLayoutMk cId="3430382864" sldId="2147483700"/>
          </pc:sldLayoutMkLst>
        </pc:sldLayoutChg>
      </pc:sldMasterChg>
    </pc:docChg>
  </pc:docChgLst>
  <pc:docChgLst>
    <pc:chgData name="Patel, Jignesh" userId="S::jignpatel@deloitte.com::c8f6f643-687e-4b58-941e-b5f86bf4291b" providerId="AD" clId="Web-{FE4478E7-C2A8-48E0-861B-6C46902F5B13}"/>
    <pc:docChg chg="modSld">
      <pc:chgData name="Patel, Jignesh" userId="S::jignpatel@deloitte.com::c8f6f643-687e-4b58-941e-b5f86bf4291b" providerId="AD" clId="Web-{FE4478E7-C2A8-48E0-861B-6C46902F5B13}" dt="2021-03-22T17:24:09.819" v="9" actId="20577"/>
      <pc:docMkLst>
        <pc:docMk/>
      </pc:docMkLst>
      <pc:sldChg chg="modSp">
        <pc:chgData name="Patel, Jignesh" userId="S::jignpatel@deloitte.com::c8f6f643-687e-4b58-941e-b5f86bf4291b" providerId="AD" clId="Web-{FE4478E7-C2A8-48E0-861B-6C46902F5B13}" dt="2021-03-22T17:24:09.819" v="9" actId="20577"/>
        <pc:sldMkLst>
          <pc:docMk/>
          <pc:sldMk cId="3148283714" sldId="8987"/>
        </pc:sldMkLst>
        <pc:spChg chg="mod">
          <ac:chgData name="Patel, Jignesh" userId="S::jignpatel@deloitte.com::c8f6f643-687e-4b58-941e-b5f86bf4291b" providerId="AD" clId="Web-{FE4478E7-C2A8-48E0-861B-6C46902F5B13}" dt="2021-03-22T17:24:09.819" v="9" actId="20577"/>
          <ac:spMkLst>
            <pc:docMk/>
            <pc:sldMk cId="3148283714" sldId="8987"/>
            <ac:spMk id="13" creationId="{00000000-0000-0000-0000-000000000000}"/>
          </ac:spMkLst>
        </pc:spChg>
      </pc:sldChg>
    </pc:docChg>
  </pc:docChgLst>
  <pc:docChgLst>
    <pc:chgData name="Ghosh, Anindya" userId="S::anighosh@deloitte.com::1c8636f3-f28e-411c-9bbf-d78a395a60f5" providerId="AD" clId="Web-{90B012F1-122C-45BE-BC40-CCB2918015CF}"/>
    <pc:docChg chg="modSld">
      <pc:chgData name="Ghosh, Anindya" userId="S::anighosh@deloitte.com::1c8636f3-f28e-411c-9bbf-d78a395a60f5" providerId="AD" clId="Web-{90B012F1-122C-45BE-BC40-CCB2918015CF}" dt="2021-07-12T15:20:47.154" v="9" actId="20577"/>
      <pc:docMkLst>
        <pc:docMk/>
      </pc:docMkLst>
      <pc:sldChg chg="modSp">
        <pc:chgData name="Ghosh, Anindya" userId="S::anighosh@deloitte.com::1c8636f3-f28e-411c-9bbf-d78a395a60f5" providerId="AD" clId="Web-{90B012F1-122C-45BE-BC40-CCB2918015CF}" dt="2021-07-12T15:20:47.154" v="9" actId="20577"/>
        <pc:sldMkLst>
          <pc:docMk/>
          <pc:sldMk cId="4169581344" sldId="8798"/>
        </pc:sldMkLst>
        <pc:spChg chg="mod">
          <ac:chgData name="Ghosh, Anindya" userId="S::anighosh@deloitte.com::1c8636f3-f28e-411c-9bbf-d78a395a60f5" providerId="AD" clId="Web-{90B012F1-122C-45BE-BC40-CCB2918015CF}" dt="2021-07-12T15:20:47.154" v="9" actId="20577"/>
          <ac:spMkLst>
            <pc:docMk/>
            <pc:sldMk cId="4169581344" sldId="8798"/>
            <ac:spMk id="8" creationId="{71212121-086E-4BFC-AAF6-26CCEC0960A9}"/>
          </ac:spMkLst>
        </pc:spChg>
      </pc:sldChg>
    </pc:docChg>
  </pc:docChgLst>
  <pc:docChgLst>
    <pc:chgData name="Jivrajani, Dharini" userId="9f28c9a6-e07b-4de5-8682-ac3f5c875595" providerId="ADAL" clId="{389EFCBC-8BC7-4E81-B248-25BB98324661}"/>
    <pc:docChg chg="undo custSel addSld delSld modSld sldOrd modSection">
      <pc:chgData name="Jivrajani, Dharini" userId="9f28c9a6-e07b-4de5-8682-ac3f5c875595" providerId="ADAL" clId="{389EFCBC-8BC7-4E81-B248-25BB98324661}" dt="2020-10-27T21:10:02.885" v="1425" actId="20577"/>
      <pc:docMkLst>
        <pc:docMk/>
      </pc:docMkLst>
      <pc:sldChg chg="modSp">
        <pc:chgData name="Jivrajani, Dharini" userId="9f28c9a6-e07b-4de5-8682-ac3f5c875595" providerId="ADAL" clId="{389EFCBC-8BC7-4E81-B248-25BB98324661}" dt="2020-10-19T12:35:35.130" v="17" actId="20577"/>
        <pc:sldMkLst>
          <pc:docMk/>
          <pc:sldMk cId="3661564267" sldId="257"/>
        </pc:sldMkLst>
        <pc:spChg chg="mod">
          <ac:chgData name="Jivrajani, Dharini" userId="9f28c9a6-e07b-4de5-8682-ac3f5c875595" providerId="ADAL" clId="{389EFCBC-8BC7-4E81-B248-25BB98324661}" dt="2020-10-19T12:35:35.130" v="17" actId="20577"/>
          <ac:spMkLst>
            <pc:docMk/>
            <pc:sldMk cId="3661564267" sldId="257"/>
            <ac:spMk id="4" creationId="{00000000-0000-0000-0000-000000000000}"/>
          </ac:spMkLst>
        </pc:spChg>
      </pc:sldChg>
      <pc:sldChg chg="modSp">
        <pc:chgData name="Jivrajani, Dharini" userId="9f28c9a6-e07b-4de5-8682-ac3f5c875595" providerId="ADAL" clId="{389EFCBC-8BC7-4E81-B248-25BB98324661}" dt="2020-10-19T19:50:36.037" v="1007" actId="20577"/>
        <pc:sldMkLst>
          <pc:docMk/>
          <pc:sldMk cId="378404546" sldId="451"/>
        </pc:sldMkLst>
        <pc:spChg chg="mod">
          <ac:chgData name="Jivrajani, Dharini" userId="9f28c9a6-e07b-4de5-8682-ac3f5c875595" providerId="ADAL" clId="{389EFCBC-8BC7-4E81-B248-25BB98324661}" dt="2020-10-19T19:50:36.037" v="1007" actId="20577"/>
          <ac:spMkLst>
            <pc:docMk/>
            <pc:sldMk cId="378404546" sldId="451"/>
            <ac:spMk id="20" creationId="{666C078A-A36E-442C-AB80-200A7BB0088B}"/>
          </ac:spMkLst>
        </pc:spChg>
      </pc:sldChg>
      <pc:sldChg chg="addSp modSp">
        <pc:chgData name="Jivrajani, Dharini" userId="9f28c9a6-e07b-4de5-8682-ac3f5c875595" providerId="ADAL" clId="{389EFCBC-8BC7-4E81-B248-25BB98324661}" dt="2020-10-19T19:53:46.646" v="1015" actId="255"/>
        <pc:sldMkLst>
          <pc:docMk/>
          <pc:sldMk cId="583554324" sldId="8476"/>
        </pc:sldMkLst>
        <pc:spChg chg="mod">
          <ac:chgData name="Jivrajani, Dharini" userId="9f28c9a6-e07b-4de5-8682-ac3f5c875595" providerId="ADAL" clId="{389EFCBC-8BC7-4E81-B248-25BB98324661}" dt="2020-10-19T19:53:38.677" v="1014" actId="1076"/>
          <ac:spMkLst>
            <pc:docMk/>
            <pc:sldMk cId="583554324" sldId="8476"/>
            <ac:spMk id="4" creationId="{31D65F62-D1CC-49DC-927F-7FDE268A7286}"/>
          </ac:spMkLst>
        </pc:spChg>
        <pc:spChg chg="add mod">
          <ac:chgData name="Jivrajani, Dharini" userId="9f28c9a6-e07b-4de5-8682-ac3f5c875595" providerId="ADAL" clId="{389EFCBC-8BC7-4E81-B248-25BB98324661}" dt="2020-10-19T19:53:46.646" v="1015" actId="255"/>
          <ac:spMkLst>
            <pc:docMk/>
            <pc:sldMk cId="583554324" sldId="8476"/>
            <ac:spMk id="6" creationId="{C773001F-DFA0-4E69-8D5E-CE1A14018C39}"/>
          </ac:spMkLst>
        </pc:spChg>
      </pc:sldChg>
      <pc:sldChg chg="modSp">
        <pc:chgData name="Jivrajani, Dharini" userId="9f28c9a6-e07b-4de5-8682-ac3f5c875595" providerId="ADAL" clId="{389EFCBC-8BC7-4E81-B248-25BB98324661}" dt="2020-10-20T17:12:20.466" v="1323" actId="14734"/>
        <pc:sldMkLst>
          <pc:docMk/>
          <pc:sldMk cId="1369081146" sldId="8773"/>
        </pc:sldMkLst>
        <pc:spChg chg="mod">
          <ac:chgData name="Jivrajani, Dharini" userId="9f28c9a6-e07b-4de5-8682-ac3f5c875595" providerId="ADAL" clId="{389EFCBC-8BC7-4E81-B248-25BB98324661}" dt="2020-10-19T12:36:09.716" v="30" actId="20577"/>
          <ac:spMkLst>
            <pc:docMk/>
            <pc:sldMk cId="1369081146" sldId="8773"/>
            <ac:spMk id="698369" creationId="{00000000-0000-0000-0000-000000000000}"/>
          </ac:spMkLst>
        </pc:spChg>
        <pc:graphicFrameChg chg="modGraphic">
          <ac:chgData name="Jivrajani, Dharini" userId="9f28c9a6-e07b-4de5-8682-ac3f5c875595" providerId="ADAL" clId="{389EFCBC-8BC7-4E81-B248-25BB98324661}" dt="2020-10-20T17:12:20.466" v="1323" actId="14734"/>
          <ac:graphicFrameMkLst>
            <pc:docMk/>
            <pc:sldMk cId="1369081146" sldId="8773"/>
            <ac:graphicFrameMk id="4" creationId="{2AAAC88F-F4B4-4FE3-956E-C3F806D71324}"/>
          </ac:graphicFrameMkLst>
        </pc:graphicFrameChg>
      </pc:sldChg>
      <pc:sldChg chg="modSp">
        <pc:chgData name="Jivrajani, Dharini" userId="9f28c9a6-e07b-4de5-8682-ac3f5c875595" providerId="ADAL" clId="{389EFCBC-8BC7-4E81-B248-25BB98324661}" dt="2020-10-19T12:53:57.312" v="526" actId="20577"/>
        <pc:sldMkLst>
          <pc:docMk/>
          <pc:sldMk cId="1039189330" sldId="8774"/>
        </pc:sldMkLst>
        <pc:spChg chg="mod">
          <ac:chgData name="Jivrajani, Dharini" userId="9f28c9a6-e07b-4de5-8682-ac3f5c875595" providerId="ADAL" clId="{389EFCBC-8BC7-4E81-B248-25BB98324661}" dt="2020-10-19T12:47:36.016" v="484" actId="20577"/>
          <ac:spMkLst>
            <pc:docMk/>
            <pc:sldMk cId="1039189330" sldId="8774"/>
            <ac:spMk id="5" creationId="{BDFC5B9C-AB1B-472D-B8E8-003403F9A3E9}"/>
          </ac:spMkLst>
        </pc:spChg>
        <pc:graphicFrameChg chg="modGraphic">
          <ac:chgData name="Jivrajani, Dharini" userId="9f28c9a6-e07b-4de5-8682-ac3f5c875595" providerId="ADAL" clId="{389EFCBC-8BC7-4E81-B248-25BB98324661}" dt="2020-10-19T12:53:57.312" v="526" actId="20577"/>
          <ac:graphicFrameMkLst>
            <pc:docMk/>
            <pc:sldMk cId="1039189330" sldId="8774"/>
            <ac:graphicFrameMk id="4" creationId="{2AAAC88F-F4B4-4FE3-956E-C3F806D71324}"/>
          </ac:graphicFrameMkLst>
        </pc:graphicFrameChg>
      </pc:sldChg>
      <pc:sldChg chg="modSp">
        <pc:chgData name="Jivrajani, Dharini" userId="9f28c9a6-e07b-4de5-8682-ac3f5c875595" providerId="ADAL" clId="{389EFCBC-8BC7-4E81-B248-25BB98324661}" dt="2020-10-19T12:55:40.277" v="615" actId="20577"/>
        <pc:sldMkLst>
          <pc:docMk/>
          <pc:sldMk cId="2407685793" sldId="8775"/>
        </pc:sldMkLst>
        <pc:spChg chg="mod">
          <ac:chgData name="Jivrajani, Dharini" userId="9f28c9a6-e07b-4de5-8682-ac3f5c875595" providerId="ADAL" clId="{389EFCBC-8BC7-4E81-B248-25BB98324661}" dt="2020-10-19T12:54:09.815" v="539" actId="20577"/>
          <ac:spMkLst>
            <pc:docMk/>
            <pc:sldMk cId="2407685793" sldId="8775"/>
            <ac:spMk id="5" creationId="{5BC0E948-6F66-4F47-BA40-6C553B9AB1E4}"/>
          </ac:spMkLst>
        </pc:spChg>
        <pc:graphicFrameChg chg="modGraphic">
          <ac:chgData name="Jivrajani, Dharini" userId="9f28c9a6-e07b-4de5-8682-ac3f5c875595" providerId="ADAL" clId="{389EFCBC-8BC7-4E81-B248-25BB98324661}" dt="2020-10-19T12:55:40.277" v="615" actId="20577"/>
          <ac:graphicFrameMkLst>
            <pc:docMk/>
            <pc:sldMk cId="2407685793" sldId="8775"/>
            <ac:graphicFrameMk id="4" creationId="{2AAAC88F-F4B4-4FE3-956E-C3F806D71324}"/>
          </ac:graphicFrameMkLst>
        </pc:graphicFrameChg>
      </pc:sldChg>
      <pc:sldChg chg="modSp add del">
        <pc:chgData name="Jivrajani, Dharini" userId="9f28c9a6-e07b-4de5-8682-ac3f5c875595" providerId="ADAL" clId="{389EFCBC-8BC7-4E81-B248-25BB98324661}" dt="2020-10-27T12:17:20.850" v="1414" actId="13926"/>
        <pc:sldMkLst>
          <pc:docMk/>
          <pc:sldMk cId="2506138062" sldId="8782"/>
        </pc:sldMkLst>
        <pc:spChg chg="mod">
          <ac:chgData name="Jivrajani, Dharini" userId="9f28c9a6-e07b-4de5-8682-ac3f5c875595" providerId="ADAL" clId="{389EFCBC-8BC7-4E81-B248-25BB98324661}" dt="2020-10-27T12:15:41.804" v="1377" actId="20577"/>
          <ac:spMkLst>
            <pc:docMk/>
            <pc:sldMk cId="2506138062" sldId="8782"/>
            <ac:spMk id="3" creationId="{2B44DC9A-1DE4-4B24-8493-D9073A6B5DAE}"/>
          </ac:spMkLst>
        </pc:spChg>
        <pc:spChg chg="mod">
          <ac:chgData name="Jivrajani, Dharini" userId="9f28c9a6-e07b-4de5-8682-ac3f5c875595" providerId="ADAL" clId="{389EFCBC-8BC7-4E81-B248-25BB98324661}" dt="2020-10-27T12:17:20.850" v="1414" actId="13926"/>
          <ac:spMkLst>
            <pc:docMk/>
            <pc:sldMk cId="2506138062" sldId="8782"/>
            <ac:spMk id="4" creationId="{3FAEEAA9-008B-43F6-BAE2-39F36A6706FE}"/>
          </ac:spMkLst>
        </pc:spChg>
      </pc:sldChg>
      <pc:sldChg chg="add del">
        <pc:chgData name="Jivrajani, Dharini" userId="9f28c9a6-e07b-4de5-8682-ac3f5c875595" providerId="ADAL" clId="{389EFCBC-8BC7-4E81-B248-25BB98324661}" dt="2020-10-19T14:53:38.801" v="622"/>
        <pc:sldMkLst>
          <pc:docMk/>
          <pc:sldMk cId="1709308679" sldId="8783"/>
        </pc:sldMkLst>
      </pc:sldChg>
      <pc:sldChg chg="add del">
        <pc:chgData name="Jivrajani, Dharini" userId="9f28c9a6-e07b-4de5-8682-ac3f5c875595" providerId="ADAL" clId="{389EFCBC-8BC7-4E81-B248-25BB98324661}" dt="2020-10-19T14:53:38.801" v="622"/>
        <pc:sldMkLst>
          <pc:docMk/>
          <pc:sldMk cId="2940807522" sldId="8784"/>
        </pc:sldMkLst>
      </pc:sldChg>
      <pc:sldChg chg="add del">
        <pc:chgData name="Jivrajani, Dharini" userId="9f28c9a6-e07b-4de5-8682-ac3f5c875595" providerId="ADAL" clId="{389EFCBC-8BC7-4E81-B248-25BB98324661}" dt="2020-10-19T14:53:38.801" v="622"/>
        <pc:sldMkLst>
          <pc:docMk/>
          <pc:sldMk cId="4107362912" sldId="8785"/>
        </pc:sldMkLst>
      </pc:sldChg>
      <pc:sldChg chg="modSp">
        <pc:chgData name="Jivrajani, Dharini" userId="9f28c9a6-e07b-4de5-8682-ac3f5c875595" providerId="ADAL" clId="{389EFCBC-8BC7-4E81-B248-25BB98324661}" dt="2020-10-20T12:19:08.309" v="1306" actId="20577"/>
        <pc:sldMkLst>
          <pc:docMk/>
          <pc:sldMk cId="3491360341" sldId="8786"/>
        </pc:sldMkLst>
        <pc:spChg chg="mod">
          <ac:chgData name="Jivrajani, Dharini" userId="9f28c9a6-e07b-4de5-8682-ac3f5c875595" providerId="ADAL" clId="{389EFCBC-8BC7-4E81-B248-25BB98324661}" dt="2020-10-19T15:00:07.399" v="749" actId="20577"/>
          <ac:spMkLst>
            <pc:docMk/>
            <pc:sldMk cId="3491360341" sldId="8786"/>
            <ac:spMk id="5" creationId="{02DEB1AA-D738-40F6-A7DD-D454C53CCBCE}"/>
          </ac:spMkLst>
        </pc:spChg>
        <pc:spChg chg="mod">
          <ac:chgData name="Jivrajani, Dharini" userId="9f28c9a6-e07b-4de5-8682-ac3f5c875595" providerId="ADAL" clId="{389EFCBC-8BC7-4E81-B248-25BB98324661}" dt="2020-10-20T12:17:16.222" v="1294" actId="20577"/>
          <ac:spMkLst>
            <pc:docMk/>
            <pc:sldMk cId="3491360341" sldId="8786"/>
            <ac:spMk id="40" creationId="{121719F8-2A26-490B-BE98-0511C598856F}"/>
          </ac:spMkLst>
        </pc:spChg>
        <pc:grpChg chg="mod">
          <ac:chgData name="Jivrajani, Dharini" userId="9f28c9a6-e07b-4de5-8682-ac3f5c875595" providerId="ADAL" clId="{389EFCBC-8BC7-4E81-B248-25BB98324661}" dt="2020-10-20T12:18:02.597" v="1295" actId="1076"/>
          <ac:grpSpMkLst>
            <pc:docMk/>
            <pc:sldMk cId="3491360341" sldId="8786"/>
            <ac:grpSpMk id="39" creationId="{1031A64B-10D5-42F7-A8D2-67DF00923AEE}"/>
          </ac:grpSpMkLst>
        </pc:grpChg>
        <pc:graphicFrameChg chg="modGraphic">
          <ac:chgData name="Jivrajani, Dharini" userId="9f28c9a6-e07b-4de5-8682-ac3f5c875595" providerId="ADAL" clId="{389EFCBC-8BC7-4E81-B248-25BB98324661}" dt="2020-10-20T12:19:08.309" v="1306" actId="20577"/>
          <ac:graphicFrameMkLst>
            <pc:docMk/>
            <pc:sldMk cId="3491360341" sldId="8786"/>
            <ac:graphicFrameMk id="4" creationId="{FE664A44-2B52-48E1-842B-86373307A2AD}"/>
          </ac:graphicFrameMkLst>
        </pc:graphicFrameChg>
      </pc:sldChg>
      <pc:sldChg chg="modSp add del">
        <pc:chgData name="Jivrajani, Dharini" userId="9f28c9a6-e07b-4de5-8682-ac3f5c875595" providerId="ADAL" clId="{389EFCBC-8BC7-4E81-B248-25BB98324661}" dt="2020-10-19T14:54:28.311" v="625" actId="14100"/>
        <pc:sldMkLst>
          <pc:docMk/>
          <pc:sldMk cId="2399400722" sldId="8809"/>
        </pc:sldMkLst>
        <pc:spChg chg="mod">
          <ac:chgData name="Jivrajani, Dharini" userId="9f28c9a6-e07b-4de5-8682-ac3f5c875595" providerId="ADAL" clId="{389EFCBC-8BC7-4E81-B248-25BB98324661}" dt="2020-10-19T14:54:28.311" v="625" actId="14100"/>
          <ac:spMkLst>
            <pc:docMk/>
            <pc:sldMk cId="2399400722" sldId="8809"/>
            <ac:spMk id="7" creationId="{BD52B5DB-DDAB-4EC0-94A0-8CED04FAB517}"/>
          </ac:spMkLst>
        </pc:spChg>
      </pc:sldChg>
      <pc:sldChg chg="modSp">
        <pc:chgData name="Jivrajani, Dharini" userId="9f28c9a6-e07b-4de5-8682-ac3f5c875595" providerId="ADAL" clId="{389EFCBC-8BC7-4E81-B248-25BB98324661}" dt="2020-10-27T21:10:02.885" v="1425" actId="20577"/>
        <pc:sldMkLst>
          <pc:docMk/>
          <pc:sldMk cId="27039556" sldId="8820"/>
        </pc:sldMkLst>
        <pc:spChg chg="mod">
          <ac:chgData name="Jivrajani, Dharini" userId="9f28c9a6-e07b-4de5-8682-ac3f5c875595" providerId="ADAL" clId="{389EFCBC-8BC7-4E81-B248-25BB98324661}" dt="2020-10-27T21:10:02.885" v="1425" actId="20577"/>
          <ac:spMkLst>
            <pc:docMk/>
            <pc:sldMk cId="27039556" sldId="8820"/>
            <ac:spMk id="7" creationId="{5817664F-7DC8-47E5-B7B9-14F4F2B2E734}"/>
          </ac:spMkLst>
        </pc:spChg>
      </pc:sldChg>
      <pc:sldChg chg="ord">
        <pc:chgData name="Jivrajani, Dharini" userId="9f28c9a6-e07b-4de5-8682-ac3f5c875595" providerId="ADAL" clId="{389EFCBC-8BC7-4E81-B248-25BB98324661}" dt="2020-10-19T14:53:52.366" v="624"/>
        <pc:sldMkLst>
          <pc:docMk/>
          <pc:sldMk cId="1628750535" sldId="8825"/>
        </pc:sldMkLst>
      </pc:sldChg>
      <pc:sldChg chg="modSp add del">
        <pc:chgData name="Jivrajani, Dharini" userId="9f28c9a6-e07b-4de5-8682-ac3f5c875595" providerId="ADAL" clId="{389EFCBC-8BC7-4E81-B248-25BB98324661}" dt="2020-10-27T12:17:56.702" v="1416" actId="20577"/>
        <pc:sldMkLst>
          <pc:docMk/>
          <pc:sldMk cId="3924100793" sldId="8832"/>
        </pc:sldMkLst>
        <pc:spChg chg="mod">
          <ac:chgData name="Jivrajani, Dharini" userId="9f28c9a6-e07b-4de5-8682-ac3f5c875595" providerId="ADAL" clId="{389EFCBC-8BC7-4E81-B248-25BB98324661}" dt="2020-10-27T12:17:56.702" v="1416" actId="20577"/>
          <ac:spMkLst>
            <pc:docMk/>
            <pc:sldMk cId="3924100793" sldId="8832"/>
            <ac:spMk id="7" creationId="{BD52B5DB-DDAB-4EC0-94A0-8CED04FAB517}"/>
          </ac:spMkLst>
        </pc:spChg>
      </pc:sldChg>
      <pc:sldChg chg="modSp">
        <pc:chgData name="Jivrajani, Dharini" userId="9f28c9a6-e07b-4de5-8682-ac3f5c875595" providerId="ADAL" clId="{389EFCBC-8BC7-4E81-B248-25BB98324661}" dt="2020-10-19T19:49:01.879" v="964" actId="20577"/>
        <pc:sldMkLst>
          <pc:docMk/>
          <pc:sldMk cId="1085851461" sldId="8963"/>
        </pc:sldMkLst>
        <pc:spChg chg="mod">
          <ac:chgData name="Jivrajani, Dharini" userId="9f28c9a6-e07b-4de5-8682-ac3f5c875595" providerId="ADAL" clId="{389EFCBC-8BC7-4E81-B248-25BB98324661}" dt="2020-10-19T19:49:01.879" v="964" actId="20577"/>
          <ac:spMkLst>
            <pc:docMk/>
            <pc:sldMk cId="1085851461" sldId="8963"/>
            <ac:spMk id="29" creationId="{B6134609-6F15-4CC8-9B0F-603EB956044A}"/>
          </ac:spMkLst>
        </pc:spChg>
      </pc:sldChg>
      <pc:sldChg chg="modSp">
        <pc:chgData name="Jivrajani, Dharini" userId="9f28c9a6-e07b-4de5-8682-ac3f5c875595" providerId="ADAL" clId="{389EFCBC-8BC7-4E81-B248-25BB98324661}" dt="2020-10-19T19:40:37.224" v="774" actId="20577"/>
        <pc:sldMkLst>
          <pc:docMk/>
          <pc:sldMk cId="617162357" sldId="8972"/>
        </pc:sldMkLst>
        <pc:spChg chg="mod">
          <ac:chgData name="Jivrajani, Dharini" userId="9f28c9a6-e07b-4de5-8682-ac3f5c875595" providerId="ADAL" clId="{389EFCBC-8BC7-4E81-B248-25BB98324661}" dt="2020-10-19T19:40:37.224" v="774" actId="20577"/>
          <ac:spMkLst>
            <pc:docMk/>
            <pc:sldMk cId="617162357" sldId="8972"/>
            <ac:spMk id="2" creationId="{0E8C3F6B-6DD8-4901-9180-BA189F1C1CE3}"/>
          </ac:spMkLst>
        </pc:spChg>
      </pc:sldChg>
      <pc:sldChg chg="modSp">
        <pc:chgData name="Jivrajani, Dharini" userId="9f28c9a6-e07b-4de5-8682-ac3f5c875595" providerId="ADAL" clId="{389EFCBC-8BC7-4E81-B248-25BB98324661}" dt="2020-10-20T12:14:43.868" v="1231"/>
        <pc:sldMkLst>
          <pc:docMk/>
          <pc:sldMk cId="3339402729" sldId="8973"/>
        </pc:sldMkLst>
        <pc:spChg chg="mod">
          <ac:chgData name="Jivrajani, Dharini" userId="9f28c9a6-e07b-4de5-8682-ac3f5c875595" providerId="ADAL" clId="{389EFCBC-8BC7-4E81-B248-25BB98324661}" dt="2020-10-20T12:14:43.868" v="1231"/>
          <ac:spMkLst>
            <pc:docMk/>
            <pc:sldMk cId="3339402729" sldId="8973"/>
            <ac:spMk id="13" creationId="{D5F4E4C4-ABD3-4443-859D-F84DA705D7BA}"/>
          </ac:spMkLst>
        </pc:spChg>
      </pc:sldChg>
      <pc:sldChg chg="modSp add ord">
        <pc:chgData name="Jivrajani, Dharini" userId="9f28c9a6-e07b-4de5-8682-ac3f5c875595" providerId="ADAL" clId="{389EFCBC-8BC7-4E81-B248-25BB98324661}" dt="2020-10-19T19:48:47.391" v="947" actId="20577"/>
        <pc:sldMkLst>
          <pc:docMk/>
          <pc:sldMk cId="3771938515" sldId="9005"/>
        </pc:sldMkLst>
        <pc:spChg chg="mod">
          <ac:chgData name="Jivrajani, Dharini" userId="9f28c9a6-e07b-4de5-8682-ac3f5c875595" providerId="ADAL" clId="{389EFCBC-8BC7-4E81-B248-25BB98324661}" dt="2020-10-19T19:47:21.266" v="816" actId="113"/>
          <ac:spMkLst>
            <pc:docMk/>
            <pc:sldMk cId="3771938515" sldId="9005"/>
            <ac:spMk id="2" creationId="{2556705A-7755-470C-B03D-1637C60C7355}"/>
          </ac:spMkLst>
        </pc:spChg>
        <pc:spChg chg="mod">
          <ac:chgData name="Jivrajani, Dharini" userId="9f28c9a6-e07b-4de5-8682-ac3f5c875595" providerId="ADAL" clId="{389EFCBC-8BC7-4E81-B248-25BB98324661}" dt="2020-10-19T19:48:47.391" v="947" actId="20577"/>
          <ac:spMkLst>
            <pc:docMk/>
            <pc:sldMk cId="3771938515" sldId="9005"/>
            <ac:spMk id="3" creationId="{621F54F1-CBDA-4B69-BB68-2D805C7B2B2D}"/>
          </ac:spMkLst>
        </pc:spChg>
      </pc:sldChg>
    </pc:docChg>
  </pc:docChgLst>
  <pc:docChgLst>
    <pc:chgData name="Venkatachalapathy, Vanishree" userId="S::vvenkatachalapath@deloitte.com::576e56df-e43c-486e-b899-beb9c57a3735" providerId="AD" clId="Web-{44E163BF-1D2F-4ED3-A894-74672F11554F}"/>
    <pc:docChg chg="modSld">
      <pc:chgData name="Venkatachalapathy, Vanishree" userId="S::vvenkatachalapath@deloitte.com::576e56df-e43c-486e-b899-beb9c57a3735" providerId="AD" clId="Web-{44E163BF-1D2F-4ED3-A894-74672F11554F}" dt="2020-12-02T11:46:29.857" v="4" actId="20577"/>
      <pc:docMkLst>
        <pc:docMk/>
      </pc:docMkLst>
      <pc:sldChg chg="modSp">
        <pc:chgData name="Venkatachalapathy, Vanishree" userId="S::vvenkatachalapath@deloitte.com::576e56df-e43c-486e-b899-beb9c57a3735" providerId="AD" clId="Web-{44E163BF-1D2F-4ED3-A894-74672F11554F}" dt="2020-12-02T11:46:29.857" v="4" actId="20577"/>
        <pc:sldMkLst>
          <pc:docMk/>
          <pc:sldMk cId="2940807522" sldId="8784"/>
        </pc:sldMkLst>
        <pc:spChg chg="mod">
          <ac:chgData name="Venkatachalapathy, Vanishree" userId="S::vvenkatachalapath@deloitte.com::576e56df-e43c-486e-b899-beb9c57a3735" providerId="AD" clId="Web-{44E163BF-1D2F-4ED3-A894-74672F11554F}" dt="2020-12-02T11:46:29.857" v="4" actId="20577"/>
          <ac:spMkLst>
            <pc:docMk/>
            <pc:sldMk cId="2940807522" sldId="8784"/>
            <ac:spMk id="10" creationId="{63C4D4D1-A06E-4F86-8E1F-FBE3DBFA51E8}"/>
          </ac:spMkLst>
        </pc:spChg>
      </pc:sldChg>
    </pc:docChg>
  </pc:docChgLst>
  <pc:docChgLst>
    <pc:chgData name="Swarna, Padmini" userId="S::padswarna@deloitte.com::03b348e6-46b3-471e-9507-2b8a34198287" providerId="AD" clId="Web-{5C965C87-C580-4A7E-9521-52A778851225}"/>
    <pc:docChg chg="modSld">
      <pc:chgData name="Swarna, Padmini" userId="S::padswarna@deloitte.com::03b348e6-46b3-471e-9507-2b8a34198287" providerId="AD" clId="Web-{5C965C87-C580-4A7E-9521-52A778851225}" dt="2021-03-23T09:06:47.739" v="15" actId="20577"/>
      <pc:docMkLst>
        <pc:docMk/>
      </pc:docMkLst>
      <pc:sldChg chg="modSp">
        <pc:chgData name="Swarna, Padmini" userId="S::padswarna@deloitte.com::03b348e6-46b3-471e-9507-2b8a34198287" providerId="AD" clId="Web-{5C965C87-C580-4A7E-9521-52A778851225}" dt="2021-03-23T09:06:47.739" v="15" actId="20577"/>
        <pc:sldMkLst>
          <pc:docMk/>
          <pc:sldMk cId="3491360341" sldId="8786"/>
        </pc:sldMkLst>
        <pc:spChg chg="mod">
          <ac:chgData name="Swarna, Padmini" userId="S::padswarna@deloitte.com::03b348e6-46b3-471e-9507-2b8a34198287" providerId="AD" clId="Web-{5C965C87-C580-4A7E-9521-52A778851225}" dt="2021-03-23T09:06:47.739" v="15" actId="20577"/>
          <ac:spMkLst>
            <pc:docMk/>
            <pc:sldMk cId="3491360341" sldId="8786"/>
            <ac:spMk id="5" creationId="{02DEB1AA-D738-40F6-A7DD-D454C53CCBCE}"/>
          </ac:spMkLst>
        </pc:spChg>
        <pc:graphicFrameChg chg="mod modGraphic">
          <ac:chgData name="Swarna, Padmini" userId="S::padswarna@deloitte.com::03b348e6-46b3-471e-9507-2b8a34198287" providerId="AD" clId="Web-{5C965C87-C580-4A7E-9521-52A778851225}" dt="2021-03-23T09:06:47.161" v="14"/>
          <ac:graphicFrameMkLst>
            <pc:docMk/>
            <pc:sldMk cId="3491360341" sldId="8786"/>
            <ac:graphicFrameMk id="4" creationId="{FE664A44-2B52-48E1-842B-86373307A2AD}"/>
          </ac:graphicFrameMkLst>
        </pc:graphicFrameChg>
      </pc:sldChg>
    </pc:docChg>
  </pc:docChgLst>
  <pc:docChgLst>
    <pc:chgData name="Jivrajani, Dharini" userId="9f28c9a6-e07b-4de5-8682-ac3f5c875595" providerId="ADAL" clId="{E6401A5A-AC30-4F63-9EAE-3D83573CBCE4}"/>
    <pc:docChg chg="undo custSel addSld delSld modSld modSection">
      <pc:chgData name="Jivrajani, Dharini" userId="9f28c9a6-e07b-4de5-8682-ac3f5c875595" providerId="ADAL" clId="{E6401A5A-AC30-4F63-9EAE-3D83573CBCE4}" dt="2020-12-01T14:54:12.713" v="831"/>
      <pc:docMkLst>
        <pc:docMk/>
      </pc:docMkLst>
      <pc:sldChg chg="modSp">
        <pc:chgData name="Jivrajani, Dharini" userId="9f28c9a6-e07b-4de5-8682-ac3f5c875595" providerId="ADAL" clId="{E6401A5A-AC30-4F63-9EAE-3D83573CBCE4}" dt="2020-12-01T14:27:19.553" v="714" actId="20577"/>
        <pc:sldMkLst>
          <pc:docMk/>
          <pc:sldMk cId="3661564267" sldId="257"/>
        </pc:sldMkLst>
        <pc:spChg chg="mod">
          <ac:chgData name="Jivrajani, Dharini" userId="9f28c9a6-e07b-4de5-8682-ac3f5c875595" providerId="ADAL" clId="{E6401A5A-AC30-4F63-9EAE-3D83573CBCE4}" dt="2020-12-01T14:27:19.553" v="714" actId="20577"/>
          <ac:spMkLst>
            <pc:docMk/>
            <pc:sldMk cId="3661564267" sldId="257"/>
            <ac:spMk id="4" creationId="{00000000-0000-0000-0000-000000000000}"/>
          </ac:spMkLst>
        </pc:spChg>
      </pc:sldChg>
      <pc:sldChg chg="del">
        <pc:chgData name="Jivrajani, Dharini" userId="9f28c9a6-e07b-4de5-8682-ac3f5c875595" providerId="ADAL" clId="{E6401A5A-AC30-4F63-9EAE-3D83573CBCE4}" dt="2020-11-17T17:14:10.966" v="115" actId="2696"/>
        <pc:sldMkLst>
          <pc:docMk/>
          <pc:sldMk cId="3502321823" sldId="262"/>
        </pc:sldMkLst>
      </pc:sldChg>
      <pc:sldChg chg="del">
        <pc:chgData name="Jivrajani, Dharini" userId="9f28c9a6-e07b-4de5-8682-ac3f5c875595" providerId="ADAL" clId="{E6401A5A-AC30-4F63-9EAE-3D83573CBCE4}" dt="2020-11-17T17:14:11.056" v="118" actId="2696"/>
        <pc:sldMkLst>
          <pc:docMk/>
          <pc:sldMk cId="776867145" sldId="265"/>
        </pc:sldMkLst>
      </pc:sldChg>
      <pc:sldChg chg="del">
        <pc:chgData name="Jivrajani, Dharini" userId="9f28c9a6-e07b-4de5-8682-ac3f5c875595" providerId="ADAL" clId="{E6401A5A-AC30-4F63-9EAE-3D83573CBCE4}" dt="2020-11-17T17:14:14.786" v="119" actId="2696"/>
        <pc:sldMkLst>
          <pc:docMk/>
          <pc:sldMk cId="3608320234" sldId="266"/>
        </pc:sldMkLst>
      </pc:sldChg>
      <pc:sldChg chg="addSp modSp add">
        <pc:chgData name="Jivrajani, Dharini" userId="9f28c9a6-e07b-4de5-8682-ac3f5c875595" providerId="ADAL" clId="{E6401A5A-AC30-4F63-9EAE-3D83573CBCE4}" dt="2020-11-17T17:19:25.095" v="221" actId="1076"/>
        <pc:sldMkLst>
          <pc:docMk/>
          <pc:sldMk cId="1693148657" sldId="267"/>
        </pc:sldMkLst>
        <pc:spChg chg="add mod">
          <ac:chgData name="Jivrajani, Dharini" userId="9f28c9a6-e07b-4de5-8682-ac3f5c875595" providerId="ADAL" clId="{E6401A5A-AC30-4F63-9EAE-3D83573CBCE4}" dt="2020-11-17T17:19:25.095" v="221" actId="1076"/>
          <ac:spMkLst>
            <pc:docMk/>
            <pc:sldMk cId="1693148657" sldId="267"/>
            <ac:spMk id="8" creationId="{0020D778-1685-4F89-B52B-083A71E2FE8D}"/>
          </ac:spMkLst>
        </pc:spChg>
        <pc:picChg chg="mod">
          <ac:chgData name="Jivrajani, Dharini" userId="9f28c9a6-e07b-4de5-8682-ac3f5c875595" providerId="ADAL" clId="{E6401A5A-AC30-4F63-9EAE-3D83573CBCE4}" dt="2020-11-17T17:19:12.254" v="220" actId="1076"/>
          <ac:picMkLst>
            <pc:docMk/>
            <pc:sldMk cId="1693148657" sldId="267"/>
            <ac:picMk id="4" creationId="{179768FA-007B-41A5-8F66-B2222FD35C91}"/>
          </ac:picMkLst>
        </pc:picChg>
      </pc:sldChg>
      <pc:sldChg chg="add">
        <pc:chgData name="Jivrajani, Dharini" userId="9f28c9a6-e07b-4de5-8682-ac3f5c875595" providerId="ADAL" clId="{E6401A5A-AC30-4F63-9EAE-3D83573CBCE4}" dt="2020-11-17T17:18:26.626" v="209"/>
        <pc:sldMkLst>
          <pc:docMk/>
          <pc:sldMk cId="568091670" sldId="268"/>
        </pc:sldMkLst>
      </pc:sldChg>
      <pc:sldChg chg="add">
        <pc:chgData name="Jivrajani, Dharini" userId="9f28c9a6-e07b-4de5-8682-ac3f5c875595" providerId="ADAL" clId="{E6401A5A-AC30-4F63-9EAE-3D83573CBCE4}" dt="2020-11-17T17:18:26.626" v="209"/>
        <pc:sldMkLst>
          <pc:docMk/>
          <pc:sldMk cId="752202512" sldId="269"/>
        </pc:sldMkLst>
      </pc:sldChg>
      <pc:sldChg chg="add">
        <pc:chgData name="Jivrajani, Dharini" userId="9f28c9a6-e07b-4de5-8682-ac3f5c875595" providerId="ADAL" clId="{E6401A5A-AC30-4F63-9EAE-3D83573CBCE4}" dt="2020-11-17T17:18:26.626" v="209"/>
        <pc:sldMkLst>
          <pc:docMk/>
          <pc:sldMk cId="3392328025" sldId="270"/>
        </pc:sldMkLst>
      </pc:sldChg>
      <pc:sldChg chg="add">
        <pc:chgData name="Jivrajani, Dharini" userId="9f28c9a6-e07b-4de5-8682-ac3f5c875595" providerId="ADAL" clId="{E6401A5A-AC30-4F63-9EAE-3D83573CBCE4}" dt="2020-11-17T17:18:26.626" v="209"/>
        <pc:sldMkLst>
          <pc:docMk/>
          <pc:sldMk cId="2803360750" sldId="271"/>
        </pc:sldMkLst>
      </pc:sldChg>
      <pc:sldChg chg="add">
        <pc:chgData name="Jivrajani, Dharini" userId="9f28c9a6-e07b-4de5-8682-ac3f5c875595" providerId="ADAL" clId="{E6401A5A-AC30-4F63-9EAE-3D83573CBCE4}" dt="2020-11-17T17:18:26.626" v="209"/>
        <pc:sldMkLst>
          <pc:docMk/>
          <pc:sldMk cId="3779940784" sldId="272"/>
        </pc:sldMkLst>
      </pc:sldChg>
      <pc:sldChg chg="delSp modSp add">
        <pc:chgData name="Jivrajani, Dharini" userId="9f28c9a6-e07b-4de5-8682-ac3f5c875595" providerId="ADAL" clId="{E6401A5A-AC30-4F63-9EAE-3D83573CBCE4}" dt="2020-11-17T17:20:18.205" v="225" actId="14100"/>
        <pc:sldMkLst>
          <pc:docMk/>
          <pc:sldMk cId="2838729022" sldId="273"/>
        </pc:sldMkLst>
        <pc:spChg chg="del">
          <ac:chgData name="Jivrajani, Dharini" userId="9f28c9a6-e07b-4de5-8682-ac3f5c875595" providerId="ADAL" clId="{E6401A5A-AC30-4F63-9EAE-3D83573CBCE4}" dt="2020-11-17T17:20:04.573" v="222" actId="478"/>
          <ac:spMkLst>
            <pc:docMk/>
            <pc:sldMk cId="2838729022" sldId="273"/>
            <ac:spMk id="2" creationId="{C8A65C2B-2826-4E3C-9FEF-D272A0262D12}"/>
          </ac:spMkLst>
        </pc:spChg>
        <pc:spChg chg="del">
          <ac:chgData name="Jivrajani, Dharini" userId="9f28c9a6-e07b-4de5-8682-ac3f5c875595" providerId="ADAL" clId="{E6401A5A-AC30-4F63-9EAE-3D83573CBCE4}" dt="2020-11-17T17:20:09.248" v="223" actId="478"/>
          <ac:spMkLst>
            <pc:docMk/>
            <pc:sldMk cId="2838729022" sldId="273"/>
            <ac:spMk id="3" creationId="{CF0A0051-42A2-40F3-85D7-A2DA1E7E77A9}"/>
          </ac:spMkLst>
        </pc:spChg>
        <pc:picChg chg="mod">
          <ac:chgData name="Jivrajani, Dharini" userId="9f28c9a6-e07b-4de5-8682-ac3f5c875595" providerId="ADAL" clId="{E6401A5A-AC30-4F63-9EAE-3D83573CBCE4}" dt="2020-11-17T17:20:18.205" v="225" actId="14100"/>
          <ac:picMkLst>
            <pc:docMk/>
            <pc:sldMk cId="2838729022" sldId="273"/>
            <ac:picMk id="4" creationId="{1DCF4F4E-EEE7-4D66-9823-9986E3230B82}"/>
          </ac:picMkLst>
        </pc:picChg>
      </pc:sldChg>
      <pc:sldChg chg="delSp add">
        <pc:chgData name="Jivrajani, Dharini" userId="9f28c9a6-e07b-4de5-8682-ac3f5c875595" providerId="ADAL" clId="{E6401A5A-AC30-4F63-9EAE-3D83573CBCE4}" dt="2020-11-17T17:20:47.398" v="227" actId="478"/>
        <pc:sldMkLst>
          <pc:docMk/>
          <pc:sldMk cId="1298414651" sldId="274"/>
        </pc:sldMkLst>
        <pc:spChg chg="del">
          <ac:chgData name="Jivrajani, Dharini" userId="9f28c9a6-e07b-4de5-8682-ac3f5c875595" providerId="ADAL" clId="{E6401A5A-AC30-4F63-9EAE-3D83573CBCE4}" dt="2020-11-17T17:20:42.168" v="226" actId="478"/>
          <ac:spMkLst>
            <pc:docMk/>
            <pc:sldMk cId="1298414651" sldId="274"/>
            <ac:spMk id="2" creationId="{654344CD-8A43-4562-8BFF-45298CE5C7B0}"/>
          </ac:spMkLst>
        </pc:spChg>
        <pc:spChg chg="del">
          <ac:chgData name="Jivrajani, Dharini" userId="9f28c9a6-e07b-4de5-8682-ac3f5c875595" providerId="ADAL" clId="{E6401A5A-AC30-4F63-9EAE-3D83573CBCE4}" dt="2020-11-17T17:20:47.398" v="227" actId="478"/>
          <ac:spMkLst>
            <pc:docMk/>
            <pc:sldMk cId="1298414651" sldId="274"/>
            <ac:spMk id="3" creationId="{D8B418CE-F432-4587-B98F-493A3BB3836F}"/>
          </ac:spMkLst>
        </pc:spChg>
      </pc:sldChg>
      <pc:sldChg chg="delSp add">
        <pc:chgData name="Jivrajani, Dharini" userId="9f28c9a6-e07b-4de5-8682-ac3f5c875595" providerId="ADAL" clId="{E6401A5A-AC30-4F63-9EAE-3D83573CBCE4}" dt="2020-11-17T17:21:41.974" v="233" actId="478"/>
        <pc:sldMkLst>
          <pc:docMk/>
          <pc:sldMk cId="879275369" sldId="275"/>
        </pc:sldMkLst>
        <pc:spChg chg="del">
          <ac:chgData name="Jivrajani, Dharini" userId="9f28c9a6-e07b-4de5-8682-ac3f5c875595" providerId="ADAL" clId="{E6401A5A-AC30-4F63-9EAE-3D83573CBCE4}" dt="2020-11-17T17:21:39.540" v="232" actId="478"/>
          <ac:spMkLst>
            <pc:docMk/>
            <pc:sldMk cId="879275369" sldId="275"/>
            <ac:spMk id="2" creationId="{C413A71A-83C5-49A3-A67B-80390DFCEFD2}"/>
          </ac:spMkLst>
        </pc:spChg>
        <pc:spChg chg="del">
          <ac:chgData name="Jivrajani, Dharini" userId="9f28c9a6-e07b-4de5-8682-ac3f5c875595" providerId="ADAL" clId="{E6401A5A-AC30-4F63-9EAE-3D83573CBCE4}" dt="2020-11-17T17:21:41.974" v="233" actId="478"/>
          <ac:spMkLst>
            <pc:docMk/>
            <pc:sldMk cId="879275369" sldId="275"/>
            <ac:spMk id="3" creationId="{294716F6-CC41-42B3-B970-2A72C9827AFC}"/>
          </ac:spMkLst>
        </pc:spChg>
      </pc:sldChg>
      <pc:sldChg chg="delSp add">
        <pc:chgData name="Jivrajani, Dharini" userId="9f28c9a6-e07b-4de5-8682-ac3f5c875595" providerId="ADAL" clId="{E6401A5A-AC30-4F63-9EAE-3D83573CBCE4}" dt="2020-11-17T17:21:51.734" v="235" actId="478"/>
        <pc:sldMkLst>
          <pc:docMk/>
          <pc:sldMk cId="2823402429" sldId="276"/>
        </pc:sldMkLst>
        <pc:spChg chg="del">
          <ac:chgData name="Jivrajani, Dharini" userId="9f28c9a6-e07b-4de5-8682-ac3f5c875595" providerId="ADAL" clId="{E6401A5A-AC30-4F63-9EAE-3D83573CBCE4}" dt="2020-11-17T17:21:49.395" v="234" actId="478"/>
          <ac:spMkLst>
            <pc:docMk/>
            <pc:sldMk cId="2823402429" sldId="276"/>
            <ac:spMk id="2" creationId="{E85A7010-8C5D-4A58-8DDA-1D01FCD7885F}"/>
          </ac:spMkLst>
        </pc:spChg>
        <pc:spChg chg="del">
          <ac:chgData name="Jivrajani, Dharini" userId="9f28c9a6-e07b-4de5-8682-ac3f5c875595" providerId="ADAL" clId="{E6401A5A-AC30-4F63-9EAE-3D83573CBCE4}" dt="2020-11-17T17:21:51.734" v="235" actId="478"/>
          <ac:spMkLst>
            <pc:docMk/>
            <pc:sldMk cId="2823402429" sldId="276"/>
            <ac:spMk id="3" creationId="{DC9E34D2-F9A1-405F-A7D3-8D04DE51EF06}"/>
          </ac:spMkLst>
        </pc:spChg>
      </pc:sldChg>
      <pc:sldChg chg="delSp add">
        <pc:chgData name="Jivrajani, Dharini" userId="9f28c9a6-e07b-4de5-8682-ac3f5c875595" providerId="ADAL" clId="{E6401A5A-AC30-4F63-9EAE-3D83573CBCE4}" dt="2020-11-17T17:22:03.331" v="237" actId="478"/>
        <pc:sldMkLst>
          <pc:docMk/>
          <pc:sldMk cId="2455683379" sldId="277"/>
        </pc:sldMkLst>
        <pc:spChg chg="del">
          <ac:chgData name="Jivrajani, Dharini" userId="9f28c9a6-e07b-4de5-8682-ac3f5c875595" providerId="ADAL" clId="{E6401A5A-AC30-4F63-9EAE-3D83573CBCE4}" dt="2020-11-17T17:22:00.382" v="236" actId="478"/>
          <ac:spMkLst>
            <pc:docMk/>
            <pc:sldMk cId="2455683379" sldId="277"/>
            <ac:spMk id="2" creationId="{4D74EA4B-24EB-49ED-AC74-79124A818E84}"/>
          </ac:spMkLst>
        </pc:spChg>
        <pc:spChg chg="del">
          <ac:chgData name="Jivrajani, Dharini" userId="9f28c9a6-e07b-4de5-8682-ac3f5c875595" providerId="ADAL" clId="{E6401A5A-AC30-4F63-9EAE-3D83573CBCE4}" dt="2020-11-17T17:22:03.331" v="237" actId="478"/>
          <ac:spMkLst>
            <pc:docMk/>
            <pc:sldMk cId="2455683379" sldId="277"/>
            <ac:spMk id="3" creationId="{1F84B6C8-86BE-4A47-8DA8-173579A4ECAB}"/>
          </ac:spMkLst>
        </pc:spChg>
      </pc:sldChg>
      <pc:sldChg chg="delSp add">
        <pc:chgData name="Jivrajani, Dharini" userId="9f28c9a6-e07b-4de5-8682-ac3f5c875595" providerId="ADAL" clId="{E6401A5A-AC30-4F63-9EAE-3D83573CBCE4}" dt="2020-11-17T17:20:59.932" v="229" actId="478"/>
        <pc:sldMkLst>
          <pc:docMk/>
          <pc:sldMk cId="2570198846" sldId="278"/>
        </pc:sldMkLst>
        <pc:spChg chg="del">
          <ac:chgData name="Jivrajani, Dharini" userId="9f28c9a6-e07b-4de5-8682-ac3f5c875595" providerId="ADAL" clId="{E6401A5A-AC30-4F63-9EAE-3D83573CBCE4}" dt="2020-11-17T17:20:55.130" v="228" actId="478"/>
          <ac:spMkLst>
            <pc:docMk/>
            <pc:sldMk cId="2570198846" sldId="278"/>
            <ac:spMk id="2" creationId="{77C9D2FE-A87B-4A8D-AF66-9FB852FEA1DC}"/>
          </ac:spMkLst>
        </pc:spChg>
        <pc:spChg chg="del">
          <ac:chgData name="Jivrajani, Dharini" userId="9f28c9a6-e07b-4de5-8682-ac3f5c875595" providerId="ADAL" clId="{E6401A5A-AC30-4F63-9EAE-3D83573CBCE4}" dt="2020-11-17T17:20:59.932" v="229" actId="478"/>
          <ac:spMkLst>
            <pc:docMk/>
            <pc:sldMk cId="2570198846" sldId="278"/>
            <ac:spMk id="3" creationId="{825A6A98-155B-42B8-BD90-84C40ADF12D5}"/>
          </ac:spMkLst>
        </pc:spChg>
      </pc:sldChg>
      <pc:sldChg chg="delSp add">
        <pc:chgData name="Jivrajani, Dharini" userId="9f28c9a6-e07b-4de5-8682-ac3f5c875595" providerId="ADAL" clId="{E6401A5A-AC30-4F63-9EAE-3D83573CBCE4}" dt="2020-11-17T17:21:12.794" v="231" actId="478"/>
        <pc:sldMkLst>
          <pc:docMk/>
          <pc:sldMk cId="1595038700" sldId="279"/>
        </pc:sldMkLst>
        <pc:spChg chg="del">
          <ac:chgData name="Jivrajani, Dharini" userId="9f28c9a6-e07b-4de5-8682-ac3f5c875595" providerId="ADAL" clId="{E6401A5A-AC30-4F63-9EAE-3D83573CBCE4}" dt="2020-11-17T17:21:06.976" v="230" actId="478"/>
          <ac:spMkLst>
            <pc:docMk/>
            <pc:sldMk cId="1595038700" sldId="279"/>
            <ac:spMk id="2" creationId="{CFDDE40C-0C0B-4174-B214-BF52A20E449D}"/>
          </ac:spMkLst>
        </pc:spChg>
        <pc:spChg chg="del">
          <ac:chgData name="Jivrajani, Dharini" userId="9f28c9a6-e07b-4de5-8682-ac3f5c875595" providerId="ADAL" clId="{E6401A5A-AC30-4F63-9EAE-3D83573CBCE4}" dt="2020-11-17T17:21:12.794" v="231" actId="478"/>
          <ac:spMkLst>
            <pc:docMk/>
            <pc:sldMk cId="1595038700" sldId="279"/>
            <ac:spMk id="3" creationId="{D5468D18-2E52-4F69-B4FD-9468B8676466}"/>
          </ac:spMkLst>
        </pc:spChg>
      </pc:sldChg>
      <pc:sldChg chg="del">
        <pc:chgData name="Jivrajani, Dharini" userId="9f28c9a6-e07b-4de5-8682-ac3f5c875595" providerId="ADAL" clId="{E6401A5A-AC30-4F63-9EAE-3D83573CBCE4}" dt="2020-11-30T16:00:06.712" v="686" actId="2696"/>
        <pc:sldMkLst>
          <pc:docMk/>
          <pc:sldMk cId="2816086532" sldId="458"/>
        </pc:sldMkLst>
      </pc:sldChg>
      <pc:sldChg chg="del">
        <pc:chgData name="Jivrajani, Dharini" userId="9f28c9a6-e07b-4de5-8682-ac3f5c875595" providerId="ADAL" clId="{E6401A5A-AC30-4F63-9EAE-3D83573CBCE4}" dt="2020-11-30T16:00:06.771" v="687" actId="2696"/>
        <pc:sldMkLst>
          <pc:docMk/>
          <pc:sldMk cId="1517944975" sldId="469"/>
        </pc:sldMkLst>
      </pc:sldChg>
      <pc:sldChg chg="modSp">
        <pc:chgData name="Jivrajani, Dharini" userId="9f28c9a6-e07b-4de5-8682-ac3f5c875595" providerId="ADAL" clId="{E6401A5A-AC30-4F63-9EAE-3D83573CBCE4}" dt="2020-11-30T15:52:26.732" v="666" actId="20577"/>
        <pc:sldMkLst>
          <pc:docMk/>
          <pc:sldMk cId="24609206" sldId="2104"/>
        </pc:sldMkLst>
        <pc:spChg chg="mod">
          <ac:chgData name="Jivrajani, Dharini" userId="9f28c9a6-e07b-4de5-8682-ac3f5c875595" providerId="ADAL" clId="{E6401A5A-AC30-4F63-9EAE-3D83573CBCE4}" dt="2020-11-30T15:52:26.732" v="666" actId="20577"/>
          <ac:spMkLst>
            <pc:docMk/>
            <pc:sldMk cId="24609206" sldId="2104"/>
            <ac:spMk id="5" creationId="{5B812393-1D4C-44E5-88C8-52EB15B2AC90}"/>
          </ac:spMkLst>
        </pc:spChg>
      </pc:sldChg>
      <pc:sldChg chg="modSp">
        <pc:chgData name="Jivrajani, Dharini" userId="9f28c9a6-e07b-4de5-8682-ac3f5c875595" providerId="ADAL" clId="{E6401A5A-AC30-4F63-9EAE-3D83573CBCE4}" dt="2020-11-19T16:15:54.892" v="505"/>
        <pc:sldMkLst>
          <pc:docMk/>
          <pc:sldMk cId="1657039186" sldId="4468"/>
        </pc:sldMkLst>
        <pc:graphicFrameChg chg="mod">
          <ac:chgData name="Jivrajani, Dharini" userId="9f28c9a6-e07b-4de5-8682-ac3f5c875595" providerId="ADAL" clId="{E6401A5A-AC30-4F63-9EAE-3D83573CBCE4}" dt="2020-11-19T16:15:54.892" v="505"/>
          <ac:graphicFrameMkLst>
            <pc:docMk/>
            <pc:sldMk cId="1657039186" sldId="4468"/>
            <ac:graphicFrameMk id="20" creationId="{FD8BDF10-81F1-4107-8809-340CFBD57976}"/>
          </ac:graphicFrameMkLst>
        </pc:graphicFrameChg>
      </pc:sldChg>
      <pc:sldChg chg="delSp modSp">
        <pc:chgData name="Jivrajani, Dharini" userId="9f28c9a6-e07b-4de5-8682-ac3f5c875595" providerId="ADAL" clId="{E6401A5A-AC30-4F63-9EAE-3D83573CBCE4}" dt="2020-11-30T15:57:02.121" v="684" actId="20577"/>
        <pc:sldMkLst>
          <pc:docMk/>
          <pc:sldMk cId="3377722835" sldId="8772"/>
        </pc:sldMkLst>
        <pc:spChg chg="del">
          <ac:chgData name="Jivrajani, Dharini" userId="9f28c9a6-e07b-4de5-8682-ac3f5c875595" providerId="ADAL" clId="{E6401A5A-AC30-4F63-9EAE-3D83573CBCE4}" dt="2020-11-17T17:12:41.578" v="113" actId="478"/>
          <ac:spMkLst>
            <pc:docMk/>
            <pc:sldMk cId="3377722835" sldId="8772"/>
            <ac:spMk id="4" creationId="{CC701EE3-C440-40FA-A8CC-FADE289A963A}"/>
          </ac:spMkLst>
        </pc:spChg>
        <pc:graphicFrameChg chg="modGraphic">
          <ac:chgData name="Jivrajani, Dharini" userId="9f28c9a6-e07b-4de5-8682-ac3f5c875595" providerId="ADAL" clId="{E6401A5A-AC30-4F63-9EAE-3D83573CBCE4}" dt="2020-11-30T15:57:02.121" v="684" actId="20577"/>
          <ac:graphicFrameMkLst>
            <pc:docMk/>
            <pc:sldMk cId="3377722835" sldId="8772"/>
            <ac:graphicFrameMk id="2" creationId="{7D8F2493-A0C4-4740-A16F-E066BC79CDD8}"/>
          </ac:graphicFrameMkLst>
        </pc:graphicFrameChg>
      </pc:sldChg>
      <pc:sldChg chg="modSp">
        <pc:chgData name="Jivrajani, Dharini" userId="9f28c9a6-e07b-4de5-8682-ac3f5c875595" providerId="ADAL" clId="{E6401A5A-AC30-4F63-9EAE-3D83573CBCE4}" dt="2020-11-17T17:15:49.587" v="203" actId="6549"/>
        <pc:sldMkLst>
          <pc:docMk/>
          <pc:sldMk cId="2506138062" sldId="8782"/>
        </pc:sldMkLst>
        <pc:spChg chg="mod">
          <ac:chgData name="Jivrajani, Dharini" userId="9f28c9a6-e07b-4de5-8682-ac3f5c875595" providerId="ADAL" clId="{E6401A5A-AC30-4F63-9EAE-3D83573CBCE4}" dt="2020-11-17T17:14:56.672" v="169" actId="20577"/>
          <ac:spMkLst>
            <pc:docMk/>
            <pc:sldMk cId="2506138062" sldId="8782"/>
            <ac:spMk id="2" creationId="{A29AD221-CF2A-4E37-B85D-5E741C5C69E6}"/>
          </ac:spMkLst>
        </pc:spChg>
        <pc:spChg chg="mod">
          <ac:chgData name="Jivrajani, Dharini" userId="9f28c9a6-e07b-4de5-8682-ac3f5c875595" providerId="ADAL" clId="{E6401A5A-AC30-4F63-9EAE-3D83573CBCE4}" dt="2020-11-17T17:15:49.587" v="203" actId="6549"/>
          <ac:spMkLst>
            <pc:docMk/>
            <pc:sldMk cId="2506138062" sldId="8782"/>
            <ac:spMk id="3" creationId="{2B44DC9A-1DE4-4B24-8493-D9073A6B5DAE}"/>
          </ac:spMkLst>
        </pc:spChg>
        <pc:spChg chg="mod">
          <ac:chgData name="Jivrajani, Dharini" userId="9f28c9a6-e07b-4de5-8682-ac3f5c875595" providerId="ADAL" clId="{E6401A5A-AC30-4F63-9EAE-3D83573CBCE4}" dt="2020-11-17T17:15:12.681" v="170" actId="207"/>
          <ac:spMkLst>
            <pc:docMk/>
            <pc:sldMk cId="2506138062" sldId="8782"/>
            <ac:spMk id="4" creationId="{3FAEEAA9-008B-43F6-BAE2-39F36A6706FE}"/>
          </ac:spMkLst>
        </pc:spChg>
      </pc:sldChg>
      <pc:sldChg chg="modSp">
        <pc:chgData name="Jivrajani, Dharini" userId="9f28c9a6-e07b-4de5-8682-ac3f5c875595" providerId="ADAL" clId="{E6401A5A-AC30-4F63-9EAE-3D83573CBCE4}" dt="2020-11-30T16:00:43.280" v="689" actId="20577"/>
        <pc:sldMkLst>
          <pc:docMk/>
          <pc:sldMk cId="1709308679" sldId="8783"/>
        </pc:sldMkLst>
        <pc:spChg chg="mod">
          <ac:chgData name="Jivrajani, Dharini" userId="9f28c9a6-e07b-4de5-8682-ac3f5c875595" providerId="ADAL" clId="{E6401A5A-AC30-4F63-9EAE-3D83573CBCE4}" dt="2020-11-30T16:00:43.280" v="689" actId="20577"/>
          <ac:spMkLst>
            <pc:docMk/>
            <pc:sldMk cId="1709308679" sldId="8783"/>
            <ac:spMk id="14" creationId="{E000F57D-05FA-4E5A-8E44-848A42C21BE2}"/>
          </ac:spMkLst>
        </pc:spChg>
      </pc:sldChg>
      <pc:sldChg chg="modSp">
        <pc:chgData name="Jivrajani, Dharini" userId="9f28c9a6-e07b-4de5-8682-ac3f5c875595" providerId="ADAL" clId="{E6401A5A-AC30-4F63-9EAE-3D83573CBCE4}" dt="2020-11-17T17:11:33.977" v="106" actId="20577"/>
        <pc:sldMkLst>
          <pc:docMk/>
          <pc:sldMk cId="3491360341" sldId="8786"/>
        </pc:sldMkLst>
        <pc:spChg chg="mod">
          <ac:chgData name="Jivrajani, Dharini" userId="9f28c9a6-e07b-4de5-8682-ac3f5c875595" providerId="ADAL" clId="{E6401A5A-AC30-4F63-9EAE-3D83573CBCE4}" dt="2020-11-17T17:11:33.977" v="106" actId="20577"/>
          <ac:spMkLst>
            <pc:docMk/>
            <pc:sldMk cId="3491360341" sldId="8786"/>
            <ac:spMk id="5" creationId="{02DEB1AA-D738-40F6-A7DD-D454C53CCBCE}"/>
          </ac:spMkLst>
        </pc:spChg>
        <pc:graphicFrameChg chg="modGraphic">
          <ac:chgData name="Jivrajani, Dharini" userId="9f28c9a6-e07b-4de5-8682-ac3f5c875595" providerId="ADAL" clId="{E6401A5A-AC30-4F63-9EAE-3D83573CBCE4}" dt="2020-11-17T17:11:27.196" v="100" actId="20577"/>
          <ac:graphicFrameMkLst>
            <pc:docMk/>
            <pc:sldMk cId="3491360341" sldId="8786"/>
            <ac:graphicFrameMk id="4" creationId="{FE664A44-2B52-48E1-842B-86373307A2AD}"/>
          </ac:graphicFrameMkLst>
        </pc:graphicFrameChg>
      </pc:sldChg>
      <pc:sldChg chg="modSp addCm modCm">
        <pc:chgData name="Jivrajani, Dharini" userId="9f28c9a6-e07b-4de5-8682-ac3f5c875595" providerId="ADAL" clId="{E6401A5A-AC30-4F63-9EAE-3D83573CBCE4}" dt="2020-12-01T14:54:12.713" v="831"/>
        <pc:sldMkLst>
          <pc:docMk/>
          <pc:sldMk cId="847777020" sldId="8791"/>
        </pc:sldMkLst>
        <pc:spChg chg="mod">
          <ac:chgData name="Jivrajani, Dharini" userId="9f28c9a6-e07b-4de5-8682-ac3f5c875595" providerId="ADAL" clId="{E6401A5A-AC30-4F63-9EAE-3D83573CBCE4}" dt="2020-11-30T15:33:40.166" v="529" actId="20577"/>
          <ac:spMkLst>
            <pc:docMk/>
            <pc:sldMk cId="847777020" sldId="8791"/>
            <ac:spMk id="4" creationId="{6769BA6E-3315-4710-AB32-5C404A5A982C}"/>
          </ac:spMkLst>
        </pc:spChg>
      </pc:sldChg>
      <pc:sldChg chg="modSp addCm modCm">
        <pc:chgData name="Jivrajani, Dharini" userId="9f28c9a6-e07b-4de5-8682-ac3f5c875595" providerId="ADAL" clId="{E6401A5A-AC30-4F63-9EAE-3D83573CBCE4}" dt="2020-12-01T14:42:41.238" v="755"/>
        <pc:sldMkLst>
          <pc:docMk/>
          <pc:sldMk cId="4169581344" sldId="8798"/>
        </pc:sldMkLst>
        <pc:spChg chg="mod">
          <ac:chgData name="Jivrajani, Dharini" userId="9f28c9a6-e07b-4de5-8682-ac3f5c875595" providerId="ADAL" clId="{E6401A5A-AC30-4F63-9EAE-3D83573CBCE4}" dt="2020-12-01T14:42:20.674" v="753" actId="1076"/>
          <ac:spMkLst>
            <pc:docMk/>
            <pc:sldMk cId="4169581344" sldId="8798"/>
            <ac:spMk id="4" creationId="{EBA8AB06-B69C-4C37-B16F-3F19D5E17C1F}"/>
          </ac:spMkLst>
        </pc:spChg>
      </pc:sldChg>
      <pc:sldChg chg="addSp del">
        <pc:chgData name="Jivrajani, Dharini" userId="9f28c9a6-e07b-4de5-8682-ac3f5c875595" providerId="ADAL" clId="{E6401A5A-AC30-4F63-9EAE-3D83573CBCE4}" dt="2020-11-17T17:17:33.521" v="208" actId="2696"/>
        <pc:sldMkLst>
          <pc:docMk/>
          <pc:sldMk cId="1628750535" sldId="8825"/>
        </pc:sldMkLst>
        <pc:picChg chg="add">
          <ac:chgData name="Jivrajani, Dharini" userId="9f28c9a6-e07b-4de5-8682-ac3f5c875595" providerId="ADAL" clId="{E6401A5A-AC30-4F63-9EAE-3D83573CBCE4}" dt="2020-11-17T17:17:19.458" v="207"/>
          <ac:picMkLst>
            <pc:docMk/>
            <pc:sldMk cId="1628750535" sldId="8825"/>
            <ac:picMk id="3074" creationId="{97BA4083-13A6-4182-88A8-6D861753A11A}"/>
          </ac:picMkLst>
        </pc:picChg>
      </pc:sldChg>
      <pc:sldChg chg="del">
        <pc:chgData name="Jivrajani, Dharini" userId="9f28c9a6-e07b-4de5-8682-ac3f5c875595" providerId="ADAL" clId="{E6401A5A-AC30-4F63-9EAE-3D83573CBCE4}" dt="2020-11-17T17:14:10.989" v="116" actId="2696"/>
        <pc:sldMkLst>
          <pc:docMk/>
          <pc:sldMk cId="3282737432" sldId="8829"/>
        </pc:sldMkLst>
      </pc:sldChg>
      <pc:sldChg chg="del">
        <pc:chgData name="Jivrajani, Dharini" userId="9f28c9a6-e07b-4de5-8682-ac3f5c875595" providerId="ADAL" clId="{E6401A5A-AC30-4F63-9EAE-3D83573CBCE4}" dt="2020-11-17T17:14:11.017" v="117" actId="2696"/>
        <pc:sldMkLst>
          <pc:docMk/>
          <pc:sldMk cId="998198646" sldId="8830"/>
        </pc:sldMkLst>
      </pc:sldChg>
      <pc:sldChg chg="modSp">
        <pc:chgData name="Jivrajani, Dharini" userId="9f28c9a6-e07b-4de5-8682-ac3f5c875595" providerId="ADAL" clId="{E6401A5A-AC30-4F63-9EAE-3D83573CBCE4}" dt="2020-11-17T17:16:12.924" v="206" actId="20577"/>
        <pc:sldMkLst>
          <pc:docMk/>
          <pc:sldMk cId="3924100793" sldId="8832"/>
        </pc:sldMkLst>
        <pc:spChg chg="mod">
          <ac:chgData name="Jivrajani, Dharini" userId="9f28c9a6-e07b-4de5-8682-ac3f5c875595" providerId="ADAL" clId="{E6401A5A-AC30-4F63-9EAE-3D83573CBCE4}" dt="2020-11-17T17:16:12.924" v="206" actId="20577"/>
          <ac:spMkLst>
            <pc:docMk/>
            <pc:sldMk cId="3924100793" sldId="8832"/>
            <ac:spMk id="7" creationId="{BD52B5DB-DDAB-4EC0-94A0-8CED04FAB517}"/>
          </ac:spMkLst>
        </pc:spChg>
      </pc:sldChg>
      <pc:sldChg chg="modSp">
        <pc:chgData name="Jivrajani, Dharini" userId="9f28c9a6-e07b-4de5-8682-ac3f5c875595" providerId="ADAL" clId="{E6401A5A-AC30-4F63-9EAE-3D83573CBCE4}" dt="2020-11-17T17:11:14.137" v="97" actId="20577"/>
        <pc:sldMkLst>
          <pc:docMk/>
          <pc:sldMk cId="3339402729" sldId="8973"/>
        </pc:sldMkLst>
        <pc:spChg chg="mod">
          <ac:chgData name="Jivrajani, Dharini" userId="9f28c9a6-e07b-4de5-8682-ac3f5c875595" providerId="ADAL" clId="{E6401A5A-AC30-4F63-9EAE-3D83573CBCE4}" dt="2020-11-17T17:11:14.137" v="97" actId="20577"/>
          <ac:spMkLst>
            <pc:docMk/>
            <pc:sldMk cId="3339402729" sldId="8973"/>
            <ac:spMk id="17" creationId="{8CA5C18A-05BA-4818-9C43-6EA487818D45}"/>
          </ac:spMkLst>
        </pc:spChg>
      </pc:sldChg>
      <pc:sldChg chg="del">
        <pc:chgData name="Jivrajani, Dharini" userId="9f28c9a6-e07b-4de5-8682-ac3f5c875595" providerId="ADAL" clId="{E6401A5A-AC30-4F63-9EAE-3D83573CBCE4}" dt="2020-11-17T17:18:40.357" v="217" actId="2696"/>
        <pc:sldMkLst>
          <pc:docMk/>
          <pc:sldMk cId="2459573223" sldId="8977"/>
        </pc:sldMkLst>
      </pc:sldChg>
      <pc:sldChg chg="del">
        <pc:chgData name="Jivrajani, Dharini" userId="9f28c9a6-e07b-4de5-8682-ac3f5c875595" providerId="ADAL" clId="{E6401A5A-AC30-4F63-9EAE-3D83573CBCE4}" dt="2020-11-17T17:18:39.749" v="216" actId="2696"/>
        <pc:sldMkLst>
          <pc:docMk/>
          <pc:sldMk cId="4088849546" sldId="8978"/>
        </pc:sldMkLst>
      </pc:sldChg>
      <pc:sldChg chg="del">
        <pc:chgData name="Jivrajani, Dharini" userId="9f28c9a6-e07b-4de5-8682-ac3f5c875595" providerId="ADAL" clId="{E6401A5A-AC30-4F63-9EAE-3D83573CBCE4}" dt="2020-11-17T17:18:39.222" v="215" actId="2696"/>
        <pc:sldMkLst>
          <pc:docMk/>
          <pc:sldMk cId="1518886997" sldId="8979"/>
        </pc:sldMkLst>
      </pc:sldChg>
      <pc:sldChg chg="del">
        <pc:chgData name="Jivrajani, Dharini" userId="9f28c9a6-e07b-4de5-8682-ac3f5c875595" providerId="ADAL" clId="{E6401A5A-AC30-4F63-9EAE-3D83573CBCE4}" dt="2020-11-17T17:18:38.670" v="214" actId="2696"/>
        <pc:sldMkLst>
          <pc:docMk/>
          <pc:sldMk cId="2793644384" sldId="8980"/>
        </pc:sldMkLst>
      </pc:sldChg>
      <pc:sldChg chg="del">
        <pc:chgData name="Jivrajani, Dharini" userId="9f28c9a6-e07b-4de5-8682-ac3f5c875595" providerId="ADAL" clId="{E6401A5A-AC30-4F63-9EAE-3D83573CBCE4}" dt="2020-11-17T17:18:38.072" v="213" actId="2696"/>
        <pc:sldMkLst>
          <pc:docMk/>
          <pc:sldMk cId="2604015348" sldId="8981"/>
        </pc:sldMkLst>
      </pc:sldChg>
      <pc:sldChg chg="del">
        <pc:chgData name="Jivrajani, Dharini" userId="9f28c9a6-e07b-4de5-8682-ac3f5c875595" providerId="ADAL" clId="{E6401A5A-AC30-4F63-9EAE-3D83573CBCE4}" dt="2020-11-17T17:18:37.347" v="212" actId="2696"/>
        <pc:sldMkLst>
          <pc:docMk/>
          <pc:sldMk cId="2898118884" sldId="8982"/>
        </pc:sldMkLst>
      </pc:sldChg>
      <pc:sldChg chg="del">
        <pc:chgData name="Jivrajani, Dharini" userId="9f28c9a6-e07b-4de5-8682-ac3f5c875595" providerId="ADAL" clId="{E6401A5A-AC30-4F63-9EAE-3D83573CBCE4}" dt="2020-11-17T17:18:36.160" v="211" actId="2696"/>
        <pc:sldMkLst>
          <pc:docMk/>
          <pc:sldMk cId="3987093810" sldId="8983"/>
        </pc:sldMkLst>
      </pc:sldChg>
      <pc:sldChg chg="del">
        <pc:chgData name="Jivrajani, Dharini" userId="9f28c9a6-e07b-4de5-8682-ac3f5c875595" providerId="ADAL" clId="{E6401A5A-AC30-4F63-9EAE-3D83573CBCE4}" dt="2020-11-17T17:18:32.581" v="210" actId="2696"/>
        <pc:sldMkLst>
          <pc:docMk/>
          <pc:sldMk cId="654422803" sldId="8984"/>
        </pc:sldMkLst>
      </pc:sldChg>
      <pc:sldChg chg="del">
        <pc:chgData name="Jivrajani, Dharini" userId="9f28c9a6-e07b-4de5-8682-ac3f5c875595" providerId="ADAL" clId="{E6401A5A-AC30-4F63-9EAE-3D83573CBCE4}" dt="2020-11-30T16:00:06.447" v="685" actId="2696"/>
        <pc:sldMkLst>
          <pc:docMk/>
          <pc:sldMk cId="2685096169" sldId="8986"/>
        </pc:sldMkLst>
      </pc:sldChg>
      <pc:sldChg chg="modSp addCm modCm">
        <pc:chgData name="Jivrajani, Dharini" userId="9f28c9a6-e07b-4de5-8682-ac3f5c875595" providerId="ADAL" clId="{E6401A5A-AC30-4F63-9EAE-3D83573CBCE4}" dt="2020-12-01T14:51:19.506" v="829"/>
        <pc:sldMkLst>
          <pc:docMk/>
          <pc:sldMk cId="3148283714" sldId="8987"/>
        </pc:sldMkLst>
        <pc:spChg chg="mod">
          <ac:chgData name="Jivrajani, Dharini" userId="9f28c9a6-e07b-4de5-8682-ac3f5c875595" providerId="ADAL" clId="{E6401A5A-AC30-4F63-9EAE-3D83573CBCE4}" dt="2020-12-01T14:50:33.614" v="827" actId="20577"/>
          <ac:spMkLst>
            <pc:docMk/>
            <pc:sldMk cId="3148283714" sldId="8987"/>
            <ac:spMk id="13" creationId="{00000000-0000-0000-0000-000000000000}"/>
          </ac:spMkLst>
        </pc:spChg>
      </pc:sldChg>
      <pc:sldChg chg="modSp">
        <pc:chgData name="Jivrajani, Dharini" userId="9f28c9a6-e07b-4de5-8682-ac3f5c875595" providerId="ADAL" clId="{E6401A5A-AC30-4F63-9EAE-3D83573CBCE4}" dt="2020-11-30T15:30:47.635" v="522" actId="14734"/>
        <pc:sldMkLst>
          <pc:docMk/>
          <pc:sldMk cId="969028718" sldId="8990"/>
        </pc:sldMkLst>
        <pc:graphicFrameChg chg="modGraphic">
          <ac:chgData name="Jivrajani, Dharini" userId="9f28c9a6-e07b-4de5-8682-ac3f5c875595" providerId="ADAL" clId="{E6401A5A-AC30-4F63-9EAE-3D83573CBCE4}" dt="2020-11-30T15:30:47.635" v="522" actId="14734"/>
          <ac:graphicFrameMkLst>
            <pc:docMk/>
            <pc:sldMk cId="969028718" sldId="8990"/>
            <ac:graphicFrameMk id="2" creationId="{9FBD2273-D8F8-4BC6-9989-AE46BDA26063}"/>
          </ac:graphicFrameMkLst>
        </pc:graphicFrameChg>
      </pc:sldChg>
      <pc:sldChg chg="modSp addCm modCm">
        <pc:chgData name="Jivrajani, Dharini" userId="9f28c9a6-e07b-4de5-8682-ac3f5c875595" providerId="ADAL" clId="{E6401A5A-AC30-4F63-9EAE-3D83573CBCE4}" dt="2020-12-01T14:40:41.910" v="751"/>
        <pc:sldMkLst>
          <pc:docMk/>
          <pc:sldMk cId="3424447147" sldId="9001"/>
        </pc:sldMkLst>
        <pc:spChg chg="mod">
          <ac:chgData name="Jivrajani, Dharini" userId="9f28c9a6-e07b-4de5-8682-ac3f5c875595" providerId="ADAL" clId="{E6401A5A-AC30-4F63-9EAE-3D83573CBCE4}" dt="2020-12-01T14:39:55.380" v="749" actId="1076"/>
          <ac:spMkLst>
            <pc:docMk/>
            <pc:sldMk cId="3424447147" sldId="9001"/>
            <ac:spMk id="10" creationId="{00000000-0000-0000-0000-000000000000}"/>
          </ac:spMkLst>
        </pc:spChg>
      </pc:sldChg>
      <pc:sldChg chg="modSp">
        <pc:chgData name="Jivrajani, Dharini" userId="9f28c9a6-e07b-4de5-8682-ac3f5c875595" providerId="ADAL" clId="{E6401A5A-AC30-4F63-9EAE-3D83573CBCE4}" dt="2020-11-30T16:04:06.760" v="698" actId="20577"/>
        <pc:sldMkLst>
          <pc:docMk/>
          <pc:sldMk cId="795272350" sldId="9010"/>
        </pc:sldMkLst>
        <pc:spChg chg="mod">
          <ac:chgData name="Jivrajani, Dharini" userId="9f28c9a6-e07b-4de5-8682-ac3f5c875595" providerId="ADAL" clId="{E6401A5A-AC30-4F63-9EAE-3D83573CBCE4}" dt="2020-11-30T16:04:06.760" v="698" actId="20577"/>
          <ac:spMkLst>
            <pc:docMk/>
            <pc:sldMk cId="795272350" sldId="9010"/>
            <ac:spMk id="20" creationId="{97F95232-FAF7-4FBD-A394-067DD3DBBE84}"/>
          </ac:spMkLst>
        </pc:spChg>
      </pc:sldChg>
      <pc:sldChg chg="modSp addCm delCm">
        <pc:chgData name="Jivrajani, Dharini" userId="9f28c9a6-e07b-4de5-8682-ac3f5c875595" providerId="ADAL" clId="{E6401A5A-AC30-4F63-9EAE-3D83573CBCE4}" dt="2020-11-30T15:41:18.144" v="554" actId="20577"/>
        <pc:sldMkLst>
          <pc:docMk/>
          <pc:sldMk cId="1038663697" sldId="9018"/>
        </pc:sldMkLst>
        <pc:spChg chg="mod">
          <ac:chgData name="Jivrajani, Dharini" userId="9f28c9a6-e07b-4de5-8682-ac3f5c875595" providerId="ADAL" clId="{E6401A5A-AC30-4F63-9EAE-3D83573CBCE4}" dt="2020-11-30T15:41:18.144" v="554" actId="20577"/>
          <ac:spMkLst>
            <pc:docMk/>
            <pc:sldMk cId="1038663697" sldId="9018"/>
            <ac:spMk id="3" creationId="{9651AA8A-449A-4CB5-BE13-0C46010A0372}"/>
          </ac:spMkLst>
        </pc:spChg>
      </pc:sldChg>
      <pc:sldChg chg="del">
        <pc:chgData name="Jivrajani, Dharini" userId="9f28c9a6-e07b-4de5-8682-ac3f5c875595" providerId="ADAL" clId="{E6401A5A-AC30-4F63-9EAE-3D83573CBCE4}" dt="2020-12-01T14:42:01.814" v="752" actId="2696"/>
        <pc:sldMkLst>
          <pc:docMk/>
          <pc:sldMk cId="857631512" sldId="9022"/>
        </pc:sldMkLst>
      </pc:sldChg>
    </pc:docChg>
  </pc:docChgLst>
  <pc:docChgLst>
    <pc:chgData name="Jivrajani, Dharini" userId="S::djivrajani@deloitte.com::9f28c9a6-e07b-4de5-8682-ac3f5c875595" providerId="AD" clId="Web-{6A6B1583-AEDC-4BD4-852A-549E8FC0ABA2}"/>
    <pc:docChg chg="modSld">
      <pc:chgData name="Jivrajani, Dharini" userId="S::djivrajani@deloitte.com::9f28c9a6-e07b-4de5-8682-ac3f5c875595" providerId="AD" clId="Web-{6A6B1583-AEDC-4BD4-852A-549E8FC0ABA2}" dt="2020-06-11T18:37:22.375" v="60" actId="14100"/>
      <pc:docMkLst>
        <pc:docMk/>
      </pc:docMkLst>
      <pc:sldChg chg="modSp">
        <pc:chgData name="Jivrajani, Dharini" userId="S::djivrajani@deloitte.com::9f28c9a6-e07b-4de5-8682-ac3f5c875595" providerId="AD" clId="Web-{6A6B1583-AEDC-4BD4-852A-549E8FC0ABA2}" dt="2020-06-11T18:37:22.375" v="60" actId="14100"/>
        <pc:sldMkLst>
          <pc:docMk/>
          <pc:sldMk cId="2545999528" sldId="2078"/>
        </pc:sldMkLst>
        <pc:spChg chg="mod">
          <ac:chgData name="Jivrajani, Dharini" userId="S::djivrajani@deloitte.com::9f28c9a6-e07b-4de5-8682-ac3f5c875595" providerId="AD" clId="Web-{6A6B1583-AEDC-4BD4-852A-549E8FC0ABA2}" dt="2020-06-11T18:37:22.375" v="60" actId="14100"/>
          <ac:spMkLst>
            <pc:docMk/>
            <pc:sldMk cId="2545999528" sldId="2078"/>
            <ac:spMk id="2" creationId="{1E73596D-C27B-4130-B10F-8497ED608FEB}"/>
          </ac:spMkLst>
        </pc:spChg>
        <pc:spChg chg="mod">
          <ac:chgData name="Jivrajani, Dharini" userId="S::djivrajani@deloitte.com::9f28c9a6-e07b-4de5-8682-ac3f5c875595" providerId="AD" clId="Web-{6A6B1583-AEDC-4BD4-852A-549E8FC0ABA2}" dt="2020-06-11T18:34:23.257" v="25" actId="20577"/>
          <ac:spMkLst>
            <pc:docMk/>
            <pc:sldMk cId="2545999528" sldId="2078"/>
            <ac:spMk id="32" creationId="{EE846179-D6A7-451E-A022-73E14AF128B0}"/>
          </ac:spMkLst>
        </pc:spChg>
      </pc:sldChg>
    </pc:docChg>
  </pc:docChgLst>
  <pc:docChgLst>
    <pc:chgData name="Jackman, Lauren" userId="ef96ab20-fb12-476c-a3e0-14bd051fc290" providerId="ADAL" clId="{9093680B-37EA-428C-B684-A1188D5AC39C}"/>
    <pc:docChg chg="custSel addSld delSld modSld addSection modSection">
      <pc:chgData name="Jackman, Lauren" userId="ef96ab20-fb12-476c-a3e0-14bd051fc290" providerId="ADAL" clId="{9093680B-37EA-428C-B684-A1188D5AC39C}" dt="2021-03-22T20:21:56.866" v="3566" actId="20577"/>
      <pc:docMkLst>
        <pc:docMk/>
      </pc:docMkLst>
      <pc:sldChg chg="del">
        <pc:chgData name="Jackman, Lauren" userId="ef96ab20-fb12-476c-a3e0-14bd051fc290" providerId="ADAL" clId="{9093680B-37EA-428C-B684-A1188D5AC39C}" dt="2021-03-19T21:40:17.129" v="1740" actId="2696"/>
        <pc:sldMkLst>
          <pc:docMk/>
          <pc:sldMk cId="972174007" sldId="343"/>
        </pc:sldMkLst>
      </pc:sldChg>
      <pc:sldChg chg="addCm modCm">
        <pc:chgData name="Jackman, Lauren" userId="ef96ab20-fb12-476c-a3e0-14bd051fc290" providerId="ADAL" clId="{9093680B-37EA-428C-B684-A1188D5AC39C}" dt="2021-03-19T21:41:21.499" v="1746"/>
        <pc:sldMkLst>
          <pc:docMk/>
          <pc:sldMk cId="3039481074" sldId="365"/>
        </pc:sldMkLst>
      </pc:sldChg>
      <pc:sldChg chg="modSp">
        <pc:chgData name="Jackman, Lauren" userId="ef96ab20-fb12-476c-a3e0-14bd051fc290" providerId="ADAL" clId="{9093680B-37EA-428C-B684-A1188D5AC39C}" dt="2021-03-22T18:51:03.844" v="2057" actId="20577"/>
        <pc:sldMkLst>
          <pc:docMk/>
          <pc:sldMk cId="24609206" sldId="2104"/>
        </pc:sldMkLst>
        <pc:spChg chg="mod">
          <ac:chgData name="Jackman, Lauren" userId="ef96ab20-fb12-476c-a3e0-14bd051fc290" providerId="ADAL" clId="{9093680B-37EA-428C-B684-A1188D5AC39C}" dt="2021-03-22T18:49:49.333" v="1976" actId="20577"/>
          <ac:spMkLst>
            <pc:docMk/>
            <pc:sldMk cId="24609206" sldId="2104"/>
            <ac:spMk id="3" creationId="{320F8995-C0FD-4107-AC83-E830FB6660E5}"/>
          </ac:spMkLst>
        </pc:spChg>
        <pc:spChg chg="mod">
          <ac:chgData name="Jackman, Lauren" userId="ef96ab20-fb12-476c-a3e0-14bd051fc290" providerId="ADAL" clId="{9093680B-37EA-428C-B684-A1188D5AC39C}" dt="2021-03-22T18:49:59.224" v="1980" actId="20577"/>
          <ac:spMkLst>
            <pc:docMk/>
            <pc:sldMk cId="24609206" sldId="2104"/>
            <ac:spMk id="5" creationId="{5B812393-1D4C-44E5-88C8-52EB15B2AC90}"/>
          </ac:spMkLst>
        </pc:spChg>
        <pc:spChg chg="mod">
          <ac:chgData name="Jackman, Lauren" userId="ef96ab20-fb12-476c-a3e0-14bd051fc290" providerId="ADAL" clId="{9093680B-37EA-428C-B684-A1188D5AC39C}" dt="2021-03-22T18:51:03.844" v="2057" actId="20577"/>
          <ac:spMkLst>
            <pc:docMk/>
            <pc:sldMk cId="24609206" sldId="2104"/>
            <ac:spMk id="6" creationId="{41712EE9-2920-4875-B348-8A4168F5AC30}"/>
          </ac:spMkLst>
        </pc:spChg>
      </pc:sldChg>
      <pc:sldChg chg="modSp">
        <pc:chgData name="Jackman, Lauren" userId="ef96ab20-fb12-476c-a3e0-14bd051fc290" providerId="ADAL" clId="{9093680B-37EA-428C-B684-A1188D5AC39C}" dt="2021-03-19T21:14:03.718" v="1026" actId="20577"/>
        <pc:sldMkLst>
          <pc:docMk/>
          <pc:sldMk cId="3491360341" sldId="8786"/>
        </pc:sldMkLst>
        <pc:graphicFrameChg chg="modGraphic">
          <ac:chgData name="Jackman, Lauren" userId="ef96ab20-fb12-476c-a3e0-14bd051fc290" providerId="ADAL" clId="{9093680B-37EA-428C-B684-A1188D5AC39C}" dt="2021-03-19T21:14:03.718" v="1026" actId="20577"/>
          <ac:graphicFrameMkLst>
            <pc:docMk/>
            <pc:sldMk cId="3491360341" sldId="8786"/>
            <ac:graphicFrameMk id="4" creationId="{FE664A44-2B52-48E1-842B-86373307A2AD}"/>
          </ac:graphicFrameMkLst>
        </pc:graphicFrameChg>
      </pc:sldChg>
      <pc:sldChg chg="delSp modSp">
        <pc:chgData name="Jackman, Lauren" userId="ef96ab20-fb12-476c-a3e0-14bd051fc290" providerId="ADAL" clId="{9093680B-37EA-428C-B684-A1188D5AC39C}" dt="2021-03-19T21:44:12.529" v="1759"/>
        <pc:sldMkLst>
          <pc:docMk/>
          <pc:sldMk cId="800771401" sldId="8787"/>
        </pc:sldMkLst>
        <pc:spChg chg="del">
          <ac:chgData name="Jackman, Lauren" userId="ef96ab20-fb12-476c-a3e0-14bd051fc290" providerId="ADAL" clId="{9093680B-37EA-428C-B684-A1188D5AC39C}" dt="2021-03-19T21:27:05.249" v="1531" actId="478"/>
          <ac:spMkLst>
            <pc:docMk/>
            <pc:sldMk cId="800771401" sldId="8787"/>
            <ac:spMk id="3" creationId="{FFABBAB9-CC61-4ED8-993B-18853E07F827}"/>
          </ac:spMkLst>
        </pc:spChg>
        <pc:spChg chg="del">
          <ac:chgData name="Jackman, Lauren" userId="ef96ab20-fb12-476c-a3e0-14bd051fc290" providerId="ADAL" clId="{9093680B-37EA-428C-B684-A1188D5AC39C}" dt="2021-03-19T21:02:21.895" v="18" actId="478"/>
          <ac:spMkLst>
            <pc:docMk/>
            <pc:sldMk cId="800771401" sldId="8787"/>
            <ac:spMk id="4" creationId="{DE318BA6-3A38-4779-8851-03123C26D78F}"/>
          </ac:spMkLst>
        </pc:spChg>
        <pc:spChg chg="mod">
          <ac:chgData name="Jackman, Lauren" userId="ef96ab20-fb12-476c-a3e0-14bd051fc290" providerId="ADAL" clId="{9093680B-37EA-428C-B684-A1188D5AC39C}" dt="2021-03-19T21:27:28.084" v="1532" actId="1076"/>
          <ac:spMkLst>
            <pc:docMk/>
            <pc:sldMk cId="800771401" sldId="8787"/>
            <ac:spMk id="5" creationId="{3251E91F-7239-4E7A-9875-42D199409359}"/>
          </ac:spMkLst>
        </pc:spChg>
        <pc:graphicFrameChg chg="mod modGraphic">
          <ac:chgData name="Jackman, Lauren" userId="ef96ab20-fb12-476c-a3e0-14bd051fc290" providerId="ADAL" clId="{9093680B-37EA-428C-B684-A1188D5AC39C}" dt="2021-03-19T21:44:12.529" v="1759"/>
          <ac:graphicFrameMkLst>
            <pc:docMk/>
            <pc:sldMk cId="800771401" sldId="8787"/>
            <ac:graphicFrameMk id="2" creationId="{9FBD2273-D8F8-4BC6-9989-AE46BDA26063}"/>
          </ac:graphicFrameMkLst>
        </pc:graphicFrameChg>
      </pc:sldChg>
      <pc:sldChg chg="modSp">
        <pc:chgData name="Jackman, Lauren" userId="ef96ab20-fb12-476c-a3e0-14bd051fc290" providerId="ADAL" clId="{9093680B-37EA-428C-B684-A1188D5AC39C}" dt="2021-03-22T20:04:21.397" v="3530" actId="20577"/>
        <pc:sldMkLst>
          <pc:docMk/>
          <pc:sldMk cId="3148283714" sldId="8987"/>
        </pc:sldMkLst>
        <pc:spChg chg="mod">
          <ac:chgData name="Jackman, Lauren" userId="ef96ab20-fb12-476c-a3e0-14bd051fc290" providerId="ADAL" clId="{9093680B-37EA-428C-B684-A1188D5AC39C}" dt="2021-03-22T20:04:21.397" v="3530" actId="20577"/>
          <ac:spMkLst>
            <pc:docMk/>
            <pc:sldMk cId="3148283714" sldId="8987"/>
            <ac:spMk id="13" creationId="{00000000-0000-0000-0000-000000000000}"/>
          </ac:spMkLst>
        </pc:spChg>
      </pc:sldChg>
      <pc:sldChg chg="delSp modSp">
        <pc:chgData name="Jackman, Lauren" userId="ef96ab20-fb12-476c-a3e0-14bd051fc290" providerId="ADAL" clId="{9093680B-37EA-428C-B684-A1188D5AC39C}" dt="2021-03-19T21:22:58.822" v="1396" actId="6549"/>
        <pc:sldMkLst>
          <pc:docMk/>
          <pc:sldMk cId="969028718" sldId="8990"/>
        </pc:sldMkLst>
        <pc:spChg chg="del">
          <ac:chgData name="Jackman, Lauren" userId="ef96ab20-fb12-476c-a3e0-14bd051fc290" providerId="ADAL" clId="{9093680B-37EA-428C-B684-A1188D5AC39C}" dt="2021-03-19T21:15:50.019" v="1094" actId="478"/>
          <ac:spMkLst>
            <pc:docMk/>
            <pc:sldMk cId="969028718" sldId="8990"/>
            <ac:spMk id="5" creationId="{C7A6EFA4-A8C5-4F60-811F-75987CCD1D89}"/>
          </ac:spMkLst>
        </pc:spChg>
        <pc:spChg chg="del">
          <ac:chgData name="Jackman, Lauren" userId="ef96ab20-fb12-476c-a3e0-14bd051fc290" providerId="ADAL" clId="{9093680B-37EA-428C-B684-A1188D5AC39C}" dt="2021-03-19T21:22:29.294" v="1392" actId="478"/>
          <ac:spMkLst>
            <pc:docMk/>
            <pc:sldMk cId="969028718" sldId="8990"/>
            <ac:spMk id="7" creationId="{D3CC2373-8FD9-460D-AD16-4C922C6E09CC}"/>
          </ac:spMkLst>
        </pc:spChg>
        <pc:graphicFrameChg chg="modGraphic">
          <ac:chgData name="Jackman, Lauren" userId="ef96ab20-fb12-476c-a3e0-14bd051fc290" providerId="ADAL" clId="{9093680B-37EA-428C-B684-A1188D5AC39C}" dt="2021-03-19T21:22:58.822" v="1396" actId="6549"/>
          <ac:graphicFrameMkLst>
            <pc:docMk/>
            <pc:sldMk cId="969028718" sldId="8990"/>
            <ac:graphicFrameMk id="2" creationId="{9FBD2273-D8F8-4BC6-9989-AE46BDA26063}"/>
          </ac:graphicFrameMkLst>
        </pc:graphicFrameChg>
      </pc:sldChg>
      <pc:sldChg chg="del">
        <pc:chgData name="Jackman, Lauren" userId="ef96ab20-fb12-476c-a3e0-14bd051fc290" providerId="ADAL" clId="{9093680B-37EA-428C-B684-A1188D5AC39C}" dt="2021-03-19T21:22:15.001" v="1390" actId="2696"/>
        <pc:sldMkLst>
          <pc:docMk/>
          <pc:sldMk cId="4197351074" sldId="9008"/>
        </pc:sldMkLst>
      </pc:sldChg>
      <pc:sldChg chg="del">
        <pc:chgData name="Jackman, Lauren" userId="ef96ab20-fb12-476c-a3e0-14bd051fc290" providerId="ADAL" clId="{9093680B-37EA-428C-B684-A1188D5AC39C}" dt="2021-03-19T21:51:47.430" v="1768" actId="2696"/>
        <pc:sldMkLst>
          <pc:docMk/>
          <pc:sldMk cId="507629460" sldId="9009"/>
        </pc:sldMkLst>
      </pc:sldChg>
      <pc:sldChg chg="modSp">
        <pc:chgData name="Jackman, Lauren" userId="ef96ab20-fb12-476c-a3e0-14bd051fc290" providerId="ADAL" clId="{9093680B-37EA-428C-B684-A1188D5AC39C}" dt="2021-03-22T18:51:34.528" v="2072" actId="20577"/>
        <pc:sldMkLst>
          <pc:docMk/>
          <pc:sldMk cId="3389621691" sldId="9015"/>
        </pc:sldMkLst>
        <pc:spChg chg="mod">
          <ac:chgData name="Jackman, Lauren" userId="ef96ab20-fb12-476c-a3e0-14bd051fc290" providerId="ADAL" clId="{9093680B-37EA-428C-B684-A1188D5AC39C}" dt="2021-03-22T18:51:34.528" v="2072" actId="20577"/>
          <ac:spMkLst>
            <pc:docMk/>
            <pc:sldMk cId="3389621691" sldId="9015"/>
            <ac:spMk id="4" creationId="{7A9DFF01-0B03-48E4-B42D-F011C5ECF119}"/>
          </ac:spMkLst>
        </pc:spChg>
      </pc:sldChg>
      <pc:sldChg chg="addSp modSp">
        <pc:chgData name="Jackman, Lauren" userId="ef96ab20-fb12-476c-a3e0-14bd051fc290" providerId="ADAL" clId="{9093680B-37EA-428C-B684-A1188D5AC39C}" dt="2021-03-22T19:10:33.256" v="3507" actId="20577"/>
        <pc:sldMkLst>
          <pc:docMk/>
          <pc:sldMk cId="1920867600" sldId="9038"/>
        </pc:sldMkLst>
        <pc:spChg chg="add mod">
          <ac:chgData name="Jackman, Lauren" userId="ef96ab20-fb12-476c-a3e0-14bd051fc290" providerId="ADAL" clId="{9093680B-37EA-428C-B684-A1188D5AC39C}" dt="2021-03-19T21:52:26.202" v="1816" actId="20577"/>
          <ac:spMkLst>
            <pc:docMk/>
            <pc:sldMk cId="1920867600" sldId="9038"/>
            <ac:spMk id="3" creationId="{B6DDDEA2-BC2A-4E95-ABB1-ACC3B6BE1FBE}"/>
          </ac:spMkLst>
        </pc:spChg>
        <pc:graphicFrameChg chg="mod modGraphic">
          <ac:chgData name="Jackman, Lauren" userId="ef96ab20-fb12-476c-a3e0-14bd051fc290" providerId="ADAL" clId="{9093680B-37EA-428C-B684-A1188D5AC39C}" dt="2021-03-22T19:10:33.256" v="3507" actId="20577"/>
          <ac:graphicFrameMkLst>
            <pc:docMk/>
            <pc:sldMk cId="1920867600" sldId="9038"/>
            <ac:graphicFrameMk id="2" creationId="{9FBD2273-D8F8-4BC6-9989-AE46BDA26063}"/>
          </ac:graphicFrameMkLst>
        </pc:graphicFrameChg>
      </pc:sldChg>
      <pc:sldChg chg="addSp modSp add">
        <pc:chgData name="Jackman, Lauren" userId="ef96ab20-fb12-476c-a3e0-14bd051fc290" providerId="ADAL" clId="{9093680B-37EA-428C-B684-A1188D5AC39C}" dt="2021-03-19T21:38:41.616" v="1731" actId="1076"/>
        <pc:sldMkLst>
          <pc:docMk/>
          <pc:sldMk cId="1088930848" sldId="9039"/>
        </pc:sldMkLst>
        <pc:spChg chg="add mod">
          <ac:chgData name="Jackman, Lauren" userId="ef96ab20-fb12-476c-a3e0-14bd051fc290" providerId="ADAL" clId="{9093680B-37EA-428C-B684-A1188D5AC39C}" dt="2021-03-19T21:38:41.616" v="1731" actId="1076"/>
          <ac:spMkLst>
            <pc:docMk/>
            <pc:sldMk cId="1088930848" sldId="9039"/>
            <ac:spMk id="2" creationId="{963C33E6-0022-4EE5-87D1-03092377E3E1}"/>
          </ac:spMkLst>
        </pc:spChg>
      </pc:sldChg>
      <pc:sldChg chg="add del">
        <pc:chgData name="Jackman, Lauren" userId="ef96ab20-fb12-476c-a3e0-14bd051fc290" providerId="ADAL" clId="{9093680B-37EA-428C-B684-A1188D5AC39C}" dt="2021-03-19T21:39:40.096" v="1737"/>
        <pc:sldMkLst>
          <pc:docMk/>
          <pc:sldMk cId="2326603136" sldId="9040"/>
        </pc:sldMkLst>
      </pc:sldChg>
      <pc:sldChg chg="modSp">
        <pc:chgData name="Jackman, Lauren" userId="ef96ab20-fb12-476c-a3e0-14bd051fc290" providerId="ADAL" clId="{9093680B-37EA-428C-B684-A1188D5AC39C}" dt="2021-03-22T20:21:56.866" v="3566" actId="20577"/>
        <pc:sldMkLst>
          <pc:docMk/>
          <pc:sldMk cId="2318716816" sldId="9041"/>
        </pc:sldMkLst>
        <pc:spChg chg="mod">
          <ac:chgData name="Jackman, Lauren" userId="ef96ab20-fb12-476c-a3e0-14bd051fc290" providerId="ADAL" clId="{9093680B-37EA-428C-B684-A1188D5AC39C}" dt="2021-03-22T20:21:56.866" v="3566" actId="20577"/>
          <ac:spMkLst>
            <pc:docMk/>
            <pc:sldMk cId="2318716816" sldId="9041"/>
            <ac:spMk id="13" creationId="{00000000-0000-0000-0000-000000000000}"/>
          </ac:spMkLst>
        </pc:spChg>
      </pc:sldChg>
      <pc:sldChg chg="addSp delSp modSp add">
        <pc:chgData name="Jackman, Lauren" userId="ef96ab20-fb12-476c-a3e0-14bd051fc290" providerId="ADAL" clId="{9093680B-37EA-428C-B684-A1188D5AC39C}" dt="2021-03-22T19:04:26.376" v="3456" actId="20577"/>
        <pc:sldMkLst>
          <pc:docMk/>
          <pc:sldMk cId="4229778780" sldId="9042"/>
        </pc:sldMkLst>
        <pc:spChg chg="add mod">
          <ac:chgData name="Jackman, Lauren" userId="ef96ab20-fb12-476c-a3e0-14bd051fc290" providerId="ADAL" clId="{9093680B-37EA-428C-B684-A1188D5AC39C}" dt="2021-03-22T18:55:49.422" v="2412"/>
          <ac:spMkLst>
            <pc:docMk/>
            <pc:sldMk cId="4229778780" sldId="9042"/>
            <ac:spMk id="2" creationId="{F784B697-AB8A-478B-8CB0-D9562795C192}"/>
          </ac:spMkLst>
        </pc:spChg>
        <pc:spChg chg="add del mod">
          <ac:chgData name="Jackman, Lauren" userId="ef96ab20-fb12-476c-a3e0-14bd051fc290" providerId="ADAL" clId="{9093680B-37EA-428C-B684-A1188D5AC39C}" dt="2021-03-22T18:55:51.254" v="2414"/>
          <ac:spMkLst>
            <pc:docMk/>
            <pc:sldMk cId="4229778780" sldId="9042"/>
            <ac:spMk id="3" creationId="{0B7EFA01-C464-40B1-B733-36F7876A343C}"/>
          </ac:spMkLst>
        </pc:spChg>
        <pc:spChg chg="add mod">
          <ac:chgData name="Jackman, Lauren" userId="ef96ab20-fb12-476c-a3e0-14bd051fc290" providerId="ADAL" clId="{9093680B-37EA-428C-B684-A1188D5AC39C}" dt="2021-03-22T19:04:26.376" v="3456" actId="20577"/>
          <ac:spMkLst>
            <pc:docMk/>
            <pc:sldMk cId="4229778780" sldId="9042"/>
            <ac:spMk id="4" creationId="{2414D946-1652-4D8A-9BAA-018A4ACA57B3}"/>
          </ac:spMkLst>
        </pc:spChg>
      </pc:sldChg>
      <pc:sldChg chg="addSp delSp modSp add">
        <pc:chgData name="Jackman, Lauren" userId="ef96ab20-fb12-476c-a3e0-14bd051fc290" providerId="ADAL" clId="{9093680B-37EA-428C-B684-A1188D5AC39C}" dt="2021-03-22T19:04:40.380" v="3461" actId="20577"/>
        <pc:sldMkLst>
          <pc:docMk/>
          <pc:sldMk cId="400888471" sldId="9043"/>
        </pc:sldMkLst>
        <pc:spChg chg="add del mod">
          <ac:chgData name="Jackman, Lauren" userId="ef96ab20-fb12-476c-a3e0-14bd051fc290" providerId="ADAL" clId="{9093680B-37EA-428C-B684-A1188D5AC39C}" dt="2021-03-22T18:56:33.508" v="2470"/>
          <ac:spMkLst>
            <pc:docMk/>
            <pc:sldMk cId="400888471" sldId="9043"/>
            <ac:spMk id="2" creationId="{E2E8FC90-6979-4CD7-A64A-44594F007A66}"/>
          </ac:spMkLst>
        </pc:spChg>
        <pc:spChg chg="add mod">
          <ac:chgData name="Jackman, Lauren" userId="ef96ab20-fb12-476c-a3e0-14bd051fc290" providerId="ADAL" clId="{9093680B-37EA-428C-B684-A1188D5AC39C}" dt="2021-03-22T19:04:40.380" v="3461" actId="20577"/>
          <ac:spMkLst>
            <pc:docMk/>
            <pc:sldMk cId="400888471" sldId="9043"/>
            <ac:spMk id="3" creationId="{EA75897A-C604-461A-AEA3-93D3E8B3F628}"/>
          </ac:spMkLst>
        </pc:spChg>
      </pc:sldChg>
    </pc:docChg>
  </pc:docChgLst>
  <pc:docChgLst>
    <pc:chgData name="Mukherjee, Krishnendu" userId="S::krmukherjee@deloitte.com::8df999e8-a9d6-4973-bdc2-708772ae3d9d" providerId="AD" clId="Web-{6170F996-4399-425C-B5F5-8C860557CBC0}"/>
    <pc:docChg chg="modSld">
      <pc:chgData name="Mukherjee, Krishnendu" userId="S::krmukherjee@deloitte.com::8df999e8-a9d6-4973-bdc2-708772ae3d9d" providerId="AD" clId="Web-{6170F996-4399-425C-B5F5-8C860557CBC0}" dt="2020-11-30T09:10:16.941" v="15" actId="14100"/>
      <pc:docMkLst>
        <pc:docMk/>
      </pc:docMkLst>
      <pc:sldChg chg="modSp">
        <pc:chgData name="Mukherjee, Krishnendu" userId="S::krmukherjee@deloitte.com::8df999e8-a9d6-4973-bdc2-708772ae3d9d" providerId="AD" clId="Web-{6170F996-4399-425C-B5F5-8C860557CBC0}" dt="2020-11-30T09:10:16.941" v="15" actId="14100"/>
        <pc:sldMkLst>
          <pc:docMk/>
          <pc:sldMk cId="1736536038" sldId="9007"/>
        </pc:sldMkLst>
        <pc:spChg chg="mod">
          <ac:chgData name="Mukherjee, Krishnendu" userId="S::krmukherjee@deloitte.com::8df999e8-a9d6-4973-bdc2-708772ae3d9d" providerId="AD" clId="Web-{6170F996-4399-425C-B5F5-8C860557CBC0}" dt="2020-11-30T09:09:04.409" v="8" actId="14100"/>
          <ac:spMkLst>
            <pc:docMk/>
            <pc:sldMk cId="1736536038" sldId="9007"/>
            <ac:spMk id="2" creationId="{A177750C-044F-4990-8BD0-F0E7899BE3EF}"/>
          </ac:spMkLst>
        </pc:spChg>
        <pc:spChg chg="mod">
          <ac:chgData name="Mukherjee, Krishnendu" userId="S::krmukherjee@deloitte.com::8df999e8-a9d6-4973-bdc2-708772ae3d9d" providerId="AD" clId="Web-{6170F996-4399-425C-B5F5-8C860557CBC0}" dt="2020-11-30T09:10:16.941" v="15" actId="14100"/>
          <ac:spMkLst>
            <pc:docMk/>
            <pc:sldMk cId="1736536038" sldId="9007"/>
            <ac:spMk id="7" creationId="{23BFA5EA-56E0-451D-8744-A431A8B9C40E}"/>
          </ac:spMkLst>
        </pc:spChg>
        <pc:spChg chg="mod">
          <ac:chgData name="Mukherjee, Krishnendu" userId="S::krmukherjee@deloitte.com::8df999e8-a9d6-4973-bdc2-708772ae3d9d" providerId="AD" clId="Web-{6170F996-4399-425C-B5F5-8C860557CBC0}" dt="2020-11-30T09:09:57.362" v="13" actId="1076"/>
          <ac:spMkLst>
            <pc:docMk/>
            <pc:sldMk cId="1736536038" sldId="9007"/>
            <ac:spMk id="32" creationId="{EF450DAD-1A03-4ADA-A6B6-85242294E514}"/>
          </ac:spMkLst>
        </pc:spChg>
        <pc:spChg chg="mod">
          <ac:chgData name="Mukherjee, Krishnendu" userId="S::krmukherjee@deloitte.com::8df999e8-a9d6-4973-bdc2-708772ae3d9d" providerId="AD" clId="Web-{6170F996-4399-425C-B5F5-8C860557CBC0}" dt="2020-11-30T09:09:57.362" v="14" actId="1076"/>
          <ac:spMkLst>
            <pc:docMk/>
            <pc:sldMk cId="1736536038" sldId="9007"/>
            <ac:spMk id="34" creationId="{DA9E4ACD-C674-47B5-940C-7094D6277CA0}"/>
          </ac:spMkLst>
        </pc:spChg>
      </pc:sldChg>
    </pc:docChg>
  </pc:docChgLst>
  <pc:docChgLst>
    <pc:chgData name="Jivrajani, Dharini" userId="S::djivrajani@deloitte.com::9f28c9a6-e07b-4de5-8682-ac3f5c875595" providerId="AD" clId="Web-{8A9FAAB0-A64A-4821-B10B-63C5875CEEB3}"/>
    <pc:docChg chg="modSld">
      <pc:chgData name="Jivrajani, Dharini" userId="S::djivrajani@deloitte.com::9f28c9a6-e07b-4de5-8682-ac3f5c875595" providerId="AD" clId="Web-{8A9FAAB0-A64A-4821-B10B-63C5875CEEB3}" dt="2021-06-29T13:12:28.436" v="61"/>
      <pc:docMkLst>
        <pc:docMk/>
      </pc:docMkLst>
      <pc:sldChg chg="modSp">
        <pc:chgData name="Jivrajani, Dharini" userId="S::djivrajani@deloitte.com::9f28c9a6-e07b-4de5-8682-ac3f5c875595" providerId="AD" clId="Web-{8A9FAAB0-A64A-4821-B10B-63C5875CEEB3}" dt="2021-06-29T13:12:28.436" v="61"/>
        <pc:sldMkLst>
          <pc:docMk/>
          <pc:sldMk cId="53167518" sldId="9060"/>
        </pc:sldMkLst>
        <pc:graphicFrameChg chg="mod modGraphic">
          <ac:chgData name="Jivrajani, Dharini" userId="S::djivrajani@deloitte.com::9f28c9a6-e07b-4de5-8682-ac3f5c875595" providerId="AD" clId="Web-{8A9FAAB0-A64A-4821-B10B-63C5875CEEB3}" dt="2021-06-29T13:12:28.436" v="61"/>
          <ac:graphicFrameMkLst>
            <pc:docMk/>
            <pc:sldMk cId="53167518" sldId="9060"/>
            <ac:graphicFrameMk id="4" creationId="{FE664A44-2B52-48E1-842B-86373307A2AD}"/>
          </ac:graphicFrameMkLst>
        </pc:graphicFrameChg>
      </pc:sldChg>
    </pc:docChg>
  </pc:docChgLst>
  <pc:docChgLst>
    <pc:chgData name="Jivrajani, Dharini" userId="S::djivrajani@deloitte.com::9f28c9a6-e07b-4de5-8682-ac3f5c875595" providerId="AD" clId="Web-{073C968D-FC2E-411B-8CD5-8599A9948E6F}"/>
    <pc:docChg chg="modSld">
      <pc:chgData name="Jivrajani, Dharini" userId="S::djivrajani@deloitte.com::9f28c9a6-e07b-4de5-8682-ac3f5c875595" providerId="AD" clId="Web-{073C968D-FC2E-411B-8CD5-8599A9948E6F}" dt="2021-06-28T13:14:12.425" v="2" actId="20577"/>
      <pc:docMkLst>
        <pc:docMk/>
      </pc:docMkLst>
      <pc:sldChg chg="modSp">
        <pc:chgData name="Jivrajani, Dharini" userId="S::djivrajani@deloitte.com::9f28c9a6-e07b-4de5-8682-ac3f5c875595" providerId="AD" clId="Web-{073C968D-FC2E-411B-8CD5-8599A9948E6F}" dt="2021-06-28T13:14:12.425" v="2" actId="20577"/>
        <pc:sldMkLst>
          <pc:docMk/>
          <pc:sldMk cId="3491360341" sldId="8786"/>
        </pc:sldMkLst>
        <pc:spChg chg="mod">
          <ac:chgData name="Jivrajani, Dharini" userId="S::djivrajani@deloitte.com::9f28c9a6-e07b-4de5-8682-ac3f5c875595" providerId="AD" clId="Web-{073C968D-FC2E-411B-8CD5-8599A9948E6F}" dt="2021-06-28T13:14:12.425" v="2" actId="20577"/>
          <ac:spMkLst>
            <pc:docMk/>
            <pc:sldMk cId="3491360341" sldId="8786"/>
            <ac:spMk id="55" creationId="{28000978-1E9B-46D2-BA47-4CC46A76016A}"/>
          </ac:spMkLst>
        </pc:spChg>
      </pc:sldChg>
    </pc:docChg>
  </pc:docChgLst>
  <pc:docChgLst>
    <pc:chgData name="Kutas-Hille, Janine" userId="S::jkutashille@deloitte.com::0788d68a-0adc-44ef-94ed-31189926cb8f" providerId="AD" clId="Web-{5528BD13-B020-4872-A00E-8BF8B6F2F54C}"/>
    <pc:docChg chg="modSld">
      <pc:chgData name="Kutas-Hille, Janine" userId="S::jkutashille@deloitte.com::0788d68a-0adc-44ef-94ed-31189926cb8f" providerId="AD" clId="Web-{5528BD13-B020-4872-A00E-8BF8B6F2F54C}" dt="2021-04-01T13:41:17.330" v="0"/>
      <pc:docMkLst>
        <pc:docMk/>
      </pc:docMkLst>
      <pc:sldChg chg="modSp">
        <pc:chgData name="Kutas-Hille, Janine" userId="S::jkutashille@deloitte.com::0788d68a-0adc-44ef-94ed-31189926cb8f" providerId="AD" clId="Web-{5528BD13-B020-4872-A00E-8BF8B6F2F54C}" dt="2021-04-01T13:41:17.330" v="0"/>
        <pc:sldMkLst>
          <pc:docMk/>
          <pc:sldMk cId="2286709491" sldId="443"/>
        </pc:sldMkLst>
        <pc:graphicFrameChg chg="modGraphic">
          <ac:chgData name="Kutas-Hille, Janine" userId="S::jkutashille@deloitte.com::0788d68a-0adc-44ef-94ed-31189926cb8f" providerId="AD" clId="Web-{5528BD13-B020-4872-A00E-8BF8B6F2F54C}" dt="2021-04-01T13:41:17.330" v="0"/>
          <ac:graphicFrameMkLst>
            <pc:docMk/>
            <pc:sldMk cId="2286709491" sldId="443"/>
            <ac:graphicFrameMk id="19" creationId="{00000000-0000-0000-0000-000000000000}"/>
          </ac:graphicFrameMkLst>
        </pc:graphicFrameChg>
      </pc:sldChg>
    </pc:docChg>
  </pc:docChgLst>
  <pc:docChgLst>
    <pc:chgData name="Majjiga, Swetha Reddy" userId="S::smajjiga@deloitte.com::5540cba4-1ece-4c56-97c2-75b6521b9cee" providerId="AD" clId="Web-{EEF7EED7-D384-49FF-84D0-AB54597DB50D}"/>
    <pc:docChg chg="modSld">
      <pc:chgData name="Majjiga, Swetha Reddy" userId="S::smajjiga@deloitte.com::5540cba4-1ece-4c56-97c2-75b6521b9cee" providerId="AD" clId="Web-{EEF7EED7-D384-49FF-84D0-AB54597DB50D}" dt="2020-06-22T10:09:29.681" v="7"/>
      <pc:docMkLst>
        <pc:docMk/>
      </pc:docMkLst>
      <pc:sldChg chg="modSp">
        <pc:chgData name="Majjiga, Swetha Reddy" userId="S::smajjiga@deloitte.com::5540cba4-1ece-4c56-97c2-75b6521b9cee" providerId="AD" clId="Web-{EEF7EED7-D384-49FF-84D0-AB54597DB50D}" dt="2020-06-22T10:09:29.681" v="7"/>
        <pc:sldMkLst>
          <pc:docMk/>
          <pc:sldMk cId="847777020" sldId="8791"/>
        </pc:sldMkLst>
        <pc:graphicFrameChg chg="mod modGraphic">
          <ac:chgData name="Majjiga, Swetha Reddy" userId="S::smajjiga@deloitte.com::5540cba4-1ece-4c56-97c2-75b6521b9cee" providerId="AD" clId="Web-{EEF7EED7-D384-49FF-84D0-AB54597DB50D}" dt="2020-06-22T10:09:29.681" v="7"/>
          <ac:graphicFrameMkLst>
            <pc:docMk/>
            <pc:sldMk cId="847777020" sldId="8791"/>
            <ac:graphicFrameMk id="2" creationId="{047A132D-3FAE-48C5-BD5F-C01213AAD2F4}"/>
          </ac:graphicFrameMkLst>
        </pc:graphicFrameChg>
      </pc:sldChg>
    </pc:docChg>
  </pc:docChgLst>
  <pc:docChgLst>
    <pc:chgData name="Majjiga, Swetha Reddy" userId="S::smajjiga@deloitte.com::5540cba4-1ece-4c56-97c2-75b6521b9cee" providerId="AD" clId="Web-{74C5314D-9A16-4C25-B175-A4A34C9E1007}"/>
    <pc:docChg chg="modSld">
      <pc:chgData name="Majjiga, Swetha Reddy" userId="S::smajjiga@deloitte.com::5540cba4-1ece-4c56-97c2-75b6521b9cee" providerId="AD" clId="Web-{74C5314D-9A16-4C25-B175-A4A34C9E1007}" dt="2021-02-26T07:56:18.677" v="14" actId="20577"/>
      <pc:docMkLst>
        <pc:docMk/>
      </pc:docMkLst>
      <pc:sldChg chg="modSp">
        <pc:chgData name="Majjiga, Swetha Reddy" userId="S::smajjiga@deloitte.com::5540cba4-1ece-4c56-97c2-75b6521b9cee" providerId="AD" clId="Web-{74C5314D-9A16-4C25-B175-A4A34C9E1007}" dt="2021-02-26T07:56:18.677" v="14" actId="20577"/>
        <pc:sldMkLst>
          <pc:docMk/>
          <pc:sldMk cId="4107362912" sldId="8785"/>
        </pc:sldMkLst>
        <pc:spChg chg="mod">
          <ac:chgData name="Majjiga, Swetha Reddy" userId="S::smajjiga@deloitte.com::5540cba4-1ece-4c56-97c2-75b6521b9cee" providerId="AD" clId="Web-{74C5314D-9A16-4C25-B175-A4A34C9E1007}" dt="2021-02-26T07:56:18.677" v="14" actId="20577"/>
          <ac:spMkLst>
            <pc:docMk/>
            <pc:sldMk cId="4107362912" sldId="8785"/>
            <ac:spMk id="4" creationId="{DA74E4A6-3B76-4E6E-8D06-3104FCD110F4}"/>
          </ac:spMkLst>
        </pc:spChg>
        <pc:spChg chg="mod">
          <ac:chgData name="Majjiga, Swetha Reddy" userId="S::smajjiga@deloitte.com::5540cba4-1ece-4c56-97c2-75b6521b9cee" providerId="AD" clId="Web-{74C5314D-9A16-4C25-B175-A4A34C9E1007}" dt="2021-02-26T07:56:09.942" v="12" actId="20577"/>
          <ac:spMkLst>
            <pc:docMk/>
            <pc:sldMk cId="4107362912" sldId="8785"/>
            <ac:spMk id="7" creationId="{BD52B5DB-DDAB-4EC0-94A0-8CED04FAB517}"/>
          </ac:spMkLst>
        </pc:spChg>
      </pc:sldChg>
    </pc:docChg>
  </pc:docChgLst>
  <pc:docChgLst>
    <pc:chgData name="Rudraraju, Vijaya" userId="S::vijrudraraju@deloitte.com::106f6c26-77b2-4e0c-8472-1c142b7002a0" providerId="AD" clId="Web-{CDD7CAF1-B2DA-4414-98BC-86F970CEEFFD}"/>
    <pc:docChg chg="modSld">
      <pc:chgData name="Rudraraju, Vijaya" userId="S::vijrudraraju@deloitte.com::106f6c26-77b2-4e0c-8472-1c142b7002a0" providerId="AD" clId="Web-{CDD7CAF1-B2DA-4414-98BC-86F970CEEFFD}" dt="2021-07-15T10:40:22.509" v="126" actId="1076"/>
      <pc:docMkLst>
        <pc:docMk/>
      </pc:docMkLst>
      <pc:sldChg chg="addSp delSp modSp">
        <pc:chgData name="Rudraraju, Vijaya" userId="S::vijrudraraju@deloitte.com::106f6c26-77b2-4e0c-8472-1c142b7002a0" providerId="AD" clId="Web-{CDD7CAF1-B2DA-4414-98BC-86F970CEEFFD}" dt="2021-07-15T10:38:10.741" v="56" actId="20577"/>
        <pc:sldMkLst>
          <pc:docMk/>
          <pc:sldMk cId="1686814665" sldId="9034"/>
        </pc:sldMkLst>
        <pc:spChg chg="add mod">
          <ac:chgData name="Rudraraju, Vijaya" userId="S::vijrudraraju@deloitte.com::106f6c26-77b2-4e0c-8472-1c142b7002a0" providerId="AD" clId="Web-{CDD7CAF1-B2DA-4414-98BC-86F970CEEFFD}" dt="2021-07-15T10:36:09.863" v="42" actId="14100"/>
          <ac:spMkLst>
            <pc:docMk/>
            <pc:sldMk cId="1686814665" sldId="9034"/>
            <ac:spMk id="15" creationId="{E036D192-6583-4C66-B760-D4D4415A9A6A}"/>
          </ac:spMkLst>
        </pc:spChg>
        <pc:spChg chg="del">
          <ac:chgData name="Rudraraju, Vijaya" userId="S::vijrudraraju@deloitte.com::106f6c26-77b2-4e0c-8472-1c142b7002a0" providerId="AD" clId="Web-{CDD7CAF1-B2DA-4414-98BC-86F970CEEFFD}" dt="2021-07-15T10:34:43.221" v="1"/>
          <ac:spMkLst>
            <pc:docMk/>
            <pc:sldMk cId="1686814665" sldId="9034"/>
            <ac:spMk id="19" creationId="{03934587-F7D6-428D-A4C1-E9678092F307}"/>
          </ac:spMkLst>
        </pc:spChg>
        <pc:spChg chg="mod">
          <ac:chgData name="Rudraraju, Vijaya" userId="S::vijrudraraju@deloitte.com::106f6c26-77b2-4e0c-8472-1c142b7002a0" providerId="AD" clId="Web-{CDD7CAF1-B2DA-4414-98BC-86F970CEEFFD}" dt="2021-07-15T10:37:54.771" v="44" actId="1076"/>
          <ac:spMkLst>
            <pc:docMk/>
            <pc:sldMk cId="1686814665" sldId="9034"/>
            <ac:spMk id="23" creationId="{63C4D4D1-A06E-4F86-8E1F-FBE3DBFA51E8}"/>
          </ac:spMkLst>
        </pc:spChg>
        <pc:spChg chg="mod">
          <ac:chgData name="Rudraraju, Vijaya" userId="S::vijrudraraju@deloitte.com::106f6c26-77b2-4e0c-8472-1c142b7002a0" providerId="AD" clId="Web-{CDD7CAF1-B2DA-4414-98BC-86F970CEEFFD}" dt="2021-07-15T10:37:40.474" v="43" actId="1076"/>
          <ac:spMkLst>
            <pc:docMk/>
            <pc:sldMk cId="1686814665" sldId="9034"/>
            <ac:spMk id="24" creationId="{E073CBCA-BD37-4F56-AE47-957A7BF5A91A}"/>
          </ac:spMkLst>
        </pc:spChg>
        <pc:spChg chg="mod">
          <ac:chgData name="Rudraraju, Vijaya" userId="S::vijrudraraju@deloitte.com::106f6c26-77b2-4e0c-8472-1c142b7002a0" providerId="AD" clId="Web-{CDD7CAF1-B2DA-4414-98BC-86F970CEEFFD}" dt="2021-07-15T10:35:20.253" v="38" actId="1076"/>
          <ac:spMkLst>
            <pc:docMk/>
            <pc:sldMk cId="1686814665" sldId="9034"/>
            <ac:spMk id="27" creationId="{4123DC42-A0FC-4CE7-9391-9CDE39B0A3FE}"/>
          </ac:spMkLst>
        </pc:spChg>
        <pc:spChg chg="mod">
          <ac:chgData name="Rudraraju, Vijaya" userId="S::vijrudraraju@deloitte.com::106f6c26-77b2-4e0c-8472-1c142b7002a0" providerId="AD" clId="Web-{CDD7CAF1-B2DA-4414-98BC-86F970CEEFFD}" dt="2021-07-15T10:38:10.741" v="56" actId="20577"/>
          <ac:spMkLst>
            <pc:docMk/>
            <pc:sldMk cId="1686814665" sldId="9034"/>
            <ac:spMk id="29" creationId="{CAA4663B-072D-4594-83A1-1A582238E822}"/>
          </ac:spMkLst>
        </pc:spChg>
        <pc:spChg chg="mod">
          <ac:chgData name="Rudraraju, Vijaya" userId="S::vijrudraraju@deloitte.com::106f6c26-77b2-4e0c-8472-1c142b7002a0" providerId="AD" clId="Web-{CDD7CAF1-B2DA-4414-98BC-86F970CEEFFD}" dt="2021-07-15T10:38:00.131" v="45" actId="1076"/>
          <ac:spMkLst>
            <pc:docMk/>
            <pc:sldMk cId="1686814665" sldId="9034"/>
            <ac:spMk id="30" creationId="{900D62B6-90C9-4A98-BD85-D27F78539001}"/>
          </ac:spMkLst>
        </pc:spChg>
      </pc:sldChg>
      <pc:sldChg chg="addSp modSp">
        <pc:chgData name="Rudraraju, Vijaya" userId="S::vijrudraraju@deloitte.com::106f6c26-77b2-4e0c-8472-1c142b7002a0" providerId="AD" clId="Web-{CDD7CAF1-B2DA-4414-98BC-86F970CEEFFD}" dt="2021-07-15T10:40:22.509" v="126" actId="1076"/>
        <pc:sldMkLst>
          <pc:docMk/>
          <pc:sldMk cId="3186363963" sldId="9035"/>
        </pc:sldMkLst>
        <pc:spChg chg="mod">
          <ac:chgData name="Rudraraju, Vijaya" userId="S::vijrudraraju@deloitte.com::106f6c26-77b2-4e0c-8472-1c142b7002a0" providerId="AD" clId="Web-{CDD7CAF1-B2DA-4414-98BC-86F970CEEFFD}" dt="2021-07-15T10:40:22.509" v="126" actId="1076"/>
          <ac:spMkLst>
            <pc:docMk/>
            <pc:sldMk cId="3186363963" sldId="9035"/>
            <ac:spMk id="12" creationId="{BD52B5DB-DDAB-4EC0-94A0-8CED04FAB517}"/>
          </ac:spMkLst>
        </pc:spChg>
        <pc:spChg chg="mod">
          <ac:chgData name="Rudraraju, Vijaya" userId="S::vijrudraraju@deloitte.com::106f6c26-77b2-4e0c-8472-1c142b7002a0" providerId="AD" clId="Web-{CDD7CAF1-B2DA-4414-98BC-86F970CEEFFD}" dt="2021-07-15T10:39:04.773" v="60" actId="1076"/>
          <ac:spMkLst>
            <pc:docMk/>
            <pc:sldMk cId="3186363963" sldId="9035"/>
            <ac:spMk id="14" creationId="{3A2580C5-CA76-46C2-9A0D-5F85045F5460}"/>
          </ac:spMkLst>
        </pc:spChg>
        <pc:spChg chg="add mod">
          <ac:chgData name="Rudraraju, Vijaya" userId="S::vijrudraraju@deloitte.com::106f6c26-77b2-4e0c-8472-1c142b7002a0" providerId="AD" clId="Web-{CDD7CAF1-B2DA-4414-98BC-86F970CEEFFD}" dt="2021-07-15T10:39:23.570" v="92" actId="20577"/>
          <ac:spMkLst>
            <pc:docMk/>
            <pc:sldMk cId="3186363963" sldId="9035"/>
            <ac:spMk id="15" creationId="{C33E085A-F3DB-4100-807E-BADA3E2874E5}"/>
          </ac:spMkLst>
        </pc:spChg>
        <pc:spChg chg="mod">
          <ac:chgData name="Rudraraju, Vijaya" userId="S::vijrudraraju@deloitte.com::106f6c26-77b2-4e0c-8472-1c142b7002a0" providerId="AD" clId="Web-{CDD7CAF1-B2DA-4414-98BC-86F970CEEFFD}" dt="2021-07-15T10:39:49.321" v="123" actId="20577"/>
          <ac:spMkLst>
            <pc:docMk/>
            <pc:sldMk cId="3186363963" sldId="9035"/>
            <ac:spMk id="20" creationId="{7111F526-39E7-4973-AD26-42B4A4C98B3D}"/>
          </ac:spMkLst>
        </pc:spChg>
      </pc:sldChg>
    </pc:docChg>
  </pc:docChgLst>
  <pc:docChgLst>
    <pc:chgData name="Prakash, Ankur" userId="S::anprakash@deloitte.com::e5ec4ef6-a8ef-421f-ae1a-afd967453ffe" providerId="AD" clId="Web-{7120A459-4813-40C9-8A71-F2E6ECAD5DD8}"/>
    <pc:docChg chg="addSld modSld sldOrd modSection">
      <pc:chgData name="Prakash, Ankur" userId="S::anprakash@deloitte.com::e5ec4ef6-a8ef-421f-ae1a-afd967453ffe" providerId="AD" clId="Web-{7120A459-4813-40C9-8A71-F2E6ECAD5DD8}" dt="2020-06-11T14:52:31.914" v="822" actId="20577"/>
      <pc:docMkLst>
        <pc:docMk/>
      </pc:docMkLst>
      <pc:sldChg chg="modSp">
        <pc:chgData name="Prakash, Ankur" userId="S::anprakash@deloitte.com::e5ec4ef6-a8ef-421f-ae1a-afd967453ffe" providerId="AD" clId="Web-{7120A459-4813-40C9-8A71-F2E6ECAD5DD8}" dt="2020-06-11T14:46:54.678" v="760" actId="1076"/>
        <pc:sldMkLst>
          <pc:docMk/>
          <pc:sldMk cId="3502321823" sldId="262"/>
        </pc:sldMkLst>
        <pc:spChg chg="mod">
          <ac:chgData name="Prakash, Ankur" userId="S::anprakash@deloitte.com::e5ec4ef6-a8ef-421f-ae1a-afd967453ffe" providerId="AD" clId="Web-{7120A459-4813-40C9-8A71-F2E6ECAD5DD8}" dt="2020-06-11T14:46:54.678" v="760" actId="1076"/>
          <ac:spMkLst>
            <pc:docMk/>
            <pc:sldMk cId="3502321823" sldId="262"/>
            <ac:spMk id="11" creationId="{C9C13CB8-6560-4C3A-9547-9C74F19A581A}"/>
          </ac:spMkLst>
        </pc:spChg>
      </pc:sldChg>
      <pc:sldChg chg="modSp">
        <pc:chgData name="Prakash, Ankur" userId="S::anprakash@deloitte.com::e5ec4ef6-a8ef-421f-ae1a-afd967453ffe" providerId="AD" clId="Web-{7120A459-4813-40C9-8A71-F2E6ECAD5DD8}" dt="2020-06-11T14:43:39.240" v="628" actId="20577"/>
        <pc:sldMkLst>
          <pc:docMk/>
          <pc:sldMk cId="1804393562" sldId="263"/>
        </pc:sldMkLst>
        <pc:spChg chg="mod">
          <ac:chgData name="Prakash, Ankur" userId="S::anprakash@deloitte.com::e5ec4ef6-a8ef-421f-ae1a-afd967453ffe" providerId="AD" clId="Web-{7120A459-4813-40C9-8A71-F2E6ECAD5DD8}" dt="2020-06-11T14:43:39.240" v="628" actId="20577"/>
          <ac:spMkLst>
            <pc:docMk/>
            <pc:sldMk cId="1804393562" sldId="263"/>
            <ac:spMk id="2" creationId="{B805821A-9A98-4D31-BC1C-53D2804AD7D4}"/>
          </ac:spMkLst>
        </pc:spChg>
      </pc:sldChg>
      <pc:sldChg chg="modSp">
        <pc:chgData name="Prakash, Ankur" userId="S::anprakash@deloitte.com::e5ec4ef6-a8ef-421f-ae1a-afd967453ffe" providerId="AD" clId="Web-{7120A459-4813-40C9-8A71-F2E6ECAD5DD8}" dt="2020-06-11T14:43:03.818" v="585" actId="20577"/>
        <pc:sldMkLst>
          <pc:docMk/>
          <pc:sldMk cId="3958539675" sldId="264"/>
        </pc:sldMkLst>
        <pc:spChg chg="mod">
          <ac:chgData name="Prakash, Ankur" userId="S::anprakash@deloitte.com::e5ec4ef6-a8ef-421f-ae1a-afd967453ffe" providerId="AD" clId="Web-{7120A459-4813-40C9-8A71-F2E6ECAD5DD8}" dt="2020-06-11T14:43:03.818" v="585" actId="20577"/>
          <ac:spMkLst>
            <pc:docMk/>
            <pc:sldMk cId="3958539675" sldId="264"/>
            <ac:spMk id="2" creationId="{2C097F19-CD90-46C7-9FA9-4B752F587780}"/>
          </ac:spMkLst>
        </pc:spChg>
      </pc:sldChg>
      <pc:sldChg chg="modSp">
        <pc:chgData name="Prakash, Ankur" userId="S::anprakash@deloitte.com::e5ec4ef6-a8ef-421f-ae1a-afd967453ffe" providerId="AD" clId="Web-{7120A459-4813-40C9-8A71-F2E6ECAD5DD8}" dt="2020-06-11T14:43:21.803" v="606" actId="20577"/>
        <pc:sldMkLst>
          <pc:docMk/>
          <pc:sldMk cId="389545387" sldId="267"/>
        </pc:sldMkLst>
        <pc:spChg chg="mod">
          <ac:chgData name="Prakash, Ankur" userId="S::anprakash@deloitte.com::e5ec4ef6-a8ef-421f-ae1a-afd967453ffe" providerId="AD" clId="Web-{7120A459-4813-40C9-8A71-F2E6ECAD5DD8}" dt="2020-06-11T14:43:21.803" v="606" actId="20577"/>
          <ac:spMkLst>
            <pc:docMk/>
            <pc:sldMk cId="389545387" sldId="267"/>
            <ac:spMk id="2" creationId="{7D88083F-6D52-4F9D-B30E-1EBC12764224}"/>
          </ac:spMkLst>
        </pc:spChg>
      </pc:sldChg>
      <pc:sldChg chg="modSp">
        <pc:chgData name="Prakash, Ankur" userId="S::anprakash@deloitte.com::e5ec4ef6-a8ef-421f-ae1a-afd967453ffe" providerId="AD" clId="Web-{7120A459-4813-40C9-8A71-F2E6ECAD5DD8}" dt="2020-06-11T14:38:24.708" v="487"/>
        <pc:sldMkLst>
          <pc:docMk/>
          <pc:sldMk cId="1369081146" sldId="8773"/>
        </pc:sldMkLst>
        <pc:graphicFrameChg chg="mod modGraphic">
          <ac:chgData name="Prakash, Ankur" userId="S::anprakash@deloitte.com::e5ec4ef6-a8ef-421f-ae1a-afd967453ffe" providerId="AD" clId="Web-{7120A459-4813-40C9-8A71-F2E6ECAD5DD8}" dt="2020-06-11T14:38:24.708" v="487"/>
          <ac:graphicFrameMkLst>
            <pc:docMk/>
            <pc:sldMk cId="1369081146" sldId="8773"/>
            <ac:graphicFrameMk id="4" creationId="{2AAAC88F-F4B4-4FE3-956E-C3F806D71324}"/>
          </ac:graphicFrameMkLst>
        </pc:graphicFrameChg>
      </pc:sldChg>
      <pc:sldChg chg="modSp">
        <pc:chgData name="Prakash, Ankur" userId="S::anprakash@deloitte.com::e5ec4ef6-a8ef-421f-ae1a-afd967453ffe" providerId="AD" clId="Web-{7120A459-4813-40C9-8A71-F2E6ECAD5DD8}" dt="2020-06-11T14:39:06.786" v="492" actId="20577"/>
        <pc:sldMkLst>
          <pc:docMk/>
          <pc:sldMk cId="568126937" sldId="8777"/>
        </pc:sldMkLst>
        <pc:spChg chg="mod">
          <ac:chgData name="Prakash, Ankur" userId="S::anprakash@deloitte.com::e5ec4ef6-a8ef-421f-ae1a-afd967453ffe" providerId="AD" clId="Web-{7120A459-4813-40C9-8A71-F2E6ECAD5DD8}" dt="2020-06-11T14:39:06.786" v="492" actId="20577"/>
          <ac:spMkLst>
            <pc:docMk/>
            <pc:sldMk cId="568126937" sldId="8777"/>
            <ac:spMk id="3" creationId="{7522B76D-147D-43E1-AD0B-898E5F384705}"/>
          </ac:spMkLst>
        </pc:spChg>
      </pc:sldChg>
      <pc:sldChg chg="modSp">
        <pc:chgData name="Prakash, Ankur" userId="S::anprakash@deloitte.com::e5ec4ef6-a8ef-421f-ae1a-afd967453ffe" providerId="AD" clId="Web-{7120A459-4813-40C9-8A71-F2E6ECAD5DD8}" dt="2020-06-11T14:48:18.866" v="768" actId="20577"/>
        <pc:sldMkLst>
          <pc:docMk/>
          <pc:sldMk cId="1709308679" sldId="8783"/>
        </pc:sldMkLst>
        <pc:spChg chg="mod">
          <ac:chgData name="Prakash, Ankur" userId="S::anprakash@deloitte.com::e5ec4ef6-a8ef-421f-ae1a-afd967453ffe" providerId="AD" clId="Web-{7120A459-4813-40C9-8A71-F2E6ECAD5DD8}" dt="2020-06-11T14:48:18.866" v="768" actId="20577"/>
          <ac:spMkLst>
            <pc:docMk/>
            <pc:sldMk cId="1709308679" sldId="8783"/>
            <ac:spMk id="13" creationId="{EF8A928F-790F-4408-9D94-F7104E6CE2DC}"/>
          </ac:spMkLst>
        </pc:spChg>
      </pc:sldChg>
      <pc:sldChg chg="modSp">
        <pc:chgData name="Prakash, Ankur" userId="S::anprakash@deloitte.com::e5ec4ef6-a8ef-421f-ae1a-afd967453ffe" providerId="AD" clId="Web-{7120A459-4813-40C9-8A71-F2E6ECAD5DD8}" dt="2020-06-11T14:49:59.929" v="792" actId="20577"/>
        <pc:sldMkLst>
          <pc:docMk/>
          <pc:sldMk cId="2940807522" sldId="8784"/>
        </pc:sldMkLst>
        <pc:spChg chg="mod">
          <ac:chgData name="Prakash, Ankur" userId="S::anprakash@deloitte.com::e5ec4ef6-a8ef-421f-ae1a-afd967453ffe" providerId="AD" clId="Web-{7120A459-4813-40C9-8A71-F2E6ECAD5DD8}" dt="2020-06-11T14:49:59.929" v="792" actId="20577"/>
          <ac:spMkLst>
            <pc:docMk/>
            <pc:sldMk cId="2940807522" sldId="8784"/>
            <ac:spMk id="8" creationId="{3AD73DD1-CA9D-43A7-AE40-783F13202818}"/>
          </ac:spMkLst>
        </pc:spChg>
      </pc:sldChg>
      <pc:sldChg chg="modSp">
        <pc:chgData name="Prakash, Ankur" userId="S::anprakash@deloitte.com::e5ec4ef6-a8ef-421f-ae1a-afd967453ffe" providerId="AD" clId="Web-{7120A459-4813-40C9-8A71-F2E6ECAD5DD8}" dt="2020-06-11T14:49:23.788" v="784" actId="20577"/>
        <pc:sldMkLst>
          <pc:docMk/>
          <pc:sldMk cId="4107362912" sldId="8785"/>
        </pc:sldMkLst>
        <pc:spChg chg="mod">
          <ac:chgData name="Prakash, Ankur" userId="S::anprakash@deloitte.com::e5ec4ef6-a8ef-421f-ae1a-afd967453ffe" providerId="AD" clId="Web-{7120A459-4813-40C9-8A71-F2E6ECAD5DD8}" dt="2020-06-11T14:49:23.788" v="784" actId="20577"/>
          <ac:spMkLst>
            <pc:docMk/>
            <pc:sldMk cId="4107362912" sldId="8785"/>
            <ac:spMk id="7" creationId="{BD52B5DB-DDAB-4EC0-94A0-8CED04FAB517}"/>
          </ac:spMkLst>
        </pc:spChg>
      </pc:sldChg>
      <pc:sldChg chg="modSp">
        <pc:chgData name="Prakash, Ankur" userId="S::anprakash@deloitte.com::e5ec4ef6-a8ef-421f-ae1a-afd967453ffe" providerId="AD" clId="Web-{7120A459-4813-40C9-8A71-F2E6ECAD5DD8}" dt="2020-06-11T14:42:20.428" v="558" actId="20577"/>
        <pc:sldMkLst>
          <pc:docMk/>
          <pc:sldMk cId="847777020" sldId="8791"/>
        </pc:sldMkLst>
        <pc:spChg chg="mod">
          <ac:chgData name="Prakash, Ankur" userId="S::anprakash@deloitte.com::e5ec4ef6-a8ef-421f-ae1a-afd967453ffe" providerId="AD" clId="Web-{7120A459-4813-40C9-8A71-F2E6ECAD5DD8}" dt="2020-06-11T14:42:20.428" v="558" actId="20577"/>
          <ac:spMkLst>
            <pc:docMk/>
            <pc:sldMk cId="847777020" sldId="8791"/>
            <ac:spMk id="6" creationId="{3A1B4E52-1783-4186-9061-FBE7AEA94430}"/>
          </ac:spMkLst>
        </pc:spChg>
      </pc:sldChg>
      <pc:sldChg chg="modSp">
        <pc:chgData name="Prakash, Ankur" userId="S::anprakash@deloitte.com::e5ec4ef6-a8ef-421f-ae1a-afd967453ffe" providerId="AD" clId="Web-{7120A459-4813-40C9-8A71-F2E6ECAD5DD8}" dt="2020-06-11T14:44:00.240" v="648" actId="20577"/>
        <pc:sldMkLst>
          <pc:docMk/>
          <pc:sldMk cId="4099786269" sldId="8812"/>
        </pc:sldMkLst>
        <pc:spChg chg="mod">
          <ac:chgData name="Prakash, Ankur" userId="S::anprakash@deloitte.com::e5ec4ef6-a8ef-421f-ae1a-afd967453ffe" providerId="AD" clId="Web-{7120A459-4813-40C9-8A71-F2E6ECAD5DD8}" dt="2020-06-11T14:44:00.240" v="648" actId="20577"/>
          <ac:spMkLst>
            <pc:docMk/>
            <pc:sldMk cId="4099786269" sldId="8812"/>
            <ac:spMk id="2" creationId="{3E132A87-B07E-4654-A6D5-582DD48B752A}"/>
          </ac:spMkLst>
        </pc:spChg>
      </pc:sldChg>
      <pc:sldChg chg="modSp">
        <pc:chgData name="Prakash, Ankur" userId="S::anprakash@deloitte.com::e5ec4ef6-a8ef-421f-ae1a-afd967453ffe" providerId="AD" clId="Web-{7120A459-4813-40C9-8A71-F2E6ECAD5DD8}" dt="2020-06-11T14:43:33.475" v="619" actId="20577"/>
        <pc:sldMkLst>
          <pc:docMk/>
          <pc:sldMk cId="991468195" sldId="8813"/>
        </pc:sldMkLst>
        <pc:spChg chg="mod">
          <ac:chgData name="Prakash, Ankur" userId="S::anprakash@deloitte.com::e5ec4ef6-a8ef-421f-ae1a-afd967453ffe" providerId="AD" clId="Web-{7120A459-4813-40C9-8A71-F2E6ECAD5DD8}" dt="2020-06-11T14:43:33.475" v="619" actId="20577"/>
          <ac:spMkLst>
            <pc:docMk/>
            <pc:sldMk cId="991468195" sldId="8813"/>
            <ac:spMk id="2" creationId="{2822A918-50DB-4AB0-83EA-E68DCAF107BA}"/>
          </ac:spMkLst>
        </pc:spChg>
      </pc:sldChg>
      <pc:sldChg chg="modSp">
        <pc:chgData name="Prakash, Ankur" userId="S::anprakash@deloitte.com::e5ec4ef6-a8ef-421f-ae1a-afd967453ffe" providerId="AD" clId="Web-{7120A459-4813-40C9-8A71-F2E6ECAD5DD8}" dt="2020-06-11T14:43:50.053" v="639" actId="20577"/>
        <pc:sldMkLst>
          <pc:docMk/>
          <pc:sldMk cId="3493385288" sldId="8816"/>
        </pc:sldMkLst>
        <pc:spChg chg="mod">
          <ac:chgData name="Prakash, Ankur" userId="S::anprakash@deloitte.com::e5ec4ef6-a8ef-421f-ae1a-afd967453ffe" providerId="AD" clId="Web-{7120A459-4813-40C9-8A71-F2E6ECAD5DD8}" dt="2020-06-11T14:43:50.053" v="639" actId="20577"/>
          <ac:spMkLst>
            <pc:docMk/>
            <pc:sldMk cId="3493385288" sldId="8816"/>
            <ac:spMk id="2" creationId="{40C9AD2C-9B77-4786-B241-5692E59969CA}"/>
          </ac:spMkLst>
        </pc:spChg>
      </pc:sldChg>
      <pc:sldChg chg="modSp">
        <pc:chgData name="Prakash, Ankur" userId="S::anprakash@deloitte.com::e5ec4ef6-a8ef-421f-ae1a-afd967453ffe" providerId="AD" clId="Web-{7120A459-4813-40C9-8A71-F2E6ECAD5DD8}" dt="2020-06-11T14:40:07.193" v="507" actId="20577"/>
        <pc:sldMkLst>
          <pc:docMk/>
          <pc:sldMk cId="27039556" sldId="8820"/>
        </pc:sldMkLst>
        <pc:spChg chg="mod">
          <ac:chgData name="Prakash, Ankur" userId="S::anprakash@deloitte.com::e5ec4ef6-a8ef-421f-ae1a-afd967453ffe" providerId="AD" clId="Web-{7120A459-4813-40C9-8A71-F2E6ECAD5DD8}" dt="2020-06-11T14:40:07.193" v="507" actId="20577"/>
          <ac:spMkLst>
            <pc:docMk/>
            <pc:sldMk cId="27039556" sldId="8820"/>
            <ac:spMk id="7" creationId="{5817664F-7DC8-47E5-B7B9-14F4F2B2E734}"/>
          </ac:spMkLst>
        </pc:spChg>
      </pc:sldChg>
      <pc:sldChg chg="ord">
        <pc:chgData name="Prakash, Ankur" userId="S::anprakash@deloitte.com::e5ec4ef6-a8ef-421f-ae1a-afd967453ffe" providerId="AD" clId="Web-{7120A459-4813-40C9-8A71-F2E6ECAD5DD8}" dt="2020-06-11T14:41:05.646" v="544"/>
        <pc:sldMkLst>
          <pc:docMk/>
          <pc:sldMk cId="4282166107" sldId="8821"/>
        </pc:sldMkLst>
      </pc:sldChg>
      <pc:sldChg chg="modSp">
        <pc:chgData name="Prakash, Ankur" userId="S::anprakash@deloitte.com::e5ec4ef6-a8ef-421f-ae1a-afd967453ffe" providerId="AD" clId="Web-{7120A459-4813-40C9-8A71-F2E6ECAD5DD8}" dt="2020-06-11T14:42:50.271" v="565" actId="20577"/>
        <pc:sldMkLst>
          <pc:docMk/>
          <pc:sldMk cId="960965317" sldId="8822"/>
        </pc:sldMkLst>
        <pc:spChg chg="mod">
          <ac:chgData name="Prakash, Ankur" userId="S::anprakash@deloitte.com::e5ec4ef6-a8ef-421f-ae1a-afd967453ffe" providerId="AD" clId="Web-{7120A459-4813-40C9-8A71-F2E6ECAD5DD8}" dt="2020-06-11T14:42:50.271" v="565" actId="20577"/>
          <ac:spMkLst>
            <pc:docMk/>
            <pc:sldMk cId="960965317" sldId="8822"/>
            <ac:spMk id="2" creationId="{128AC169-3E22-4BE7-A66C-85FDCD0D9814}"/>
          </ac:spMkLst>
        </pc:spChg>
      </pc:sldChg>
      <pc:sldChg chg="modSp">
        <pc:chgData name="Prakash, Ankur" userId="S::anprakash@deloitte.com::e5ec4ef6-a8ef-421f-ae1a-afd967453ffe" providerId="AD" clId="Web-{7120A459-4813-40C9-8A71-F2E6ECAD5DD8}" dt="2020-06-11T14:52:31.914" v="821" actId="20577"/>
        <pc:sldMkLst>
          <pc:docMk/>
          <pc:sldMk cId="4292778138" sldId="8826"/>
        </pc:sldMkLst>
        <pc:spChg chg="mod">
          <ac:chgData name="Prakash, Ankur" userId="S::anprakash@deloitte.com::e5ec4ef6-a8ef-421f-ae1a-afd967453ffe" providerId="AD" clId="Web-{7120A459-4813-40C9-8A71-F2E6ECAD5DD8}" dt="2020-06-11T14:52:31.914" v="821" actId="20577"/>
          <ac:spMkLst>
            <pc:docMk/>
            <pc:sldMk cId="4292778138" sldId="8826"/>
            <ac:spMk id="4" creationId="{7A9DFF01-0B03-48E4-B42D-F011C5ECF119}"/>
          </ac:spMkLst>
        </pc:spChg>
      </pc:sldChg>
      <pc:sldChg chg="modSp">
        <pc:chgData name="Prakash, Ankur" userId="S::anprakash@deloitte.com::e5ec4ef6-a8ef-421f-ae1a-afd967453ffe" providerId="AD" clId="Web-{7120A459-4813-40C9-8A71-F2E6ECAD5DD8}" dt="2020-06-11T14:51:22.601" v="810" actId="20577"/>
        <pc:sldMkLst>
          <pc:docMk/>
          <pc:sldMk cId="3924100793" sldId="8832"/>
        </pc:sldMkLst>
        <pc:spChg chg="mod">
          <ac:chgData name="Prakash, Ankur" userId="S::anprakash@deloitte.com::e5ec4ef6-a8ef-421f-ae1a-afd967453ffe" providerId="AD" clId="Web-{7120A459-4813-40C9-8A71-F2E6ECAD5DD8}" dt="2020-06-11T14:51:22.601" v="810" actId="20577"/>
          <ac:spMkLst>
            <pc:docMk/>
            <pc:sldMk cId="3924100793" sldId="8832"/>
            <ac:spMk id="7" creationId="{BD52B5DB-DDAB-4EC0-94A0-8CED04FAB517}"/>
          </ac:spMkLst>
        </pc:spChg>
        <pc:spChg chg="mod">
          <ac:chgData name="Prakash, Ankur" userId="S::anprakash@deloitte.com::e5ec4ef6-a8ef-421f-ae1a-afd967453ffe" providerId="AD" clId="Web-{7120A459-4813-40C9-8A71-F2E6ECAD5DD8}" dt="2020-06-11T14:51:05.726" v="803" actId="20577"/>
          <ac:spMkLst>
            <pc:docMk/>
            <pc:sldMk cId="3924100793" sldId="8832"/>
            <ac:spMk id="8" creationId="{00D873CA-324C-4F6A-8FCB-C440D2ECE292}"/>
          </ac:spMkLst>
        </pc:spChg>
      </pc:sldChg>
      <pc:sldChg chg="modSp add ord replId">
        <pc:chgData name="Prakash, Ankur" userId="S::anprakash@deloitte.com::e5ec4ef6-a8ef-421f-ae1a-afd967453ffe" providerId="AD" clId="Web-{7120A459-4813-40C9-8A71-F2E6ECAD5DD8}" dt="2020-06-11T14:41:22.881" v="545"/>
        <pc:sldMkLst>
          <pc:docMk/>
          <pc:sldMk cId="2138715199" sldId="8833"/>
        </pc:sldMkLst>
        <pc:spChg chg="mod">
          <ac:chgData name="Prakash, Ankur" userId="S::anprakash@deloitte.com::e5ec4ef6-a8ef-421f-ae1a-afd967453ffe" providerId="AD" clId="Web-{7120A459-4813-40C9-8A71-F2E6ECAD5DD8}" dt="2020-06-11T14:40:36.990" v="538" actId="20577"/>
          <ac:spMkLst>
            <pc:docMk/>
            <pc:sldMk cId="2138715199" sldId="8833"/>
            <ac:spMk id="3" creationId="{6FBB5F45-94A1-4C0C-88E7-5248277F7BB4}"/>
          </ac:spMkLst>
        </pc:spChg>
        <pc:spChg chg="mod">
          <ac:chgData name="Prakash, Ankur" userId="S::anprakash@deloitte.com::e5ec4ef6-a8ef-421f-ae1a-afd967453ffe" providerId="AD" clId="Web-{7120A459-4813-40C9-8A71-F2E6ECAD5DD8}" dt="2020-06-11T14:40:30.068" v="523" actId="20577"/>
          <ac:spMkLst>
            <pc:docMk/>
            <pc:sldMk cId="2138715199" sldId="8833"/>
            <ac:spMk id="4" creationId="{30EF7E5B-7924-4E05-B8AA-489BA066B7A0}"/>
          </ac:spMkLst>
        </pc:spChg>
      </pc:sldChg>
      <pc:sldChg chg="modSp add replId">
        <pc:chgData name="Prakash, Ankur" userId="S::anprakash@deloitte.com::e5ec4ef6-a8ef-421f-ae1a-afd967453ffe" providerId="AD" clId="Web-{7120A459-4813-40C9-8A71-F2E6ECAD5DD8}" dt="2020-06-11T14:44:52.100" v="684" actId="20577"/>
        <pc:sldMkLst>
          <pc:docMk/>
          <pc:sldMk cId="166141878" sldId="8834"/>
        </pc:sldMkLst>
        <pc:spChg chg="mod">
          <ac:chgData name="Prakash, Ankur" userId="S::anprakash@deloitte.com::e5ec4ef6-a8ef-421f-ae1a-afd967453ffe" providerId="AD" clId="Web-{7120A459-4813-40C9-8A71-F2E6ECAD5DD8}" dt="2020-06-11T14:44:52.100" v="684" actId="20577"/>
          <ac:spMkLst>
            <pc:docMk/>
            <pc:sldMk cId="166141878" sldId="8834"/>
            <ac:spMk id="4" creationId="{7A9DFF01-0B03-48E4-B42D-F011C5ECF119}"/>
          </ac:spMkLst>
        </pc:spChg>
      </pc:sldChg>
      <pc:sldChg chg="addSp modSp new">
        <pc:chgData name="Prakash, Ankur" userId="S::anprakash@deloitte.com::e5ec4ef6-a8ef-421f-ae1a-afd967453ffe" providerId="AD" clId="Web-{7120A459-4813-40C9-8A71-F2E6ECAD5DD8}" dt="2020-06-11T14:46:32.022" v="757" actId="20577"/>
        <pc:sldMkLst>
          <pc:docMk/>
          <pc:sldMk cId="1180582917" sldId="8835"/>
        </pc:sldMkLst>
        <pc:spChg chg="add mod">
          <ac:chgData name="Prakash, Ankur" userId="S::anprakash@deloitte.com::e5ec4ef6-a8ef-421f-ae1a-afd967453ffe" providerId="AD" clId="Web-{7120A459-4813-40C9-8A71-F2E6ECAD5DD8}" dt="2020-06-11T14:46:32.022" v="757" actId="20577"/>
          <ac:spMkLst>
            <pc:docMk/>
            <pc:sldMk cId="1180582917" sldId="8835"/>
            <ac:spMk id="2" creationId="{1A51A402-BA6D-4A31-A2B7-EF0A3A404269}"/>
          </ac:spMkLst>
        </pc:spChg>
      </pc:sldChg>
    </pc:docChg>
  </pc:docChgLst>
  <pc:docChgLst>
    <pc:chgData name="Ghosh, Anindya" userId="1c8636f3-f28e-411c-9bbf-d78a395a60f5" providerId="ADAL" clId="{587E8345-8EC6-4F04-9492-D50E7BA7DCC9}"/>
    <pc:docChg chg="undo custSel modSld">
      <pc:chgData name="Ghosh, Anindya" userId="1c8636f3-f28e-411c-9bbf-d78a395a60f5" providerId="ADAL" clId="{587E8345-8EC6-4F04-9492-D50E7BA7DCC9}" dt="2020-08-19T10:44:08.237" v="2167" actId="166"/>
      <pc:docMkLst>
        <pc:docMk/>
      </pc:docMkLst>
      <pc:sldChg chg="addSp modSp mod">
        <pc:chgData name="Ghosh, Anindya" userId="1c8636f3-f28e-411c-9bbf-d78a395a60f5" providerId="ADAL" clId="{587E8345-8EC6-4F04-9492-D50E7BA7DCC9}" dt="2020-07-07T08:47:35.820" v="2166" actId="20577"/>
        <pc:sldMkLst>
          <pc:docMk/>
          <pc:sldMk cId="4169581344" sldId="8798"/>
        </pc:sldMkLst>
        <pc:spChg chg="mod">
          <ac:chgData name="Ghosh, Anindya" userId="1c8636f3-f28e-411c-9bbf-d78a395a60f5" providerId="ADAL" clId="{587E8345-8EC6-4F04-9492-D50E7BA7DCC9}" dt="2020-07-07T08:47:35.820" v="2166" actId="20577"/>
          <ac:spMkLst>
            <pc:docMk/>
            <pc:sldMk cId="4169581344" sldId="8798"/>
            <ac:spMk id="3" creationId="{BCEB1B60-2A70-48F8-B225-997AF7F15017}"/>
          </ac:spMkLst>
        </pc:spChg>
        <pc:spChg chg="add mod">
          <ac:chgData name="Ghosh, Anindya" userId="1c8636f3-f28e-411c-9bbf-d78a395a60f5" providerId="ADAL" clId="{587E8345-8EC6-4F04-9492-D50E7BA7DCC9}" dt="2020-07-07T08:46:11.185" v="2137" actId="14100"/>
          <ac:spMkLst>
            <pc:docMk/>
            <pc:sldMk cId="4169581344" sldId="8798"/>
            <ac:spMk id="5" creationId="{F0E8E7DB-D899-44C1-8C0E-F57610F3DF87}"/>
          </ac:spMkLst>
        </pc:spChg>
      </pc:sldChg>
      <pc:sldChg chg="modSp mod">
        <pc:chgData name="Ghosh, Anindya" userId="1c8636f3-f28e-411c-9bbf-d78a395a60f5" providerId="ADAL" clId="{587E8345-8EC6-4F04-9492-D50E7BA7DCC9}" dt="2020-08-19T10:44:08.237" v="2167" actId="166"/>
        <pc:sldMkLst>
          <pc:docMk/>
          <pc:sldMk cId="3424447147" sldId="9001"/>
        </pc:sldMkLst>
        <pc:spChg chg="ord">
          <ac:chgData name="Ghosh, Anindya" userId="1c8636f3-f28e-411c-9bbf-d78a395a60f5" providerId="ADAL" clId="{587E8345-8EC6-4F04-9492-D50E7BA7DCC9}" dt="2020-08-19T10:44:08.237" v="2167" actId="166"/>
          <ac:spMkLst>
            <pc:docMk/>
            <pc:sldMk cId="3424447147" sldId="9001"/>
            <ac:spMk id="15" creationId="{00000000-0000-0000-0000-000000000000}"/>
          </ac:spMkLst>
        </pc:spChg>
      </pc:sldChg>
    </pc:docChg>
  </pc:docChgLst>
  <pc:docChgLst>
    <pc:chgData name="Chinda, Sowjanya" userId="S::schinda@deloitte.com::fc5c6afc-3b7c-40b3-bf0d-c9a2eae19122" providerId="AD" clId="Web-{0B2EB35F-3F34-459B-B3EF-7D8ECC9ADF13}"/>
    <pc:docChg chg="modSld">
      <pc:chgData name="Chinda, Sowjanya" userId="S::schinda@deloitte.com::fc5c6afc-3b7c-40b3-bf0d-c9a2eae19122" providerId="AD" clId="Web-{0B2EB35F-3F34-459B-B3EF-7D8ECC9ADF13}" dt="2021-03-19T10:49:42.070" v="51" actId="20577"/>
      <pc:docMkLst>
        <pc:docMk/>
      </pc:docMkLst>
      <pc:sldChg chg="delSp modSp">
        <pc:chgData name="Chinda, Sowjanya" userId="S::schinda@deloitte.com::fc5c6afc-3b7c-40b3-bf0d-c9a2eae19122" providerId="AD" clId="Web-{0B2EB35F-3F34-459B-B3EF-7D8ECC9ADF13}" dt="2021-03-19T10:49:42.070" v="51" actId="20577"/>
        <pc:sldMkLst>
          <pc:docMk/>
          <pc:sldMk cId="4099786269" sldId="8812"/>
        </pc:sldMkLst>
        <pc:spChg chg="mod">
          <ac:chgData name="Chinda, Sowjanya" userId="S::schinda@deloitte.com::fc5c6afc-3b7c-40b3-bf0d-c9a2eae19122" providerId="AD" clId="Web-{0B2EB35F-3F34-459B-B3EF-7D8ECC9ADF13}" dt="2021-03-19T10:49:42.070" v="51" actId="20577"/>
          <ac:spMkLst>
            <pc:docMk/>
            <pc:sldMk cId="4099786269" sldId="8812"/>
            <ac:spMk id="4" creationId="{00000000-0000-0000-0000-000000000000}"/>
          </ac:spMkLst>
        </pc:spChg>
        <pc:spChg chg="del mod">
          <ac:chgData name="Chinda, Sowjanya" userId="S::schinda@deloitte.com::fc5c6afc-3b7c-40b3-bf0d-c9a2eae19122" providerId="AD" clId="Web-{0B2EB35F-3F34-459B-B3EF-7D8ECC9ADF13}" dt="2021-03-19T10:45:43.426" v="1"/>
          <ac:spMkLst>
            <pc:docMk/>
            <pc:sldMk cId="4099786269" sldId="8812"/>
            <ac:spMk id="6" creationId="{4624D3E2-2A62-4D0D-A8BC-B9783CB5F728}"/>
          </ac:spMkLst>
        </pc:spChg>
      </pc:sldChg>
    </pc:docChg>
  </pc:docChgLst>
  <pc:docChgLst>
    <pc:chgData name="Prakash, Ankur" userId="S::anprakash@deloitte.com::e5ec4ef6-a8ef-421f-ae1a-afd967453ffe" providerId="AD" clId="Web-{79EC3ACE-22A6-477F-A6B0-EA86223273DE}"/>
    <pc:docChg chg="delSld modSld modSection">
      <pc:chgData name="Prakash, Ankur" userId="S::anprakash@deloitte.com::e5ec4ef6-a8ef-421f-ae1a-afd967453ffe" providerId="AD" clId="Web-{79EC3ACE-22A6-477F-A6B0-EA86223273DE}" dt="2020-06-11T11:21:44.647" v="274" actId="20577"/>
      <pc:docMkLst>
        <pc:docMk/>
      </pc:docMkLst>
      <pc:sldChg chg="del">
        <pc:chgData name="Prakash, Ankur" userId="S::anprakash@deloitte.com::e5ec4ef6-a8ef-421f-ae1a-afd967453ffe" providerId="AD" clId="Web-{79EC3ACE-22A6-477F-A6B0-EA86223273DE}" dt="2020-06-11T11:20:40.444" v="268"/>
        <pc:sldMkLst>
          <pc:docMk/>
          <pc:sldMk cId="3502321823" sldId="262"/>
        </pc:sldMkLst>
      </pc:sldChg>
      <pc:sldChg chg="modSp">
        <pc:chgData name="Prakash, Ankur" userId="S::anprakash@deloitte.com::e5ec4ef6-a8ef-421f-ae1a-afd967453ffe" providerId="AD" clId="Web-{79EC3ACE-22A6-477F-A6B0-EA86223273DE}" dt="2020-06-11T11:08:52.019" v="123"/>
        <pc:sldMkLst>
          <pc:docMk/>
          <pc:sldMk cId="1369081146" sldId="8773"/>
        </pc:sldMkLst>
        <pc:graphicFrameChg chg="mod modGraphic">
          <ac:chgData name="Prakash, Ankur" userId="S::anprakash@deloitte.com::e5ec4ef6-a8ef-421f-ae1a-afd967453ffe" providerId="AD" clId="Web-{79EC3ACE-22A6-477F-A6B0-EA86223273DE}" dt="2020-06-11T11:08:52.019" v="123"/>
          <ac:graphicFrameMkLst>
            <pc:docMk/>
            <pc:sldMk cId="1369081146" sldId="8773"/>
            <ac:graphicFrameMk id="4" creationId="{2AAAC88F-F4B4-4FE3-956E-C3F806D71324}"/>
          </ac:graphicFrameMkLst>
        </pc:graphicFrameChg>
      </pc:sldChg>
      <pc:sldChg chg="modSp">
        <pc:chgData name="Prakash, Ankur" userId="S::anprakash@deloitte.com::e5ec4ef6-a8ef-421f-ae1a-afd967453ffe" providerId="AD" clId="Web-{79EC3ACE-22A6-477F-A6B0-EA86223273DE}" dt="2020-06-11T11:10:22.832" v="161"/>
        <pc:sldMkLst>
          <pc:docMk/>
          <pc:sldMk cId="1039189330" sldId="8774"/>
        </pc:sldMkLst>
        <pc:graphicFrameChg chg="mod modGraphic">
          <ac:chgData name="Prakash, Ankur" userId="S::anprakash@deloitte.com::e5ec4ef6-a8ef-421f-ae1a-afd967453ffe" providerId="AD" clId="Web-{79EC3ACE-22A6-477F-A6B0-EA86223273DE}" dt="2020-06-11T11:10:22.832" v="161"/>
          <ac:graphicFrameMkLst>
            <pc:docMk/>
            <pc:sldMk cId="1039189330" sldId="8774"/>
            <ac:graphicFrameMk id="4" creationId="{2AAAC88F-F4B4-4FE3-956E-C3F806D71324}"/>
          </ac:graphicFrameMkLst>
        </pc:graphicFrameChg>
      </pc:sldChg>
      <pc:sldChg chg="modSp">
        <pc:chgData name="Prakash, Ankur" userId="S::anprakash@deloitte.com::e5ec4ef6-a8ef-421f-ae1a-afd967453ffe" providerId="AD" clId="Web-{79EC3ACE-22A6-477F-A6B0-EA86223273DE}" dt="2020-06-11T11:11:37.332" v="163"/>
        <pc:sldMkLst>
          <pc:docMk/>
          <pc:sldMk cId="2407685793" sldId="8775"/>
        </pc:sldMkLst>
        <pc:graphicFrameChg chg="mod modGraphic">
          <ac:chgData name="Prakash, Ankur" userId="S::anprakash@deloitte.com::e5ec4ef6-a8ef-421f-ae1a-afd967453ffe" providerId="AD" clId="Web-{79EC3ACE-22A6-477F-A6B0-EA86223273DE}" dt="2020-06-11T11:11:37.332" v="163"/>
          <ac:graphicFrameMkLst>
            <pc:docMk/>
            <pc:sldMk cId="2407685793" sldId="8775"/>
            <ac:graphicFrameMk id="4" creationId="{2AAAC88F-F4B4-4FE3-956E-C3F806D71324}"/>
          </ac:graphicFrameMkLst>
        </pc:graphicFrameChg>
      </pc:sldChg>
      <pc:sldChg chg="modSp">
        <pc:chgData name="Prakash, Ankur" userId="S::anprakash@deloitte.com::e5ec4ef6-a8ef-421f-ae1a-afd967453ffe" providerId="AD" clId="Web-{79EC3ACE-22A6-477F-A6B0-EA86223273DE}" dt="2020-06-11T11:21:44.647" v="274" actId="20577"/>
        <pc:sldMkLst>
          <pc:docMk/>
          <pc:sldMk cId="2506138062" sldId="8782"/>
        </pc:sldMkLst>
        <pc:spChg chg="mod">
          <ac:chgData name="Prakash, Ankur" userId="S::anprakash@deloitte.com::e5ec4ef6-a8ef-421f-ae1a-afd967453ffe" providerId="AD" clId="Web-{79EC3ACE-22A6-477F-A6B0-EA86223273DE}" dt="2020-06-11T11:21:37.882" v="273" actId="20577"/>
          <ac:spMkLst>
            <pc:docMk/>
            <pc:sldMk cId="2506138062" sldId="8782"/>
            <ac:spMk id="4" creationId="{3FAEEAA9-008B-43F6-BAE2-39F36A6706FE}"/>
          </ac:spMkLst>
        </pc:spChg>
        <pc:spChg chg="mod">
          <ac:chgData name="Prakash, Ankur" userId="S::anprakash@deloitte.com::e5ec4ef6-a8ef-421f-ae1a-afd967453ffe" providerId="AD" clId="Web-{79EC3ACE-22A6-477F-A6B0-EA86223273DE}" dt="2020-06-11T11:21:44.647" v="274" actId="20577"/>
          <ac:spMkLst>
            <pc:docMk/>
            <pc:sldMk cId="2506138062" sldId="8782"/>
            <ac:spMk id="9" creationId="{DFF8BB62-12B9-49CA-9340-4A09AED59F59}"/>
          </ac:spMkLst>
        </pc:spChg>
      </pc:sldChg>
      <pc:sldChg chg="modSp">
        <pc:chgData name="Prakash, Ankur" userId="S::anprakash@deloitte.com::e5ec4ef6-a8ef-421f-ae1a-afd967453ffe" providerId="AD" clId="Web-{79EC3ACE-22A6-477F-A6B0-EA86223273DE}" dt="2020-06-11T11:17:44.037" v="259"/>
        <pc:sldMkLst>
          <pc:docMk/>
          <pc:sldMk cId="3491360341" sldId="8786"/>
        </pc:sldMkLst>
        <pc:graphicFrameChg chg="mod modGraphic">
          <ac:chgData name="Prakash, Ankur" userId="S::anprakash@deloitte.com::e5ec4ef6-a8ef-421f-ae1a-afd967453ffe" providerId="AD" clId="Web-{79EC3ACE-22A6-477F-A6B0-EA86223273DE}" dt="2020-06-11T11:17:44.037" v="259"/>
          <ac:graphicFrameMkLst>
            <pc:docMk/>
            <pc:sldMk cId="3491360341" sldId="8786"/>
            <ac:graphicFrameMk id="4" creationId="{FE664A44-2B52-48E1-842B-86373307A2AD}"/>
          </ac:graphicFrameMkLst>
        </pc:graphicFrameChg>
      </pc:sldChg>
      <pc:sldChg chg="modSp">
        <pc:chgData name="Prakash, Ankur" userId="S::anprakash@deloitte.com::e5ec4ef6-a8ef-421f-ae1a-afd967453ffe" providerId="AD" clId="Web-{79EC3ACE-22A6-477F-A6B0-EA86223273DE}" dt="2020-06-11T11:20:05.334" v="264" actId="20577"/>
        <pc:sldMkLst>
          <pc:docMk/>
          <pc:sldMk cId="4169581344" sldId="8798"/>
        </pc:sldMkLst>
        <pc:spChg chg="mod">
          <ac:chgData name="Prakash, Ankur" userId="S::anprakash@deloitte.com::e5ec4ef6-a8ef-421f-ae1a-afd967453ffe" providerId="AD" clId="Web-{79EC3ACE-22A6-477F-A6B0-EA86223273DE}" dt="2020-06-11T11:20:05.334" v="264" actId="20577"/>
          <ac:spMkLst>
            <pc:docMk/>
            <pc:sldMk cId="4169581344" sldId="8798"/>
            <ac:spMk id="5" creationId="{C18FDAD6-A381-47C6-9C6A-28C7E2C6C6AA}"/>
          </ac:spMkLst>
        </pc:spChg>
      </pc:sldChg>
      <pc:sldChg chg="modSp">
        <pc:chgData name="Prakash, Ankur" userId="S::anprakash@deloitte.com::e5ec4ef6-a8ef-421f-ae1a-afd967453ffe" providerId="AD" clId="Web-{79EC3ACE-22A6-477F-A6B0-EA86223273DE}" dt="2020-06-11T11:19:59.053" v="262" actId="20577"/>
        <pc:sldMkLst>
          <pc:docMk/>
          <pc:sldMk cId="2663242362" sldId="8823"/>
        </pc:sldMkLst>
        <pc:spChg chg="mod">
          <ac:chgData name="Prakash, Ankur" userId="S::anprakash@deloitte.com::e5ec4ef6-a8ef-421f-ae1a-afd967453ffe" providerId="AD" clId="Web-{79EC3ACE-22A6-477F-A6B0-EA86223273DE}" dt="2020-06-11T11:19:59.053" v="262" actId="20577"/>
          <ac:spMkLst>
            <pc:docMk/>
            <pc:sldMk cId="2663242362" sldId="8823"/>
            <ac:spMk id="4" creationId="{7A9DFF01-0B03-48E4-B42D-F011C5ECF119}"/>
          </ac:spMkLst>
        </pc:spChg>
      </pc:sldChg>
    </pc:docChg>
  </pc:docChgLst>
  <pc:docChgLst>
    <pc:chgData name="Hamilton, Benedict" userId="S::benhamilton@deloitte.com::2d0b5eb9-705c-4e00-86df-cc05939905b7" providerId="AD" clId="Web-{E17C3E78-FD2A-4463-AB02-44F5608E2E51}"/>
    <pc:docChg chg="addSld delSld modSld modSection">
      <pc:chgData name="Hamilton, Benedict" userId="S::benhamilton@deloitte.com::2d0b5eb9-705c-4e00-86df-cc05939905b7" providerId="AD" clId="Web-{E17C3E78-FD2A-4463-AB02-44F5608E2E51}" dt="2020-12-01T13:30:03.679" v="8"/>
      <pc:docMkLst>
        <pc:docMk/>
      </pc:docMkLst>
      <pc:sldChg chg="addSp delSp modSp">
        <pc:chgData name="Hamilton, Benedict" userId="S::benhamilton@deloitte.com::2d0b5eb9-705c-4e00-86df-cc05939905b7" providerId="AD" clId="Web-{E17C3E78-FD2A-4463-AB02-44F5608E2E51}" dt="2020-12-01T13:29:18.444" v="1"/>
        <pc:sldMkLst>
          <pc:docMk/>
          <pc:sldMk cId="34444915" sldId="8985"/>
        </pc:sldMkLst>
        <pc:picChg chg="add del mod">
          <ac:chgData name="Hamilton, Benedict" userId="S::benhamilton@deloitte.com::2d0b5eb9-705c-4e00-86df-cc05939905b7" providerId="AD" clId="Web-{E17C3E78-FD2A-4463-AB02-44F5608E2E51}" dt="2020-12-01T13:29:18.444" v="1"/>
          <ac:picMkLst>
            <pc:docMk/>
            <pc:sldMk cId="34444915" sldId="8985"/>
            <ac:picMk id="2" creationId="{A59AEFA9-A9A2-4746-878C-BF8184D34DD1}"/>
          </ac:picMkLst>
        </pc:picChg>
      </pc:sldChg>
      <pc:sldChg chg="addSp delSp modSp new">
        <pc:chgData name="Hamilton, Benedict" userId="S::benhamilton@deloitte.com::2d0b5eb9-705c-4e00-86df-cc05939905b7" providerId="AD" clId="Web-{E17C3E78-FD2A-4463-AB02-44F5608E2E51}" dt="2020-12-01T13:30:03.679" v="8"/>
        <pc:sldMkLst>
          <pc:docMk/>
          <pc:sldMk cId="619305992" sldId="9023"/>
        </pc:sldMkLst>
        <pc:picChg chg="add del mod">
          <ac:chgData name="Hamilton, Benedict" userId="S::benhamilton@deloitte.com::2d0b5eb9-705c-4e00-86df-cc05939905b7" providerId="AD" clId="Web-{E17C3E78-FD2A-4463-AB02-44F5608E2E51}" dt="2020-12-01T13:29:55.336" v="6"/>
          <ac:picMkLst>
            <pc:docMk/>
            <pc:sldMk cId="619305992" sldId="9023"/>
            <ac:picMk id="2" creationId="{3C3130D2-7167-4403-BF01-32AD264F85B6}"/>
          </ac:picMkLst>
        </pc:picChg>
        <pc:picChg chg="add del mod">
          <ac:chgData name="Hamilton, Benedict" userId="S::benhamilton@deloitte.com::2d0b5eb9-705c-4e00-86df-cc05939905b7" providerId="AD" clId="Web-{E17C3E78-FD2A-4463-AB02-44F5608E2E51}" dt="2020-12-01T13:30:03.679" v="8"/>
          <ac:picMkLst>
            <pc:docMk/>
            <pc:sldMk cId="619305992" sldId="9023"/>
            <ac:picMk id="3" creationId="{BEBF62F6-130F-4740-BA2F-1EA8D5C215E2}"/>
          </ac:picMkLst>
        </pc:picChg>
      </pc:sldChg>
      <pc:sldChg chg="new del">
        <pc:chgData name="Hamilton, Benedict" userId="S::benhamilton@deloitte.com::2d0b5eb9-705c-4e00-86df-cc05939905b7" providerId="AD" clId="Web-{E17C3E78-FD2A-4463-AB02-44F5608E2E51}" dt="2020-12-01T13:29:29.116" v="3"/>
        <pc:sldMkLst>
          <pc:docMk/>
          <pc:sldMk cId="2337198056" sldId="9023"/>
        </pc:sldMkLst>
      </pc:sldChg>
    </pc:docChg>
  </pc:docChgLst>
  <pc:docChgLst>
    <pc:chgData name="Swarna, Padmini" userId="S::padswarna@deloitte.com::03b348e6-46b3-471e-9507-2b8a34198287" providerId="AD" clId="Web-{E567ADC5-851B-4C44-9E5D-EDD7B2FFB5BE}"/>
    <pc:docChg chg="addSld modSection">
      <pc:chgData name="Swarna, Padmini" userId="S::padswarna@deloitte.com::03b348e6-46b3-471e-9507-2b8a34198287" providerId="AD" clId="Web-{E567ADC5-851B-4C44-9E5D-EDD7B2FFB5BE}" dt="2021-03-23T07:34:37.545" v="0"/>
      <pc:docMkLst>
        <pc:docMk/>
      </pc:docMkLst>
      <pc:sldChg chg="new">
        <pc:chgData name="Swarna, Padmini" userId="S::padswarna@deloitte.com::03b348e6-46b3-471e-9507-2b8a34198287" providerId="AD" clId="Web-{E567ADC5-851B-4C44-9E5D-EDD7B2FFB5BE}" dt="2021-03-23T07:34:37.545" v="0"/>
        <pc:sldMkLst>
          <pc:docMk/>
          <pc:sldMk cId="627943524" sldId="9046"/>
        </pc:sldMkLst>
      </pc:sldChg>
    </pc:docChg>
  </pc:docChgLst>
  <pc:docChgLst>
    <pc:chgData name="Ghosh, Anindya" userId="S::anighosh@deloitte.com::1c8636f3-f28e-411c-9bbf-d78a395a60f5" providerId="AD" clId="Web-{4D872144-DC28-45F4-A7D5-1A72F104673C}"/>
    <pc:docChg chg="modSld">
      <pc:chgData name="Ghosh, Anindya" userId="S::anighosh@deloitte.com::1c8636f3-f28e-411c-9bbf-d78a395a60f5" providerId="AD" clId="Web-{4D872144-DC28-45F4-A7D5-1A72F104673C}" dt="2020-12-01T03:56:49.727" v="312" actId="20577"/>
      <pc:docMkLst>
        <pc:docMk/>
      </pc:docMkLst>
      <pc:sldChg chg="modSp">
        <pc:chgData name="Ghosh, Anindya" userId="S::anighosh@deloitte.com::1c8636f3-f28e-411c-9bbf-d78a395a60f5" providerId="AD" clId="Web-{4D872144-DC28-45F4-A7D5-1A72F104673C}" dt="2020-12-01T03:56:49.727" v="311" actId="20577"/>
        <pc:sldMkLst>
          <pc:docMk/>
          <pc:sldMk cId="4169581344" sldId="8798"/>
        </pc:sldMkLst>
        <pc:spChg chg="mod">
          <ac:chgData name="Ghosh, Anindya" userId="S::anighosh@deloitte.com::1c8636f3-f28e-411c-9bbf-d78a395a60f5" providerId="AD" clId="Web-{4D872144-DC28-45F4-A7D5-1A72F104673C}" dt="2020-12-01T03:56:49.727" v="311" actId="20577"/>
          <ac:spMkLst>
            <pc:docMk/>
            <pc:sldMk cId="4169581344" sldId="8798"/>
            <ac:spMk id="3" creationId="{BCEB1B60-2A70-48F8-B225-997AF7F15017}"/>
          </ac:spMkLst>
        </pc:spChg>
      </pc:sldChg>
      <pc:sldChg chg="modSp">
        <pc:chgData name="Ghosh, Anindya" userId="S::anighosh@deloitte.com::1c8636f3-f28e-411c-9bbf-d78a395a60f5" providerId="AD" clId="Web-{4D872144-DC28-45F4-A7D5-1A72F104673C}" dt="2020-12-01T03:55:32.883" v="276"/>
        <pc:sldMkLst>
          <pc:docMk/>
          <pc:sldMk cId="1917742098" sldId="9021"/>
        </pc:sldMkLst>
        <pc:graphicFrameChg chg="mod modGraphic">
          <ac:chgData name="Ghosh, Anindya" userId="S::anighosh@deloitte.com::1c8636f3-f28e-411c-9bbf-d78a395a60f5" providerId="AD" clId="Web-{4D872144-DC28-45F4-A7D5-1A72F104673C}" dt="2020-12-01T03:55:32.883" v="276"/>
          <ac:graphicFrameMkLst>
            <pc:docMk/>
            <pc:sldMk cId="1917742098" sldId="9021"/>
            <ac:graphicFrameMk id="2" creationId="{DBFB0C01-4024-4DDF-BB08-6AA678F60360}"/>
          </ac:graphicFrameMkLst>
        </pc:graphicFrameChg>
      </pc:sldChg>
    </pc:docChg>
  </pc:docChgLst>
  <pc:docChgLst>
    <pc:chgData name="Jivrajani, Dharini" userId="S::djivrajani@deloitte.com::9f28c9a6-e07b-4de5-8682-ac3f5c875595" providerId="AD" clId="Web-{5B812261-B0B1-4382-8635-18EC5759083F}"/>
    <pc:docChg chg="addSld modSld sldOrd modSection">
      <pc:chgData name="Jivrajani, Dharini" userId="S::djivrajani@deloitte.com::9f28c9a6-e07b-4de5-8682-ac3f5c875595" providerId="AD" clId="Web-{5B812261-B0B1-4382-8635-18EC5759083F}" dt="2020-07-13T11:08:59.191" v="8"/>
      <pc:docMkLst>
        <pc:docMk/>
      </pc:docMkLst>
      <pc:sldChg chg="addSp delSp modSp new mod ord setBg">
        <pc:chgData name="Jivrajani, Dharini" userId="S::djivrajani@deloitte.com::9f28c9a6-e07b-4de5-8682-ac3f5c875595" providerId="AD" clId="Web-{5B812261-B0B1-4382-8635-18EC5759083F}" dt="2020-07-13T11:08:59.191" v="8"/>
        <pc:sldMkLst>
          <pc:docMk/>
          <pc:sldMk cId="3299632474" sldId="8976"/>
        </pc:sldMkLst>
        <pc:spChg chg="add del">
          <ac:chgData name="Jivrajani, Dharini" userId="S::djivrajani@deloitte.com::9f28c9a6-e07b-4de5-8682-ac3f5c875595" providerId="AD" clId="Web-{5B812261-B0B1-4382-8635-18EC5759083F}" dt="2020-07-13T11:08:22.284" v="6"/>
          <ac:spMkLst>
            <pc:docMk/>
            <pc:sldMk cId="3299632474" sldId="8976"/>
            <ac:spMk id="4" creationId="{32BC26D8-82FB-445E-AA49-62A77D7C1EE0}"/>
          </ac:spMkLst>
        </pc:spChg>
        <pc:spChg chg="add del">
          <ac:chgData name="Jivrajani, Dharini" userId="S::djivrajani@deloitte.com::9f28c9a6-e07b-4de5-8682-ac3f5c875595" providerId="AD" clId="Web-{5B812261-B0B1-4382-8635-18EC5759083F}" dt="2020-07-13T11:08:19.440" v="4"/>
          <ac:spMkLst>
            <pc:docMk/>
            <pc:sldMk cId="3299632474" sldId="8976"/>
            <ac:spMk id="7" creationId="{42A4FC2C-047E-45A5-965D-8E1E3BF09BC6}"/>
          </ac:spMkLst>
        </pc:spChg>
        <pc:spChg chg="add del">
          <ac:chgData name="Jivrajani, Dharini" userId="S::djivrajani@deloitte.com::9f28c9a6-e07b-4de5-8682-ac3f5c875595" providerId="AD" clId="Web-{5B812261-B0B1-4382-8635-18EC5759083F}" dt="2020-07-13T11:08:22.284" v="6"/>
          <ac:spMkLst>
            <pc:docMk/>
            <pc:sldMk cId="3299632474" sldId="8976"/>
            <ac:spMk id="9" creationId="{CB44330D-EA18-4254-AA95-EB49948539B8}"/>
          </ac:spMkLst>
        </pc:spChg>
        <pc:picChg chg="add del mod">
          <ac:chgData name="Jivrajani, Dharini" userId="S::djivrajani@deloitte.com::9f28c9a6-e07b-4de5-8682-ac3f5c875595" providerId="AD" clId="Web-{5B812261-B0B1-4382-8635-18EC5759083F}" dt="2020-07-13T11:08:59.191" v="8"/>
          <ac:picMkLst>
            <pc:docMk/>
            <pc:sldMk cId="3299632474" sldId="8976"/>
            <ac:picMk id="2" creationId="{C0EA2177-DC82-42D0-A680-BD7892C8804C}"/>
          </ac:picMkLst>
        </pc:picChg>
      </pc:sldChg>
    </pc:docChg>
  </pc:docChgLst>
  <pc:docChgLst>
    <pc:chgData name="Ghosh, Anindya" userId="S::anighosh@deloitte.com::1c8636f3-f28e-411c-9bbf-d78a395a60f5" providerId="AD" clId="Web-{C976AA3B-75CA-4F61-99B5-5948EB56FE92}"/>
    <pc:docChg chg="modSld">
      <pc:chgData name="Ghosh, Anindya" userId="S::anighosh@deloitte.com::1c8636f3-f28e-411c-9bbf-d78a395a60f5" providerId="AD" clId="Web-{C976AA3B-75CA-4F61-99B5-5948EB56FE92}" dt="2020-07-08T12:31:27.071" v="126" actId="20577"/>
      <pc:docMkLst>
        <pc:docMk/>
      </pc:docMkLst>
      <pc:sldChg chg="modSp">
        <pc:chgData name="Ghosh, Anindya" userId="S::anighosh@deloitte.com::1c8636f3-f28e-411c-9bbf-d78a395a60f5" providerId="AD" clId="Web-{C976AA3B-75CA-4F61-99B5-5948EB56FE92}" dt="2020-07-08T12:31:27.071" v="125" actId="20577"/>
        <pc:sldMkLst>
          <pc:docMk/>
          <pc:sldMk cId="4169581344" sldId="8798"/>
        </pc:sldMkLst>
        <pc:spChg chg="mod">
          <ac:chgData name="Ghosh, Anindya" userId="S::anighosh@deloitte.com::1c8636f3-f28e-411c-9bbf-d78a395a60f5" providerId="AD" clId="Web-{C976AA3B-75CA-4F61-99B5-5948EB56FE92}" dt="2020-07-08T12:31:27.071" v="125" actId="20577"/>
          <ac:spMkLst>
            <pc:docMk/>
            <pc:sldMk cId="4169581344" sldId="8798"/>
            <ac:spMk id="3" creationId="{BCEB1B60-2A70-48F8-B225-997AF7F15017}"/>
          </ac:spMkLst>
        </pc:spChg>
        <pc:spChg chg="mod">
          <ac:chgData name="Ghosh, Anindya" userId="S::anighosh@deloitte.com::1c8636f3-f28e-411c-9bbf-d78a395a60f5" providerId="AD" clId="Web-{C976AA3B-75CA-4F61-99B5-5948EB56FE92}" dt="2020-07-08T12:31:09.461" v="103" actId="20577"/>
          <ac:spMkLst>
            <pc:docMk/>
            <pc:sldMk cId="4169581344" sldId="8798"/>
            <ac:spMk id="5" creationId="{F0E8E7DB-D899-44C1-8C0E-F57610F3DF87}"/>
          </ac:spMkLst>
        </pc:spChg>
      </pc:sldChg>
      <pc:sldChg chg="modSp">
        <pc:chgData name="Ghosh, Anindya" userId="S::anighosh@deloitte.com::1c8636f3-f28e-411c-9bbf-d78a395a60f5" providerId="AD" clId="Web-{C976AA3B-75CA-4F61-99B5-5948EB56FE92}" dt="2020-07-08T12:29:11.539" v="97" actId="20577"/>
        <pc:sldMkLst>
          <pc:docMk/>
          <pc:sldMk cId="3493385288" sldId="8816"/>
        </pc:sldMkLst>
        <pc:spChg chg="mod">
          <ac:chgData name="Ghosh, Anindya" userId="S::anighosh@deloitte.com::1c8636f3-f28e-411c-9bbf-d78a395a60f5" providerId="AD" clId="Web-{C976AA3B-75CA-4F61-99B5-5948EB56FE92}" dt="2020-07-08T12:29:11.539" v="97" actId="20577"/>
          <ac:spMkLst>
            <pc:docMk/>
            <pc:sldMk cId="3493385288" sldId="8816"/>
            <ac:spMk id="8" creationId="{21CA3F85-875C-40CB-AD42-3BC71C720339}"/>
          </ac:spMkLst>
        </pc:spChg>
      </pc:sldChg>
    </pc:docChg>
  </pc:docChgLst>
  <pc:docChgLst>
    <pc:chgData name="Bharade, Priyanka" userId="S::pbharade@deloitte.com::8427f5fe-fa70-4b3a-bb14-60c8eb5c3a5c" providerId="AD" clId="Web-{7D5372D9-A1AF-458C-B1AA-A9DB1D7B433C}"/>
    <pc:docChg chg="modSld">
      <pc:chgData name="Bharade, Priyanka" userId="S::pbharade@deloitte.com::8427f5fe-fa70-4b3a-bb14-60c8eb5c3a5c" providerId="AD" clId="Web-{7D5372D9-A1AF-458C-B1AA-A9DB1D7B433C}" dt="2021-03-22T14:46:51.356" v="8" actId="20577"/>
      <pc:docMkLst>
        <pc:docMk/>
      </pc:docMkLst>
      <pc:sldChg chg="modSp">
        <pc:chgData name="Bharade, Priyanka" userId="S::pbharade@deloitte.com::8427f5fe-fa70-4b3a-bb14-60c8eb5c3a5c" providerId="AD" clId="Web-{7D5372D9-A1AF-458C-B1AA-A9DB1D7B433C}" dt="2021-03-22T14:46:51.356" v="8" actId="20577"/>
        <pc:sldMkLst>
          <pc:docMk/>
          <pc:sldMk cId="1078693895" sldId="268"/>
        </pc:sldMkLst>
        <pc:spChg chg="mod">
          <ac:chgData name="Bharade, Priyanka" userId="S::pbharade@deloitte.com::8427f5fe-fa70-4b3a-bb14-60c8eb5c3a5c" providerId="AD" clId="Web-{7D5372D9-A1AF-458C-B1AA-A9DB1D7B433C}" dt="2021-03-22T14:46:51.356" v="8" actId="20577"/>
          <ac:spMkLst>
            <pc:docMk/>
            <pc:sldMk cId="1078693895" sldId="268"/>
            <ac:spMk id="20" creationId="{97F95232-FAF7-4FBD-A394-067DD3DBBE84}"/>
          </ac:spMkLst>
        </pc:spChg>
      </pc:sldChg>
      <pc:sldChg chg="modSp">
        <pc:chgData name="Bharade, Priyanka" userId="S::pbharade@deloitte.com::8427f5fe-fa70-4b3a-bb14-60c8eb5c3a5c" providerId="AD" clId="Web-{7D5372D9-A1AF-458C-B1AA-A9DB1D7B433C}" dt="2021-03-22T14:39:49.515" v="5"/>
        <pc:sldMkLst>
          <pc:docMk/>
          <pc:sldMk cId="847777020" sldId="8791"/>
        </pc:sldMkLst>
        <pc:graphicFrameChg chg="mod modGraphic">
          <ac:chgData name="Bharade, Priyanka" userId="S::pbharade@deloitte.com::8427f5fe-fa70-4b3a-bb14-60c8eb5c3a5c" providerId="AD" clId="Web-{7D5372D9-A1AF-458C-B1AA-A9DB1D7B433C}" dt="2021-03-22T14:39:49.515" v="5"/>
          <ac:graphicFrameMkLst>
            <pc:docMk/>
            <pc:sldMk cId="847777020" sldId="8791"/>
            <ac:graphicFrameMk id="2" creationId="{047A132D-3FAE-48C5-BD5F-C01213AAD2F4}"/>
          </ac:graphicFrameMkLst>
        </pc:graphicFrameChg>
      </pc:sldChg>
    </pc:docChg>
  </pc:docChgLst>
  <pc:docChgLst>
    <pc:chgData name="Chandupatla, Karthik" userId="c28ea7a6-ad9e-43ab-92e5-56a102617332" providerId="ADAL" clId="{47F798A7-5592-446A-AF02-3BA777E9F0FC}"/>
    <pc:docChg chg="undo redo custSel addSld delSld modSld sldOrd modSection">
      <pc:chgData name="Chandupatla, Karthik" userId="c28ea7a6-ad9e-43ab-92e5-56a102617332" providerId="ADAL" clId="{47F798A7-5592-446A-AF02-3BA777E9F0FC}" dt="2021-07-13T08:07:32.944" v="324" actId="20577"/>
      <pc:docMkLst>
        <pc:docMk/>
      </pc:docMkLst>
      <pc:sldChg chg="addSp delSp del mod">
        <pc:chgData name="Chandupatla, Karthik" userId="c28ea7a6-ad9e-43ab-92e5-56a102617332" providerId="ADAL" clId="{47F798A7-5592-446A-AF02-3BA777E9F0FC}" dt="2021-07-13T07:29:27.764" v="148" actId="47"/>
        <pc:sldMkLst>
          <pc:docMk/>
          <pc:sldMk cId="636999727" sldId="256"/>
        </pc:sldMkLst>
        <pc:spChg chg="add del">
          <ac:chgData name="Chandupatla, Karthik" userId="c28ea7a6-ad9e-43ab-92e5-56a102617332" providerId="ADAL" clId="{47F798A7-5592-446A-AF02-3BA777E9F0FC}" dt="2021-07-12T19:57:16.667" v="121" actId="478"/>
          <ac:spMkLst>
            <pc:docMk/>
            <pc:sldMk cId="636999727" sldId="256"/>
            <ac:spMk id="7" creationId="{89B7F33D-FFA1-4D0B-8368-43049242856F}"/>
          </ac:spMkLst>
        </pc:spChg>
      </pc:sldChg>
      <pc:sldChg chg="modSp mod">
        <pc:chgData name="Chandupatla, Karthik" userId="c28ea7a6-ad9e-43ab-92e5-56a102617332" providerId="ADAL" clId="{47F798A7-5592-446A-AF02-3BA777E9F0FC}" dt="2021-07-12T13:21:51.644" v="106" actId="14100"/>
        <pc:sldMkLst>
          <pc:docMk/>
          <pc:sldMk cId="1078693895" sldId="268"/>
        </pc:sldMkLst>
        <pc:spChg chg="mod">
          <ac:chgData name="Chandupatla, Karthik" userId="c28ea7a6-ad9e-43ab-92e5-56a102617332" providerId="ADAL" clId="{47F798A7-5592-446A-AF02-3BA777E9F0FC}" dt="2021-07-12T13:21:25.964" v="103" actId="14100"/>
          <ac:spMkLst>
            <pc:docMk/>
            <pc:sldMk cId="1078693895" sldId="268"/>
            <ac:spMk id="17" creationId="{DC7EC01E-5784-4F90-8E40-A3F631182295}"/>
          </ac:spMkLst>
        </pc:spChg>
        <pc:spChg chg="mod">
          <ac:chgData name="Chandupatla, Karthik" userId="c28ea7a6-ad9e-43ab-92e5-56a102617332" providerId="ADAL" clId="{47F798A7-5592-446A-AF02-3BA777E9F0FC}" dt="2021-07-12T13:21:38.467" v="105" actId="14100"/>
          <ac:spMkLst>
            <pc:docMk/>
            <pc:sldMk cId="1078693895" sldId="268"/>
            <ac:spMk id="20" creationId="{97F95232-FAF7-4FBD-A394-067DD3DBBE84}"/>
          </ac:spMkLst>
        </pc:spChg>
        <pc:spChg chg="mod">
          <ac:chgData name="Chandupatla, Karthik" userId="c28ea7a6-ad9e-43ab-92e5-56a102617332" providerId="ADAL" clId="{47F798A7-5592-446A-AF02-3BA777E9F0FC}" dt="2021-07-12T13:21:51.644" v="106" actId="14100"/>
          <ac:spMkLst>
            <pc:docMk/>
            <pc:sldMk cId="1078693895" sldId="268"/>
            <ac:spMk id="22" creationId="{E4EEB0BB-CEA4-435D-930A-B95795FCC5A9}"/>
          </ac:spMkLst>
        </pc:spChg>
      </pc:sldChg>
      <pc:sldChg chg="modSp mod">
        <pc:chgData name="Chandupatla, Karthik" userId="c28ea7a6-ad9e-43ab-92e5-56a102617332" providerId="ADAL" clId="{47F798A7-5592-446A-AF02-3BA777E9F0FC}" dt="2021-07-12T11:25:33.684" v="11" actId="14100"/>
        <pc:sldMkLst>
          <pc:docMk/>
          <pc:sldMk cId="2803360750" sldId="271"/>
        </pc:sldMkLst>
        <pc:spChg chg="mod">
          <ac:chgData name="Chandupatla, Karthik" userId="c28ea7a6-ad9e-43ab-92e5-56a102617332" providerId="ADAL" clId="{47F798A7-5592-446A-AF02-3BA777E9F0FC}" dt="2021-07-12T11:25:33.684" v="11" actId="14100"/>
          <ac:spMkLst>
            <pc:docMk/>
            <pc:sldMk cId="2803360750" sldId="271"/>
            <ac:spMk id="12" creationId="{68ECAD0A-AA59-4B7A-8AFA-8CD3897256E6}"/>
          </ac:spMkLst>
        </pc:spChg>
      </pc:sldChg>
      <pc:sldChg chg="modSp mod">
        <pc:chgData name="Chandupatla, Karthik" userId="c28ea7a6-ad9e-43ab-92e5-56a102617332" providerId="ADAL" clId="{47F798A7-5592-446A-AF02-3BA777E9F0FC}" dt="2021-07-12T11:20:44.810" v="4" actId="1076"/>
        <pc:sldMkLst>
          <pc:docMk/>
          <pc:sldMk cId="1298414651" sldId="274"/>
        </pc:sldMkLst>
        <pc:spChg chg="mod">
          <ac:chgData name="Chandupatla, Karthik" userId="c28ea7a6-ad9e-43ab-92e5-56a102617332" providerId="ADAL" clId="{47F798A7-5592-446A-AF02-3BA777E9F0FC}" dt="2021-07-12T11:20:44.810" v="4" actId="1076"/>
          <ac:spMkLst>
            <pc:docMk/>
            <pc:sldMk cId="1298414651" sldId="274"/>
            <ac:spMk id="6" creationId="{BAFDF251-1B3D-4FC1-A68C-2260D8AA4EF7}"/>
          </ac:spMkLst>
        </pc:spChg>
        <pc:picChg chg="mod">
          <ac:chgData name="Chandupatla, Karthik" userId="c28ea7a6-ad9e-43ab-92e5-56a102617332" providerId="ADAL" clId="{47F798A7-5592-446A-AF02-3BA777E9F0FC}" dt="2021-07-12T11:20:44.810" v="4" actId="1076"/>
          <ac:picMkLst>
            <pc:docMk/>
            <pc:sldMk cId="1298414651" sldId="274"/>
            <ac:picMk id="15" creationId="{0E5390D4-31E4-42E1-B939-296F8108BCAB}"/>
          </ac:picMkLst>
        </pc:picChg>
      </pc:sldChg>
      <pc:sldChg chg="delSp modSp mod">
        <pc:chgData name="Chandupatla, Karthik" userId="c28ea7a6-ad9e-43ab-92e5-56a102617332" providerId="ADAL" clId="{47F798A7-5592-446A-AF02-3BA777E9F0FC}" dt="2021-07-13T08:05:53.502" v="289"/>
        <pc:sldMkLst>
          <pc:docMk/>
          <pc:sldMk cId="2725184318" sldId="8836"/>
        </pc:sldMkLst>
        <pc:spChg chg="del mod">
          <ac:chgData name="Chandupatla, Karthik" userId="c28ea7a6-ad9e-43ab-92e5-56a102617332" providerId="ADAL" clId="{47F798A7-5592-446A-AF02-3BA777E9F0FC}" dt="2021-07-13T08:00:51.245" v="288" actId="478"/>
          <ac:spMkLst>
            <pc:docMk/>
            <pc:sldMk cId="2725184318" sldId="8836"/>
            <ac:spMk id="4" creationId="{1C071B3B-B0F7-42FE-B961-199ECB788819}"/>
          </ac:spMkLst>
        </pc:spChg>
        <pc:spChg chg="mod">
          <ac:chgData name="Chandupatla, Karthik" userId="c28ea7a6-ad9e-43ab-92e5-56a102617332" providerId="ADAL" clId="{47F798A7-5592-446A-AF02-3BA777E9F0FC}" dt="2021-07-13T08:00:25.479" v="287" actId="20577"/>
          <ac:spMkLst>
            <pc:docMk/>
            <pc:sldMk cId="2725184318" sldId="8836"/>
            <ac:spMk id="13" creationId="{00000000-0000-0000-0000-000000000000}"/>
          </ac:spMkLst>
        </pc:spChg>
        <pc:picChg chg="del">
          <ac:chgData name="Chandupatla, Karthik" userId="c28ea7a6-ad9e-43ab-92e5-56a102617332" providerId="ADAL" clId="{47F798A7-5592-446A-AF02-3BA777E9F0FC}" dt="2021-07-13T08:05:53.502" v="289"/>
          <ac:picMkLst>
            <pc:docMk/>
            <pc:sldMk cId="2725184318" sldId="8836"/>
            <ac:picMk id="1026" creationId="{C4F80456-66F3-45B3-9AC7-6C8034E05F8E}"/>
          </ac:picMkLst>
        </pc:picChg>
      </pc:sldChg>
      <pc:sldChg chg="ord">
        <pc:chgData name="Chandupatla, Karthik" userId="c28ea7a6-ad9e-43ab-92e5-56a102617332" providerId="ADAL" clId="{47F798A7-5592-446A-AF02-3BA777E9F0FC}" dt="2021-07-12T14:15:13.518" v="107"/>
        <pc:sldMkLst>
          <pc:docMk/>
          <pc:sldMk cId="678701893" sldId="9006"/>
        </pc:sldMkLst>
      </pc:sldChg>
      <pc:sldChg chg="modSp mod">
        <pc:chgData name="Chandupatla, Karthik" userId="c28ea7a6-ad9e-43ab-92e5-56a102617332" providerId="ADAL" clId="{47F798A7-5592-446A-AF02-3BA777E9F0FC}" dt="2021-07-12T12:20:41.196" v="86" actId="1076"/>
        <pc:sldMkLst>
          <pc:docMk/>
          <pc:sldMk cId="633251387" sldId="9036"/>
        </pc:sldMkLst>
        <pc:spChg chg="mod">
          <ac:chgData name="Chandupatla, Karthik" userId="c28ea7a6-ad9e-43ab-92e5-56a102617332" providerId="ADAL" clId="{47F798A7-5592-446A-AF02-3BA777E9F0FC}" dt="2021-07-12T11:33:19.259" v="42" actId="255"/>
          <ac:spMkLst>
            <pc:docMk/>
            <pc:sldMk cId="633251387" sldId="9036"/>
            <ac:spMk id="10" creationId="{1A0176DF-1B97-473D-A10D-2782ED1043DD}"/>
          </ac:spMkLst>
        </pc:spChg>
        <pc:spChg chg="mod">
          <ac:chgData name="Chandupatla, Karthik" userId="c28ea7a6-ad9e-43ab-92e5-56a102617332" providerId="ADAL" clId="{47F798A7-5592-446A-AF02-3BA777E9F0FC}" dt="2021-07-12T11:33:32.298" v="46" actId="20577"/>
          <ac:spMkLst>
            <pc:docMk/>
            <pc:sldMk cId="633251387" sldId="9036"/>
            <ac:spMk id="11" creationId="{DA74E4A6-3B76-4E6E-8D06-3104FCD110F4}"/>
          </ac:spMkLst>
        </pc:spChg>
        <pc:spChg chg="mod">
          <ac:chgData name="Chandupatla, Karthik" userId="c28ea7a6-ad9e-43ab-92e5-56a102617332" providerId="ADAL" clId="{47F798A7-5592-446A-AF02-3BA777E9F0FC}" dt="2021-07-12T12:20:41.196" v="86" actId="1076"/>
          <ac:spMkLst>
            <pc:docMk/>
            <pc:sldMk cId="633251387" sldId="9036"/>
            <ac:spMk id="12" creationId="{BD52B5DB-DDAB-4EC0-94A0-8CED04FAB517}"/>
          </ac:spMkLst>
        </pc:spChg>
        <pc:spChg chg="mod">
          <ac:chgData name="Chandupatla, Karthik" userId="c28ea7a6-ad9e-43ab-92e5-56a102617332" providerId="ADAL" clId="{47F798A7-5592-446A-AF02-3BA777E9F0FC}" dt="2021-07-12T11:32:06.860" v="12" actId="1076"/>
          <ac:spMkLst>
            <pc:docMk/>
            <pc:sldMk cId="633251387" sldId="9036"/>
            <ac:spMk id="19" creationId="{7111F526-39E7-4973-AD26-42B4A4C98B3D}"/>
          </ac:spMkLst>
        </pc:spChg>
        <pc:spChg chg="mod">
          <ac:chgData name="Chandupatla, Karthik" userId="c28ea7a6-ad9e-43ab-92e5-56a102617332" providerId="ADAL" clId="{47F798A7-5592-446A-AF02-3BA777E9F0FC}" dt="2021-07-12T12:20:35.944" v="85" actId="1076"/>
          <ac:spMkLst>
            <pc:docMk/>
            <pc:sldMk cId="633251387" sldId="9036"/>
            <ac:spMk id="21" creationId="{5349EEFB-D456-493E-A735-8C86A8FF21EC}"/>
          </ac:spMkLst>
        </pc:spChg>
        <pc:spChg chg="mod">
          <ac:chgData name="Chandupatla, Karthik" userId="c28ea7a6-ad9e-43ab-92e5-56a102617332" providerId="ADAL" clId="{47F798A7-5592-446A-AF02-3BA777E9F0FC}" dt="2021-07-12T12:19:39.678" v="69" actId="1076"/>
          <ac:spMkLst>
            <pc:docMk/>
            <pc:sldMk cId="633251387" sldId="9036"/>
            <ac:spMk id="22" creationId="{03A9E2FA-7F2A-4CC1-B1E1-D9264FE9B626}"/>
          </ac:spMkLst>
        </pc:spChg>
        <pc:spChg chg="mod">
          <ac:chgData name="Chandupatla, Karthik" userId="c28ea7a6-ad9e-43ab-92e5-56a102617332" providerId="ADAL" clId="{47F798A7-5592-446A-AF02-3BA777E9F0FC}" dt="2021-07-12T12:19:47.126" v="70" actId="1076"/>
          <ac:spMkLst>
            <pc:docMk/>
            <pc:sldMk cId="633251387" sldId="9036"/>
            <ac:spMk id="23" creationId="{D230441B-247A-4C6E-942E-34750B95EE39}"/>
          </ac:spMkLst>
        </pc:spChg>
      </pc:sldChg>
      <pc:sldChg chg="delSp modSp mod">
        <pc:chgData name="Chandupatla, Karthik" userId="c28ea7a6-ad9e-43ab-92e5-56a102617332" providerId="ADAL" clId="{47F798A7-5592-446A-AF02-3BA777E9F0FC}" dt="2021-07-12T19:55:57.719" v="119" actId="20577"/>
        <pc:sldMkLst>
          <pc:docMk/>
          <pc:sldMk cId="664270981" sldId="9045"/>
        </pc:sldMkLst>
        <pc:spChg chg="del mod">
          <ac:chgData name="Chandupatla, Karthik" userId="c28ea7a6-ad9e-43ab-92e5-56a102617332" providerId="ADAL" clId="{47F798A7-5592-446A-AF02-3BA777E9F0FC}" dt="2021-07-12T19:55:48.369" v="108" actId="478"/>
          <ac:spMkLst>
            <pc:docMk/>
            <pc:sldMk cId="664270981" sldId="9045"/>
            <ac:spMk id="4" creationId="{448412F6-6033-4795-A496-8F068B70BEA0}"/>
          </ac:spMkLst>
        </pc:spChg>
        <pc:spChg chg="mod">
          <ac:chgData name="Chandupatla, Karthik" userId="c28ea7a6-ad9e-43ab-92e5-56a102617332" providerId="ADAL" clId="{47F798A7-5592-446A-AF02-3BA777E9F0FC}" dt="2021-07-12T19:55:57.719" v="119" actId="20577"/>
          <ac:spMkLst>
            <pc:docMk/>
            <pc:sldMk cId="664270981" sldId="9045"/>
            <ac:spMk id="5" creationId="{F16EB711-1DFD-4BF5-AB76-CAB609BEB155}"/>
          </ac:spMkLst>
        </pc:spChg>
        <pc:picChg chg="mod">
          <ac:chgData name="Chandupatla, Karthik" userId="c28ea7a6-ad9e-43ab-92e5-56a102617332" providerId="ADAL" clId="{47F798A7-5592-446A-AF02-3BA777E9F0FC}" dt="2021-07-12T12:51:35.625" v="97" actId="1076"/>
          <ac:picMkLst>
            <pc:docMk/>
            <pc:sldMk cId="664270981" sldId="9045"/>
            <ac:picMk id="8" creationId="{D1874747-7883-49F6-9A8E-B87443EAD5CE}"/>
          </ac:picMkLst>
        </pc:picChg>
      </pc:sldChg>
      <pc:sldChg chg="delSp modSp mod">
        <pc:chgData name="Chandupatla, Karthik" userId="c28ea7a6-ad9e-43ab-92e5-56a102617332" providerId="ADAL" clId="{47F798A7-5592-446A-AF02-3BA777E9F0FC}" dt="2021-07-12T12:52:51.026" v="100" actId="20577"/>
        <pc:sldMkLst>
          <pc:docMk/>
          <pc:sldMk cId="1983421167" sldId="9059"/>
        </pc:sldMkLst>
        <pc:spChg chg="mod">
          <ac:chgData name="Chandupatla, Karthik" userId="c28ea7a6-ad9e-43ab-92e5-56a102617332" providerId="ADAL" clId="{47F798A7-5592-446A-AF02-3BA777E9F0FC}" dt="2021-07-12T12:52:44.544" v="99" actId="6549"/>
          <ac:spMkLst>
            <pc:docMk/>
            <pc:sldMk cId="1983421167" sldId="9059"/>
            <ac:spMk id="5" creationId="{B6F7D438-10C9-4B5B-B1A1-868C5F942DED}"/>
          </ac:spMkLst>
        </pc:spChg>
        <pc:spChg chg="del">
          <ac:chgData name="Chandupatla, Karthik" userId="c28ea7a6-ad9e-43ab-92e5-56a102617332" providerId="ADAL" clId="{47F798A7-5592-446A-AF02-3BA777E9F0FC}" dt="2021-07-12T12:52:23.853" v="98" actId="478"/>
          <ac:spMkLst>
            <pc:docMk/>
            <pc:sldMk cId="1983421167" sldId="9059"/>
            <ac:spMk id="6" creationId="{ADAA0500-4F49-49F0-AA18-0878F4AAA938}"/>
          </ac:spMkLst>
        </pc:spChg>
        <pc:spChg chg="mod">
          <ac:chgData name="Chandupatla, Karthik" userId="c28ea7a6-ad9e-43ab-92e5-56a102617332" providerId="ADAL" clId="{47F798A7-5592-446A-AF02-3BA777E9F0FC}" dt="2021-07-12T12:52:51.026" v="100" actId="20577"/>
          <ac:spMkLst>
            <pc:docMk/>
            <pc:sldMk cId="1983421167" sldId="9059"/>
            <ac:spMk id="10" creationId="{B0E43679-B78C-4EF2-A4A4-B1815A689742}"/>
          </ac:spMkLst>
        </pc:spChg>
      </pc:sldChg>
      <pc:sldChg chg="modSp mod">
        <pc:chgData name="Chandupatla, Karthik" userId="c28ea7a6-ad9e-43ab-92e5-56a102617332" providerId="ADAL" clId="{47F798A7-5592-446A-AF02-3BA777E9F0FC}" dt="2021-07-12T12:43:41.086" v="92" actId="14734"/>
        <pc:sldMkLst>
          <pc:docMk/>
          <pc:sldMk cId="53167518" sldId="9060"/>
        </pc:sldMkLst>
        <pc:graphicFrameChg chg="modGraphic">
          <ac:chgData name="Chandupatla, Karthik" userId="c28ea7a6-ad9e-43ab-92e5-56a102617332" providerId="ADAL" clId="{47F798A7-5592-446A-AF02-3BA777E9F0FC}" dt="2021-07-12T12:24:39.493" v="90" actId="20577"/>
          <ac:graphicFrameMkLst>
            <pc:docMk/>
            <pc:sldMk cId="53167518" sldId="9060"/>
            <ac:graphicFrameMk id="4" creationId="{FE664A44-2B52-48E1-842B-86373307A2AD}"/>
          </ac:graphicFrameMkLst>
        </pc:graphicFrameChg>
        <pc:graphicFrameChg chg="modGraphic">
          <ac:chgData name="Chandupatla, Karthik" userId="c28ea7a6-ad9e-43ab-92e5-56a102617332" providerId="ADAL" clId="{47F798A7-5592-446A-AF02-3BA777E9F0FC}" dt="2021-07-12T12:43:41.086" v="92" actId="14734"/>
          <ac:graphicFrameMkLst>
            <pc:docMk/>
            <pc:sldMk cId="53167518" sldId="9060"/>
            <ac:graphicFrameMk id="58" creationId="{A6EBFF0D-1699-4F57-AC1F-62AAC56A13FE}"/>
          </ac:graphicFrameMkLst>
        </pc:graphicFrameChg>
      </pc:sldChg>
      <pc:sldChg chg="modSp mod">
        <pc:chgData name="Chandupatla, Karthik" userId="c28ea7a6-ad9e-43ab-92e5-56a102617332" providerId="ADAL" clId="{47F798A7-5592-446A-AF02-3BA777E9F0FC}" dt="2021-07-12T11:19:11.276" v="3" actId="20577"/>
        <pc:sldMkLst>
          <pc:docMk/>
          <pc:sldMk cId="2269658214" sldId="9063"/>
        </pc:sldMkLst>
        <pc:graphicFrameChg chg="modGraphic">
          <ac:chgData name="Chandupatla, Karthik" userId="c28ea7a6-ad9e-43ab-92e5-56a102617332" providerId="ADAL" clId="{47F798A7-5592-446A-AF02-3BA777E9F0FC}" dt="2021-07-12T11:19:11.276" v="3" actId="20577"/>
          <ac:graphicFrameMkLst>
            <pc:docMk/>
            <pc:sldMk cId="2269658214" sldId="9063"/>
            <ac:graphicFrameMk id="2" creationId="{7D8F2493-A0C4-4740-A16F-E066BC79CDD8}"/>
          </ac:graphicFrameMkLst>
        </pc:graphicFrameChg>
      </pc:sldChg>
      <pc:sldChg chg="new del">
        <pc:chgData name="Chandupatla, Karthik" userId="c28ea7a6-ad9e-43ab-92e5-56a102617332" providerId="ADAL" clId="{47F798A7-5592-446A-AF02-3BA777E9F0FC}" dt="2021-07-13T08:06:00.527" v="291" actId="680"/>
        <pc:sldMkLst>
          <pc:docMk/>
          <pc:sldMk cId="1466305297" sldId="9075"/>
        </pc:sldMkLst>
      </pc:sldChg>
      <pc:sldChg chg="addSp delSp modSp add mod">
        <pc:chgData name="Chandupatla, Karthik" userId="c28ea7a6-ad9e-43ab-92e5-56a102617332" providerId="ADAL" clId="{47F798A7-5592-446A-AF02-3BA777E9F0FC}" dt="2021-07-13T08:07:32.944" v="324" actId="20577"/>
        <pc:sldMkLst>
          <pc:docMk/>
          <pc:sldMk cId="3111259760" sldId="9075"/>
        </pc:sldMkLst>
        <pc:spChg chg="mod">
          <ac:chgData name="Chandupatla, Karthik" userId="c28ea7a6-ad9e-43ab-92e5-56a102617332" providerId="ADAL" clId="{47F798A7-5592-446A-AF02-3BA777E9F0FC}" dt="2021-07-13T08:07:32.944" v="324" actId="20577"/>
          <ac:spMkLst>
            <pc:docMk/>
            <pc:sldMk cId="3111259760" sldId="9075"/>
            <ac:spMk id="5" creationId="{F16EB711-1DFD-4BF5-AB76-CAB609BEB155}"/>
          </ac:spMkLst>
        </pc:spChg>
        <pc:picChg chg="del">
          <ac:chgData name="Chandupatla, Karthik" userId="c28ea7a6-ad9e-43ab-92e5-56a102617332" providerId="ADAL" clId="{47F798A7-5592-446A-AF02-3BA777E9F0FC}" dt="2021-07-13T08:06:10.038" v="293" actId="478"/>
          <ac:picMkLst>
            <pc:docMk/>
            <pc:sldMk cId="3111259760" sldId="9075"/>
            <ac:picMk id="8" creationId="{D1874747-7883-49F6-9A8E-B87443EAD5CE}"/>
          </ac:picMkLst>
        </pc:picChg>
        <pc:picChg chg="add mod">
          <ac:chgData name="Chandupatla, Karthik" userId="c28ea7a6-ad9e-43ab-92e5-56a102617332" providerId="ADAL" clId="{47F798A7-5592-446A-AF02-3BA777E9F0FC}" dt="2021-07-13T08:06:50.706" v="296" actId="1076"/>
          <ac:picMkLst>
            <pc:docMk/>
            <pc:sldMk cId="3111259760" sldId="9075"/>
            <ac:picMk id="2050" creationId="{392CEDD1-6F96-4E1E-9663-033FF6A2D8A3}"/>
          </ac:picMkLst>
        </pc:picChg>
      </pc:sldChg>
    </pc:docChg>
  </pc:docChgLst>
  <pc:docChgLst>
    <pc:chgData name="Jackman, Lauren" userId="S::ljackman@deloitte.com::ef96ab20-fb12-476c-a3e0-14bd051fc290" providerId="AD" clId="Web-{FFF14724-72CF-3F15-2D0E-AD8ED79C1A9E}"/>
    <pc:docChg chg="">
      <pc:chgData name="Jackman, Lauren" userId="S::ljackman@deloitte.com::ef96ab20-fb12-476c-a3e0-14bd051fc290" providerId="AD" clId="Web-{FFF14724-72CF-3F15-2D0E-AD8ED79C1A9E}" dt="2021-02-25T15:10:35.962" v="0"/>
      <pc:docMkLst>
        <pc:docMk/>
      </pc:docMkLst>
      <pc:sldChg chg="addCm">
        <pc:chgData name="Jackman, Lauren" userId="S::ljackman@deloitte.com::ef96ab20-fb12-476c-a3e0-14bd051fc290" providerId="AD" clId="Web-{FFF14724-72CF-3F15-2D0E-AD8ED79C1A9E}" dt="2021-02-25T15:10:35.962" v="0"/>
        <pc:sldMkLst>
          <pc:docMk/>
          <pc:sldMk cId="3377722835" sldId="8772"/>
        </pc:sldMkLst>
      </pc:sldChg>
    </pc:docChg>
  </pc:docChgLst>
  <pc:docChgLst>
    <pc:chgData name="M, Shilpa Goud" userId="S::shilpam@deloitte.com::a9d4caf0-26bb-4255-ac96-11e70e69739c" providerId="AD" clId="Web-{E55F8EB3-CDC1-4A92-AEBA-F126B46D18B8}"/>
    <pc:docChg chg="modSld">
      <pc:chgData name="M, Shilpa Goud" userId="S::shilpam@deloitte.com::a9d4caf0-26bb-4255-ac96-11e70e69739c" providerId="AD" clId="Web-{E55F8EB3-CDC1-4A92-AEBA-F126B46D18B8}" dt="2020-06-15T11:08:02.585" v="0" actId="14100"/>
      <pc:docMkLst>
        <pc:docMk/>
      </pc:docMkLst>
      <pc:sldChg chg="modSp">
        <pc:chgData name="M, Shilpa Goud" userId="S::shilpam@deloitte.com::a9d4caf0-26bb-4255-ac96-11e70e69739c" providerId="AD" clId="Web-{E55F8EB3-CDC1-4A92-AEBA-F126B46D18B8}" dt="2020-06-15T11:08:02.585" v="0" actId="14100"/>
        <pc:sldMkLst>
          <pc:docMk/>
          <pc:sldMk cId="3924100793" sldId="8832"/>
        </pc:sldMkLst>
        <pc:spChg chg="mod">
          <ac:chgData name="M, Shilpa Goud" userId="S::shilpam@deloitte.com::a9d4caf0-26bb-4255-ac96-11e70e69739c" providerId="AD" clId="Web-{E55F8EB3-CDC1-4A92-AEBA-F126B46D18B8}" dt="2020-06-15T11:08:02.585" v="0" actId="14100"/>
          <ac:spMkLst>
            <pc:docMk/>
            <pc:sldMk cId="3924100793" sldId="8832"/>
            <ac:spMk id="7" creationId="{BD52B5DB-DDAB-4EC0-94A0-8CED04FAB517}"/>
          </ac:spMkLst>
        </pc:spChg>
      </pc:sldChg>
    </pc:docChg>
  </pc:docChgLst>
  <pc:docChgLst>
    <pc:chgData name="Jivrajani, Dharini" userId="S::djivrajani@deloitte.com::9f28c9a6-e07b-4de5-8682-ac3f5c875595" providerId="AD" clId="Web-{EE6C6267-1AB8-42B7-8D84-743BC35D94DD}"/>
    <pc:docChg chg="modSld">
      <pc:chgData name="Jivrajani, Dharini" userId="S::djivrajani@deloitte.com::9f28c9a6-e07b-4de5-8682-ac3f5c875595" providerId="AD" clId="Web-{EE6C6267-1AB8-42B7-8D84-743BC35D94DD}" dt="2021-03-18T15:10:46.364" v="175" actId="20577"/>
      <pc:docMkLst>
        <pc:docMk/>
      </pc:docMkLst>
      <pc:sldChg chg="modSp">
        <pc:chgData name="Jivrajani, Dharini" userId="S::djivrajani@deloitte.com::9f28c9a6-e07b-4de5-8682-ac3f5c875595" providerId="AD" clId="Web-{EE6C6267-1AB8-42B7-8D84-743BC35D94DD}" dt="2021-03-18T15:01:42.631" v="1" actId="20577"/>
        <pc:sldMkLst>
          <pc:docMk/>
          <pc:sldMk cId="3661564267" sldId="257"/>
        </pc:sldMkLst>
        <pc:spChg chg="mod">
          <ac:chgData name="Jivrajani, Dharini" userId="S::djivrajani@deloitte.com::9f28c9a6-e07b-4de5-8682-ac3f5c875595" providerId="AD" clId="Web-{EE6C6267-1AB8-42B7-8D84-743BC35D94DD}" dt="2021-03-18T15:01:42.631" v="1" actId="20577"/>
          <ac:spMkLst>
            <pc:docMk/>
            <pc:sldMk cId="3661564267" sldId="257"/>
            <ac:spMk id="4" creationId="{00000000-0000-0000-0000-000000000000}"/>
          </ac:spMkLst>
        </pc:spChg>
      </pc:sldChg>
      <pc:sldChg chg="modSp">
        <pc:chgData name="Jivrajani, Dharini" userId="S::djivrajani@deloitte.com::9f28c9a6-e07b-4de5-8682-ac3f5c875595" providerId="AD" clId="Web-{EE6C6267-1AB8-42B7-8D84-743BC35D94DD}" dt="2021-03-18T15:09:41.659" v="153"/>
        <pc:sldMkLst>
          <pc:docMk/>
          <pc:sldMk cId="3377722835" sldId="8772"/>
        </pc:sldMkLst>
        <pc:graphicFrameChg chg="mod modGraphic">
          <ac:chgData name="Jivrajani, Dharini" userId="S::djivrajani@deloitte.com::9f28c9a6-e07b-4de5-8682-ac3f5c875595" providerId="AD" clId="Web-{EE6C6267-1AB8-42B7-8D84-743BC35D94DD}" dt="2021-03-18T15:09:41.659" v="153"/>
          <ac:graphicFrameMkLst>
            <pc:docMk/>
            <pc:sldMk cId="3377722835" sldId="8772"/>
            <ac:graphicFrameMk id="2" creationId="{7D8F2493-A0C4-4740-A16F-E066BC79CDD8}"/>
          </ac:graphicFrameMkLst>
        </pc:graphicFrameChg>
      </pc:sldChg>
      <pc:sldChg chg="modSp">
        <pc:chgData name="Jivrajani, Dharini" userId="S::djivrajani@deloitte.com::9f28c9a6-e07b-4de5-8682-ac3f5c875595" providerId="AD" clId="Web-{EE6C6267-1AB8-42B7-8D84-743BC35D94DD}" dt="2021-03-18T15:02:24.851" v="25"/>
        <pc:sldMkLst>
          <pc:docMk/>
          <pc:sldMk cId="1039189330" sldId="8774"/>
        </pc:sldMkLst>
        <pc:graphicFrameChg chg="mod modGraphic">
          <ac:chgData name="Jivrajani, Dharini" userId="S::djivrajani@deloitte.com::9f28c9a6-e07b-4de5-8682-ac3f5c875595" providerId="AD" clId="Web-{EE6C6267-1AB8-42B7-8D84-743BC35D94DD}" dt="2021-03-18T15:02:24.851" v="25"/>
          <ac:graphicFrameMkLst>
            <pc:docMk/>
            <pc:sldMk cId="1039189330" sldId="8774"/>
            <ac:graphicFrameMk id="4" creationId="{2AAAC88F-F4B4-4FE3-956E-C3F806D71324}"/>
          </ac:graphicFrameMkLst>
        </pc:graphicFrameChg>
      </pc:sldChg>
      <pc:sldChg chg="modSp">
        <pc:chgData name="Jivrajani, Dharini" userId="S::djivrajani@deloitte.com::9f28c9a6-e07b-4de5-8682-ac3f5c875595" providerId="AD" clId="Web-{EE6C6267-1AB8-42B7-8D84-743BC35D94DD}" dt="2021-03-18T15:03:02.680" v="33"/>
        <pc:sldMkLst>
          <pc:docMk/>
          <pc:sldMk cId="2407685793" sldId="8775"/>
        </pc:sldMkLst>
        <pc:graphicFrameChg chg="mod modGraphic">
          <ac:chgData name="Jivrajani, Dharini" userId="S::djivrajani@deloitte.com::9f28c9a6-e07b-4de5-8682-ac3f5c875595" providerId="AD" clId="Web-{EE6C6267-1AB8-42B7-8D84-743BC35D94DD}" dt="2021-03-18T15:03:02.680" v="33"/>
          <ac:graphicFrameMkLst>
            <pc:docMk/>
            <pc:sldMk cId="2407685793" sldId="8775"/>
            <ac:graphicFrameMk id="4" creationId="{2AAAC88F-F4B4-4FE3-956E-C3F806D71324}"/>
          </ac:graphicFrameMkLst>
        </pc:graphicFrameChg>
      </pc:sldChg>
      <pc:sldChg chg="modSp">
        <pc:chgData name="Jivrajani, Dharini" userId="S::djivrajani@deloitte.com::9f28c9a6-e07b-4de5-8682-ac3f5c875595" providerId="AD" clId="Web-{EE6C6267-1AB8-42B7-8D84-743BC35D94DD}" dt="2021-03-18T15:08:25.438" v="111" actId="20577"/>
        <pc:sldMkLst>
          <pc:docMk/>
          <pc:sldMk cId="3491360341" sldId="8786"/>
        </pc:sldMkLst>
        <pc:spChg chg="mod">
          <ac:chgData name="Jivrajani, Dharini" userId="S::djivrajani@deloitte.com::9f28c9a6-e07b-4de5-8682-ac3f5c875595" providerId="AD" clId="Web-{EE6C6267-1AB8-42B7-8D84-743BC35D94DD}" dt="2021-03-18T15:08:25.438" v="111" actId="20577"/>
          <ac:spMkLst>
            <pc:docMk/>
            <pc:sldMk cId="3491360341" sldId="8786"/>
            <ac:spMk id="5" creationId="{02DEB1AA-D738-40F6-A7DD-D454C53CCBCE}"/>
          </ac:spMkLst>
        </pc:spChg>
        <pc:graphicFrameChg chg="mod modGraphic">
          <ac:chgData name="Jivrajani, Dharini" userId="S::djivrajani@deloitte.com::9f28c9a6-e07b-4de5-8682-ac3f5c875595" providerId="AD" clId="Web-{EE6C6267-1AB8-42B7-8D84-743BC35D94DD}" dt="2021-03-18T15:06:54.905" v="109"/>
          <ac:graphicFrameMkLst>
            <pc:docMk/>
            <pc:sldMk cId="3491360341" sldId="8786"/>
            <ac:graphicFrameMk id="4" creationId="{FE664A44-2B52-48E1-842B-86373307A2AD}"/>
          </ac:graphicFrameMkLst>
        </pc:graphicFrameChg>
      </pc:sldChg>
      <pc:sldChg chg="modSp">
        <pc:chgData name="Jivrajani, Dharini" userId="S::djivrajani@deloitte.com::9f28c9a6-e07b-4de5-8682-ac3f5c875595" providerId="AD" clId="Web-{EE6C6267-1AB8-42B7-8D84-743BC35D94DD}" dt="2021-03-18T15:10:46.364" v="175" actId="20577"/>
        <pc:sldMkLst>
          <pc:docMk/>
          <pc:sldMk cId="132515051" sldId="9029"/>
        </pc:sldMkLst>
        <pc:spChg chg="mod">
          <ac:chgData name="Jivrajani, Dharini" userId="S::djivrajani@deloitte.com::9f28c9a6-e07b-4de5-8682-ac3f5c875595" providerId="AD" clId="Web-{EE6C6267-1AB8-42B7-8D84-743BC35D94DD}" dt="2021-03-18T15:10:46.364" v="175" actId="20577"/>
          <ac:spMkLst>
            <pc:docMk/>
            <pc:sldMk cId="132515051" sldId="9029"/>
            <ac:spMk id="2" creationId="{A29AD221-CF2A-4E37-B85D-5E741C5C69E6}"/>
          </ac:spMkLst>
        </pc:spChg>
      </pc:sldChg>
    </pc:docChg>
  </pc:docChgLst>
  <pc:docChgLst>
    <pc:chgData name="Zhong, Rose" userId="S::rozhong@deloitte.com::91b20ec7-2220-4f96-9b07-259aafca34b3" providerId="AD" clId="Web-{11B55298-6FE5-18A2-3957-41F9FD84C47A}"/>
    <pc:docChg chg="modSld">
      <pc:chgData name="Zhong, Rose" userId="S::rozhong@deloitte.com::91b20ec7-2220-4f96-9b07-259aafca34b3" providerId="AD" clId="Web-{11B55298-6FE5-18A2-3957-41F9FD84C47A}" dt="2021-02-24T21:53:24.896" v="5" actId="20577"/>
      <pc:docMkLst>
        <pc:docMk/>
      </pc:docMkLst>
      <pc:sldChg chg="modSp">
        <pc:chgData name="Zhong, Rose" userId="S::rozhong@deloitte.com::91b20ec7-2220-4f96-9b07-259aafca34b3" providerId="AD" clId="Web-{11B55298-6FE5-18A2-3957-41F9FD84C47A}" dt="2021-02-24T21:53:24.896" v="5" actId="20577"/>
        <pc:sldMkLst>
          <pc:docMk/>
          <pc:sldMk cId="1078693895" sldId="268"/>
        </pc:sldMkLst>
        <pc:spChg chg="mod">
          <ac:chgData name="Zhong, Rose" userId="S::rozhong@deloitte.com::91b20ec7-2220-4f96-9b07-259aafca34b3" providerId="AD" clId="Web-{11B55298-6FE5-18A2-3957-41F9FD84C47A}" dt="2021-02-24T21:53:24.896" v="5" actId="20577"/>
          <ac:spMkLst>
            <pc:docMk/>
            <pc:sldMk cId="1078693895" sldId="268"/>
            <ac:spMk id="20" creationId="{97F95232-FAF7-4FBD-A394-067DD3DBBE84}"/>
          </ac:spMkLst>
        </pc:spChg>
      </pc:sldChg>
    </pc:docChg>
  </pc:docChgLst>
  <pc:docChgLst>
    <pc:chgData name="Chinda, Sowjanya" userId="S::schinda@deloitte.com::fc5c6afc-3b7c-40b3-bf0d-c9a2eae19122" providerId="AD" clId="Web-{DA14D3A3-1CC8-4883-BDCB-3146E4702E76}"/>
    <pc:docChg chg="modSld">
      <pc:chgData name="Chinda, Sowjanya" userId="S::schinda@deloitte.com::fc5c6afc-3b7c-40b3-bf0d-c9a2eae19122" providerId="AD" clId="Web-{DA14D3A3-1CC8-4883-BDCB-3146E4702E76}" dt="2020-06-18T14:14:26.824" v="1" actId="20577"/>
      <pc:docMkLst>
        <pc:docMk/>
      </pc:docMkLst>
      <pc:sldChg chg="modSp">
        <pc:chgData name="Chinda, Sowjanya" userId="S::schinda@deloitte.com::fc5c6afc-3b7c-40b3-bf0d-c9a2eae19122" providerId="AD" clId="Web-{DA14D3A3-1CC8-4883-BDCB-3146E4702E76}" dt="2020-06-18T14:14:26.824" v="1" actId="20577"/>
        <pc:sldMkLst>
          <pc:docMk/>
          <pc:sldMk cId="4107362912" sldId="8785"/>
        </pc:sldMkLst>
        <pc:spChg chg="mod">
          <ac:chgData name="Chinda, Sowjanya" userId="S::schinda@deloitte.com::fc5c6afc-3b7c-40b3-bf0d-c9a2eae19122" providerId="AD" clId="Web-{DA14D3A3-1CC8-4883-BDCB-3146E4702E76}" dt="2020-06-18T14:14:26.824" v="1" actId="20577"/>
          <ac:spMkLst>
            <pc:docMk/>
            <pc:sldMk cId="4107362912" sldId="8785"/>
            <ac:spMk id="16" creationId="{710120A0-9CD3-4973-9051-F6B314FD17A7}"/>
          </ac:spMkLst>
        </pc:spChg>
      </pc:sldChg>
    </pc:docChg>
  </pc:docChgLst>
  <pc:docChgLst>
    <pc:chgData name="Bouikidis, Zois" userId="S::zbouikidis@deloitte.com::bd1a3939-50ae-4ed9-9f20-380b71c15406" providerId="AD" clId="Web-{1CA77BDC-71A1-4CB2-AC99-2B4737AFCBBE}"/>
    <pc:docChg chg="modSld">
      <pc:chgData name="Bouikidis, Zois" userId="S::zbouikidis@deloitte.com::bd1a3939-50ae-4ed9-9f20-380b71c15406" providerId="AD" clId="Web-{1CA77BDC-71A1-4CB2-AC99-2B4737AFCBBE}" dt="2020-07-15T10:36:11.035" v="0"/>
      <pc:docMkLst>
        <pc:docMk/>
      </pc:docMkLst>
      <pc:sldChg chg="modSp">
        <pc:chgData name="Bouikidis, Zois" userId="S::zbouikidis@deloitte.com::bd1a3939-50ae-4ed9-9f20-380b71c15406" providerId="AD" clId="Web-{1CA77BDC-71A1-4CB2-AC99-2B4737AFCBBE}" dt="2020-07-15T10:36:11.035" v="0"/>
        <pc:sldMkLst>
          <pc:docMk/>
          <pc:sldMk cId="800771401" sldId="8787"/>
        </pc:sldMkLst>
        <pc:graphicFrameChg chg="modGraphic">
          <ac:chgData name="Bouikidis, Zois" userId="S::zbouikidis@deloitte.com::bd1a3939-50ae-4ed9-9f20-380b71c15406" providerId="AD" clId="Web-{1CA77BDC-71A1-4CB2-AC99-2B4737AFCBBE}" dt="2020-07-15T10:36:11.035" v="0"/>
          <ac:graphicFrameMkLst>
            <pc:docMk/>
            <pc:sldMk cId="800771401" sldId="8787"/>
            <ac:graphicFrameMk id="2" creationId="{9FBD2273-D8F8-4BC6-9989-AE46BDA26063}"/>
          </ac:graphicFrameMkLst>
        </pc:graphicFrameChg>
      </pc:sldChg>
    </pc:docChg>
  </pc:docChgLst>
  <pc:docChgLst>
    <pc:chgData name="Mukherjee, Krishnendu" userId="8df999e8-a9d6-4973-bdc2-708772ae3d9d" providerId="ADAL" clId="{4444FBD4-92E5-4AF3-B73D-F1EEDCEA4EDB}"/>
    <pc:docChg chg="undo custSel addSld delSld modSld modSection">
      <pc:chgData name="Mukherjee, Krishnendu" userId="8df999e8-a9d6-4973-bdc2-708772ae3d9d" providerId="ADAL" clId="{4444FBD4-92E5-4AF3-B73D-F1EEDCEA4EDB}" dt="2021-03-23T07:37:00.919" v="716" actId="1076"/>
      <pc:docMkLst>
        <pc:docMk/>
      </pc:docMkLst>
      <pc:sldChg chg="modSp">
        <pc:chgData name="Mukherjee, Krishnendu" userId="8df999e8-a9d6-4973-bdc2-708772ae3d9d" providerId="ADAL" clId="{4444FBD4-92E5-4AF3-B73D-F1EEDCEA4EDB}" dt="2021-03-22T12:33:57.775" v="123" actId="6549"/>
        <pc:sldMkLst>
          <pc:docMk/>
          <pc:sldMk cId="1078693895" sldId="268"/>
        </pc:sldMkLst>
        <pc:spChg chg="mod">
          <ac:chgData name="Mukherjee, Krishnendu" userId="8df999e8-a9d6-4973-bdc2-708772ae3d9d" providerId="ADAL" clId="{4444FBD4-92E5-4AF3-B73D-F1EEDCEA4EDB}" dt="2021-03-22T12:33:48.655" v="122" actId="6549"/>
          <ac:spMkLst>
            <pc:docMk/>
            <pc:sldMk cId="1078693895" sldId="268"/>
            <ac:spMk id="20" creationId="{97F95232-FAF7-4FBD-A394-067DD3DBBE84}"/>
          </ac:spMkLst>
        </pc:spChg>
        <pc:spChg chg="mod">
          <ac:chgData name="Mukherjee, Krishnendu" userId="8df999e8-a9d6-4973-bdc2-708772ae3d9d" providerId="ADAL" clId="{4444FBD4-92E5-4AF3-B73D-F1EEDCEA4EDB}" dt="2021-03-22T12:33:57.775" v="123" actId="6549"/>
          <ac:spMkLst>
            <pc:docMk/>
            <pc:sldMk cId="1078693895" sldId="268"/>
            <ac:spMk id="22" creationId="{E4EEB0BB-CEA4-435D-930A-B95795FCC5A9}"/>
          </ac:spMkLst>
        </pc:spChg>
      </pc:sldChg>
      <pc:sldChg chg="add del">
        <pc:chgData name="Mukherjee, Krishnendu" userId="8df999e8-a9d6-4973-bdc2-708772ae3d9d" providerId="ADAL" clId="{4444FBD4-92E5-4AF3-B73D-F1EEDCEA4EDB}" dt="2021-03-22T16:46:36.107" v="375"/>
        <pc:sldMkLst>
          <pc:docMk/>
          <pc:sldMk cId="3756249856" sldId="398"/>
        </pc:sldMkLst>
      </pc:sldChg>
      <pc:sldChg chg="modSp">
        <pc:chgData name="Mukherjee, Krishnendu" userId="8df999e8-a9d6-4973-bdc2-708772ae3d9d" providerId="ADAL" clId="{4444FBD4-92E5-4AF3-B73D-F1EEDCEA4EDB}" dt="2021-03-22T12:31:28.303" v="121" actId="20577"/>
        <pc:sldMkLst>
          <pc:docMk/>
          <pc:sldMk cId="3491360341" sldId="8786"/>
        </pc:sldMkLst>
        <pc:graphicFrameChg chg="modGraphic">
          <ac:chgData name="Mukherjee, Krishnendu" userId="8df999e8-a9d6-4973-bdc2-708772ae3d9d" providerId="ADAL" clId="{4444FBD4-92E5-4AF3-B73D-F1EEDCEA4EDB}" dt="2021-03-22T12:31:28.303" v="121" actId="20577"/>
          <ac:graphicFrameMkLst>
            <pc:docMk/>
            <pc:sldMk cId="3491360341" sldId="8786"/>
            <ac:graphicFrameMk id="4" creationId="{FE664A44-2B52-48E1-842B-86373307A2AD}"/>
          </ac:graphicFrameMkLst>
        </pc:graphicFrameChg>
      </pc:sldChg>
      <pc:sldChg chg="delSp">
        <pc:chgData name="Mukherjee, Krishnendu" userId="8df999e8-a9d6-4973-bdc2-708772ae3d9d" providerId="ADAL" clId="{4444FBD4-92E5-4AF3-B73D-F1EEDCEA4EDB}" dt="2021-03-22T16:48:55.126" v="378" actId="478"/>
        <pc:sldMkLst>
          <pc:docMk/>
          <pc:sldMk cId="2138715199" sldId="8833"/>
        </pc:sldMkLst>
        <pc:spChg chg="del">
          <ac:chgData name="Mukherjee, Krishnendu" userId="8df999e8-a9d6-4973-bdc2-708772ae3d9d" providerId="ADAL" clId="{4444FBD4-92E5-4AF3-B73D-F1EEDCEA4EDB}" dt="2021-03-22T16:48:55.126" v="378" actId="478"/>
          <ac:spMkLst>
            <pc:docMk/>
            <pc:sldMk cId="2138715199" sldId="8833"/>
            <ac:spMk id="5" creationId="{C0A43CE2-008C-43E3-9893-567DF324A6B0}"/>
          </ac:spMkLst>
        </pc:spChg>
      </pc:sldChg>
      <pc:sldChg chg="addSp delSp modSp">
        <pc:chgData name="Mukherjee, Krishnendu" userId="8df999e8-a9d6-4973-bdc2-708772ae3d9d" providerId="ADAL" clId="{4444FBD4-92E5-4AF3-B73D-F1EEDCEA4EDB}" dt="2021-03-23T07:37:00.919" v="716" actId="1076"/>
        <pc:sldMkLst>
          <pc:docMk/>
          <pc:sldMk cId="678701893" sldId="9006"/>
        </pc:sldMkLst>
        <pc:spChg chg="add del mod">
          <ac:chgData name="Mukherjee, Krishnendu" userId="8df999e8-a9d6-4973-bdc2-708772ae3d9d" providerId="ADAL" clId="{4444FBD4-92E5-4AF3-B73D-F1EEDCEA4EDB}" dt="2021-03-23T07:37:00.919" v="716" actId="1076"/>
          <ac:spMkLst>
            <pc:docMk/>
            <pc:sldMk cId="678701893" sldId="9006"/>
            <ac:spMk id="2" creationId="{AC0E8FDC-CD5C-4B99-AE0F-E1A478E15DB5}"/>
          </ac:spMkLst>
        </pc:spChg>
        <pc:spChg chg="add del">
          <ac:chgData name="Mukherjee, Krishnendu" userId="8df999e8-a9d6-4973-bdc2-708772ae3d9d" providerId="ADAL" clId="{4444FBD4-92E5-4AF3-B73D-F1EEDCEA4EDB}" dt="2021-03-22T12:57:09.205" v="208" actId="478"/>
          <ac:spMkLst>
            <pc:docMk/>
            <pc:sldMk cId="678701893" sldId="9006"/>
            <ac:spMk id="3" creationId="{AF8A5C9C-679A-4CCF-BB52-551EEFF71513}"/>
          </ac:spMkLst>
        </pc:spChg>
        <pc:spChg chg="add del mod">
          <ac:chgData name="Mukherjee, Krishnendu" userId="8df999e8-a9d6-4973-bdc2-708772ae3d9d" providerId="ADAL" clId="{4444FBD4-92E5-4AF3-B73D-F1EEDCEA4EDB}" dt="2021-03-23T07:36:05.775" v="715" actId="20577"/>
          <ac:spMkLst>
            <pc:docMk/>
            <pc:sldMk cId="678701893" sldId="9006"/>
            <ac:spMk id="7" creationId="{23BFA5EA-56E0-451D-8744-A431A8B9C40E}"/>
          </ac:spMkLst>
        </pc:spChg>
        <pc:spChg chg="add del">
          <ac:chgData name="Mukherjee, Krishnendu" userId="8df999e8-a9d6-4973-bdc2-708772ae3d9d" providerId="ADAL" clId="{4444FBD4-92E5-4AF3-B73D-F1EEDCEA4EDB}" dt="2021-03-22T12:57:16.066" v="209" actId="478"/>
          <ac:spMkLst>
            <pc:docMk/>
            <pc:sldMk cId="678701893" sldId="9006"/>
            <ac:spMk id="18" creationId="{2ED22B02-5240-4727-BF25-4F14AC35F406}"/>
          </ac:spMkLst>
        </pc:spChg>
        <pc:spChg chg="add del">
          <ac:chgData name="Mukherjee, Krishnendu" userId="8df999e8-a9d6-4973-bdc2-708772ae3d9d" providerId="ADAL" clId="{4444FBD4-92E5-4AF3-B73D-F1EEDCEA4EDB}" dt="2021-03-22T12:57:09.205" v="208" actId="478"/>
          <ac:spMkLst>
            <pc:docMk/>
            <pc:sldMk cId="678701893" sldId="9006"/>
            <ac:spMk id="32" creationId="{EF450DAD-1A03-4ADA-A6B6-85242294E514}"/>
          </ac:spMkLst>
        </pc:spChg>
        <pc:spChg chg="add del">
          <ac:chgData name="Mukherjee, Krishnendu" userId="8df999e8-a9d6-4973-bdc2-708772ae3d9d" providerId="ADAL" clId="{4444FBD4-92E5-4AF3-B73D-F1EEDCEA4EDB}" dt="2021-03-22T12:57:09.205" v="208" actId="478"/>
          <ac:spMkLst>
            <pc:docMk/>
            <pc:sldMk cId="678701893" sldId="9006"/>
            <ac:spMk id="37" creationId="{AF8A5C9C-679A-4CCF-BB52-551EEFF71513}"/>
          </ac:spMkLst>
        </pc:spChg>
        <pc:grpChg chg="add del">
          <ac:chgData name="Mukherjee, Krishnendu" userId="8df999e8-a9d6-4973-bdc2-708772ae3d9d" providerId="ADAL" clId="{4444FBD4-92E5-4AF3-B73D-F1EEDCEA4EDB}" dt="2021-03-22T12:57:09.205" v="208" actId="478"/>
          <ac:grpSpMkLst>
            <pc:docMk/>
            <pc:sldMk cId="678701893" sldId="9006"/>
            <ac:grpSpMk id="8" creationId="{836CA727-323C-4BD2-B2A5-552F7AB2FDCB}"/>
          </ac:grpSpMkLst>
        </pc:grpChg>
        <pc:picChg chg="add del">
          <ac:chgData name="Mukherjee, Krishnendu" userId="8df999e8-a9d6-4973-bdc2-708772ae3d9d" providerId="ADAL" clId="{4444FBD4-92E5-4AF3-B73D-F1EEDCEA4EDB}" dt="2021-03-22T12:57:09.205" v="208" actId="478"/>
          <ac:picMkLst>
            <pc:docMk/>
            <pc:sldMk cId="678701893" sldId="9006"/>
            <ac:picMk id="21" creationId="{9B224857-23E0-4D2A-89B0-D976348BE339}"/>
          </ac:picMkLst>
        </pc:picChg>
      </pc:sldChg>
      <pc:sldChg chg="addSp delSp modSp del">
        <pc:chgData name="Mukherjee, Krishnendu" userId="8df999e8-a9d6-4973-bdc2-708772ae3d9d" providerId="ADAL" clId="{4444FBD4-92E5-4AF3-B73D-F1EEDCEA4EDB}" dt="2021-03-22T16:47:33.394" v="377" actId="2696"/>
        <pc:sldMkLst>
          <pc:docMk/>
          <pc:sldMk cId="1736536038" sldId="9007"/>
        </pc:sldMkLst>
        <pc:spChg chg="mod">
          <ac:chgData name="Mukherjee, Krishnendu" userId="8df999e8-a9d6-4973-bdc2-708772ae3d9d" providerId="ADAL" clId="{4444FBD4-92E5-4AF3-B73D-F1EEDCEA4EDB}" dt="2021-03-17T16:14:47.573" v="106" actId="20577"/>
          <ac:spMkLst>
            <pc:docMk/>
            <pc:sldMk cId="1736536038" sldId="9007"/>
            <ac:spMk id="2" creationId="{A177750C-044F-4990-8BD0-F0E7899BE3EF}"/>
          </ac:spMkLst>
        </pc:spChg>
        <pc:spChg chg="mod">
          <ac:chgData name="Mukherjee, Krishnendu" userId="8df999e8-a9d6-4973-bdc2-708772ae3d9d" providerId="ADAL" clId="{4444FBD4-92E5-4AF3-B73D-F1EEDCEA4EDB}" dt="2021-03-22T12:43:02.253" v="198" actId="6549"/>
          <ac:spMkLst>
            <pc:docMk/>
            <pc:sldMk cId="1736536038" sldId="9007"/>
            <ac:spMk id="7" creationId="{23BFA5EA-56E0-451D-8744-A431A8B9C40E}"/>
          </ac:spMkLst>
        </pc:spChg>
        <pc:spChg chg="del">
          <ac:chgData name="Mukherjee, Krishnendu" userId="8df999e8-a9d6-4973-bdc2-708772ae3d9d" providerId="ADAL" clId="{4444FBD4-92E5-4AF3-B73D-F1EEDCEA4EDB}" dt="2021-03-22T12:38:12.222" v="126" actId="478"/>
          <ac:spMkLst>
            <pc:docMk/>
            <pc:sldMk cId="1736536038" sldId="9007"/>
            <ac:spMk id="11" creationId="{DE7C9C3C-113D-4C16-8872-AD8CF451141A}"/>
          </ac:spMkLst>
        </pc:spChg>
        <pc:spChg chg="add mod">
          <ac:chgData name="Mukherjee, Krishnendu" userId="8df999e8-a9d6-4973-bdc2-708772ae3d9d" providerId="ADAL" clId="{4444FBD4-92E5-4AF3-B73D-F1EEDCEA4EDB}" dt="2021-03-22T12:45:19.384" v="206" actId="1076"/>
          <ac:spMkLst>
            <pc:docMk/>
            <pc:sldMk cId="1736536038" sldId="9007"/>
            <ac:spMk id="12" creationId="{86BED593-0003-4204-A9D8-D0F4D5CB4C20}"/>
          </ac:spMkLst>
        </pc:spChg>
        <pc:spChg chg="mod">
          <ac:chgData name="Mukherjee, Krishnendu" userId="8df999e8-a9d6-4973-bdc2-708772ae3d9d" providerId="ADAL" clId="{4444FBD4-92E5-4AF3-B73D-F1EEDCEA4EDB}" dt="2021-03-17T16:15:07.084" v="120" actId="1035"/>
          <ac:spMkLst>
            <pc:docMk/>
            <pc:sldMk cId="1736536038" sldId="9007"/>
            <ac:spMk id="32" creationId="{EF450DAD-1A03-4ADA-A6B6-85242294E514}"/>
          </ac:spMkLst>
        </pc:spChg>
        <pc:spChg chg="mod">
          <ac:chgData name="Mukherjee, Krishnendu" userId="8df999e8-a9d6-4973-bdc2-708772ae3d9d" providerId="ADAL" clId="{4444FBD4-92E5-4AF3-B73D-F1EEDCEA4EDB}" dt="2021-03-17T16:15:07.084" v="120" actId="1035"/>
          <ac:spMkLst>
            <pc:docMk/>
            <pc:sldMk cId="1736536038" sldId="9007"/>
            <ac:spMk id="34" creationId="{DA9E4ACD-C674-47B5-940C-7094D6277CA0}"/>
          </ac:spMkLst>
        </pc:spChg>
      </pc:sldChg>
      <pc:sldChg chg="modSp add del">
        <pc:chgData name="Mukherjee, Krishnendu" userId="8df999e8-a9d6-4973-bdc2-708772ae3d9d" providerId="ADAL" clId="{4444FBD4-92E5-4AF3-B73D-F1EEDCEA4EDB}" dt="2021-03-22T16:46:55.559" v="376" actId="6549"/>
        <pc:sldMkLst>
          <pc:docMk/>
          <pc:sldMk cId="2524229145" sldId="9040"/>
        </pc:sldMkLst>
        <pc:spChg chg="mod">
          <ac:chgData name="Mukherjee, Krishnendu" userId="8df999e8-a9d6-4973-bdc2-708772ae3d9d" providerId="ADAL" clId="{4444FBD4-92E5-4AF3-B73D-F1EEDCEA4EDB}" dt="2021-03-22T16:46:55.559" v="376" actId="6549"/>
          <ac:spMkLst>
            <pc:docMk/>
            <pc:sldMk cId="2524229145" sldId="9040"/>
            <ac:spMk id="30" creationId="{92E932A8-E38E-4167-8DD9-EB7CCD51D05D}"/>
          </ac:spMkLst>
        </pc:spChg>
      </pc:sldChg>
    </pc:docChg>
  </pc:docChgLst>
  <pc:docChgLst>
    <pc:chgData name="M, Shilpa Goud" userId="a9d4caf0-26bb-4255-ac96-11e70e69739c" providerId="ADAL" clId="{02E7033A-44B9-454C-BDDE-94CEFA9C8DDF}"/>
    <pc:docChg chg="modSld">
      <pc:chgData name="M, Shilpa Goud" userId="a9d4caf0-26bb-4255-ac96-11e70e69739c" providerId="ADAL" clId="{02E7033A-44B9-454C-BDDE-94CEFA9C8DDF}" dt="2020-07-14T10:30:43.406" v="53" actId="14100"/>
      <pc:docMkLst>
        <pc:docMk/>
      </pc:docMkLst>
      <pc:sldChg chg="modSp">
        <pc:chgData name="M, Shilpa Goud" userId="a9d4caf0-26bb-4255-ac96-11e70e69739c" providerId="ADAL" clId="{02E7033A-44B9-454C-BDDE-94CEFA9C8DDF}" dt="2020-07-14T10:30:43.406" v="53" actId="14100"/>
        <pc:sldMkLst>
          <pc:docMk/>
          <pc:sldMk cId="1954271784" sldId="8811"/>
        </pc:sldMkLst>
        <pc:spChg chg="mod">
          <ac:chgData name="M, Shilpa Goud" userId="a9d4caf0-26bb-4255-ac96-11e70e69739c" providerId="ADAL" clId="{02E7033A-44B9-454C-BDDE-94CEFA9C8DDF}" dt="2020-07-14T10:30:43.406" v="53" actId="14100"/>
          <ac:spMkLst>
            <pc:docMk/>
            <pc:sldMk cId="1954271784" sldId="8811"/>
            <ac:spMk id="4" creationId="{58C9766A-F6D4-426B-B772-1B9A9FCA872B}"/>
          </ac:spMkLst>
        </pc:spChg>
      </pc:sldChg>
    </pc:docChg>
  </pc:docChgLst>
  <pc:docChgLst>
    <pc:chgData name="Jivrajani, Dharini" userId="S::djivrajani@deloitte.com::9f28c9a6-e07b-4de5-8682-ac3f5c875595" providerId="AD" clId="Web-{591E4B9B-D7F5-4CCC-B16A-781F11C7585B}"/>
    <pc:docChg chg="modSld">
      <pc:chgData name="Jivrajani, Dharini" userId="S::djivrajani@deloitte.com::9f28c9a6-e07b-4de5-8682-ac3f5c875595" providerId="AD" clId="Web-{591E4B9B-D7F5-4CCC-B16A-781F11C7585B}" dt="2020-07-13T10:59:49.502" v="34"/>
      <pc:docMkLst>
        <pc:docMk/>
      </pc:docMkLst>
      <pc:sldChg chg="modSp">
        <pc:chgData name="Jivrajani, Dharini" userId="S::djivrajani@deloitte.com::9f28c9a6-e07b-4de5-8682-ac3f5c875595" providerId="AD" clId="Web-{591E4B9B-D7F5-4CCC-B16A-781F11C7585B}" dt="2020-07-13T10:59:49.502" v="34"/>
        <pc:sldMkLst>
          <pc:docMk/>
          <pc:sldMk cId="1369081146" sldId="8773"/>
        </pc:sldMkLst>
        <pc:graphicFrameChg chg="mod modGraphic">
          <ac:chgData name="Jivrajani, Dharini" userId="S::djivrajani@deloitte.com::9f28c9a6-e07b-4de5-8682-ac3f5c875595" providerId="AD" clId="Web-{591E4B9B-D7F5-4CCC-B16A-781F11C7585B}" dt="2020-07-13T10:59:49.502" v="34"/>
          <ac:graphicFrameMkLst>
            <pc:docMk/>
            <pc:sldMk cId="1369081146" sldId="8773"/>
            <ac:graphicFrameMk id="4" creationId="{2AAAC88F-F4B4-4FE3-956E-C3F806D71324}"/>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3"/>
            <a:ext cx="3077950" cy="468914"/>
          </a:xfrm>
          <a:prstGeom prst="rect">
            <a:avLst/>
          </a:prstGeom>
        </p:spPr>
        <p:txBody>
          <a:bodyPr vert="horz" lIns="88620" tIns="44311" rIns="88620" bIns="44311"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022938" y="3"/>
            <a:ext cx="3077950" cy="468914"/>
          </a:xfrm>
          <a:prstGeom prst="rect">
            <a:avLst/>
          </a:prstGeom>
        </p:spPr>
        <p:txBody>
          <a:bodyPr vert="horz" lIns="88620" tIns="44311" rIns="88620" bIns="44311" rtlCol="0"/>
          <a:lstStyle>
            <a:lvl1pPr algn="r">
              <a:defRPr sz="1100"/>
            </a:lvl1pPr>
          </a:lstStyle>
          <a:p>
            <a:fld id="{B4AD245C-091B-44E2-BFB0-BD94217887F7}" type="datetimeFigureOut">
              <a:rPr lang="en-US" smtClean="0">
                <a:latin typeface="Arial" panose="020B0604020202020204" pitchFamily="34" charset="0"/>
              </a:rPr>
              <a:t>7/15/2021</a:t>
            </a:fld>
            <a:endParaRPr lang="en-US">
              <a:latin typeface="Arial" panose="020B0604020202020204" pitchFamily="34" charset="0"/>
            </a:endParaRPr>
          </a:p>
        </p:txBody>
      </p:sp>
      <p:sp>
        <p:nvSpPr>
          <p:cNvPr id="4" name="Footer Placeholder 3"/>
          <p:cNvSpPr>
            <a:spLocks noGrp="1"/>
          </p:cNvSpPr>
          <p:nvPr>
            <p:ph type="ftr" sz="quarter" idx="2"/>
          </p:nvPr>
        </p:nvSpPr>
        <p:spPr>
          <a:xfrm>
            <a:off x="5" y="8918107"/>
            <a:ext cx="3077950" cy="468914"/>
          </a:xfrm>
          <a:prstGeom prst="rect">
            <a:avLst/>
          </a:prstGeom>
        </p:spPr>
        <p:txBody>
          <a:bodyPr vert="horz" lIns="88620" tIns="44311" rIns="88620" bIns="44311"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022938" y="8918107"/>
            <a:ext cx="3077950" cy="468914"/>
          </a:xfrm>
          <a:prstGeom prst="rect">
            <a:avLst/>
          </a:prstGeom>
        </p:spPr>
        <p:txBody>
          <a:bodyPr vert="horz" lIns="88620" tIns="44311" rIns="88620" bIns="44311"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7739" cy="469424"/>
          </a:xfrm>
          <a:prstGeom prst="rect">
            <a:avLst/>
          </a:prstGeom>
        </p:spPr>
        <p:txBody>
          <a:bodyPr vert="horz" lIns="95994" tIns="47996" rIns="95994" bIns="47996"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023094" y="1"/>
            <a:ext cx="3077739" cy="469424"/>
          </a:xfrm>
          <a:prstGeom prst="rect">
            <a:avLst/>
          </a:prstGeom>
        </p:spPr>
        <p:txBody>
          <a:bodyPr vert="horz" lIns="95994" tIns="47996" rIns="95994" bIns="47996" rtlCol="0"/>
          <a:lstStyle>
            <a:lvl1pPr algn="r">
              <a:defRPr sz="1200">
                <a:latin typeface="Arial" panose="020B0604020202020204" pitchFamily="34" charset="0"/>
              </a:defRPr>
            </a:lvl1pPr>
          </a:lstStyle>
          <a:p>
            <a:fld id="{0BA5BBE4-AEA3-489A-A28E-0C2FAF2506E3}" type="datetimeFigureOut">
              <a:rPr lang="en-US" smtClean="0"/>
              <a:pPr/>
              <a:t>7/15/2021</a:t>
            </a:fld>
            <a:endParaRPr lang="en-US"/>
          </a:p>
        </p:txBody>
      </p:sp>
      <p:sp>
        <p:nvSpPr>
          <p:cNvPr id="4" name="Slide Image Placeholder 3"/>
          <p:cNvSpPr>
            <a:spLocks noGrp="1" noRot="1" noChangeAspect="1"/>
          </p:cNvSpPr>
          <p:nvPr>
            <p:ph type="sldImg" idx="2"/>
          </p:nvPr>
        </p:nvSpPr>
        <p:spPr>
          <a:xfrm>
            <a:off x="422275" y="704850"/>
            <a:ext cx="6257925" cy="3519488"/>
          </a:xfrm>
          <a:prstGeom prst="rect">
            <a:avLst/>
          </a:prstGeom>
          <a:noFill/>
          <a:ln w="12700">
            <a:solidFill>
              <a:prstClr val="black"/>
            </a:solidFill>
          </a:ln>
        </p:spPr>
        <p:txBody>
          <a:bodyPr vert="horz" lIns="95994" tIns="47996" rIns="95994" bIns="47996" rtlCol="0" anchor="ctr"/>
          <a:lstStyle/>
          <a:p>
            <a:endParaRPr lang="en-GB"/>
          </a:p>
        </p:txBody>
      </p:sp>
      <p:sp>
        <p:nvSpPr>
          <p:cNvPr id="5" name="Notes Placeholder 4"/>
          <p:cNvSpPr>
            <a:spLocks noGrp="1"/>
          </p:cNvSpPr>
          <p:nvPr>
            <p:ph type="body" sz="quarter" idx="3"/>
          </p:nvPr>
        </p:nvSpPr>
        <p:spPr>
          <a:xfrm>
            <a:off x="710248" y="4459527"/>
            <a:ext cx="5681980" cy="4224814"/>
          </a:xfrm>
          <a:prstGeom prst="rect">
            <a:avLst/>
          </a:prstGeom>
        </p:spPr>
        <p:txBody>
          <a:bodyPr vert="horz" lIns="95994" tIns="47996" rIns="95994" bIns="4799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3"/>
            <a:ext cx="3077739" cy="469424"/>
          </a:xfrm>
          <a:prstGeom prst="rect">
            <a:avLst/>
          </a:prstGeom>
        </p:spPr>
        <p:txBody>
          <a:bodyPr vert="horz" lIns="95994" tIns="47996" rIns="95994" bIns="47996"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4" y="8917423"/>
            <a:ext cx="3077739" cy="469424"/>
          </a:xfrm>
          <a:prstGeom prst="rect">
            <a:avLst/>
          </a:prstGeom>
        </p:spPr>
        <p:txBody>
          <a:bodyPr vert="horz" lIns="95994" tIns="47996" rIns="95994" bIns="47996"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1</a:t>
            </a:fld>
            <a:endParaRPr lang="en-US">
              <a:solidFill>
                <a:prstClr val="black"/>
              </a:solidFill>
              <a:latin typeface="Calibri" panose="020F0502020204030204"/>
            </a:endParaRPr>
          </a:p>
        </p:txBody>
      </p:sp>
    </p:spTree>
    <p:extLst>
      <p:ext uri="{BB962C8B-B14F-4D97-AF65-F5344CB8AC3E}">
        <p14:creationId xmlns:p14="http://schemas.microsoft.com/office/powerpoint/2010/main" val="1881563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18</a:t>
            </a:fld>
            <a:endParaRPr lang="en-US">
              <a:solidFill>
                <a:prstClr val="black"/>
              </a:solidFill>
              <a:latin typeface="Calibri" panose="020F0502020204030204"/>
            </a:endParaRPr>
          </a:p>
        </p:txBody>
      </p:sp>
    </p:spTree>
    <p:extLst>
      <p:ext uri="{BB962C8B-B14F-4D97-AF65-F5344CB8AC3E}">
        <p14:creationId xmlns:p14="http://schemas.microsoft.com/office/powerpoint/2010/main" val="29379544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47702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883239"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3239"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Notes Placeholder 4"/>
          <p:cNvSpPr>
            <a:spLocks noGrp="1"/>
          </p:cNvSpPr>
          <p:nvPr>
            <p:ph type="body" sz="quarter" idx="11"/>
          </p:nvPr>
        </p:nvSpPr>
        <p:spPr/>
        <p:txBody>
          <a:bodyPr/>
          <a:lstStyle/>
          <a:p>
            <a:endParaRPr lang="en-GB" sz="1900">
              <a:solidFill>
                <a:srgbClr val="A7A8AA"/>
              </a:solidFill>
              <a:latin typeface="Verdana"/>
            </a:endParaRPr>
          </a:p>
        </p:txBody>
      </p:sp>
    </p:spTree>
    <p:extLst>
      <p:ext uri="{BB962C8B-B14F-4D97-AF65-F5344CB8AC3E}">
        <p14:creationId xmlns:p14="http://schemas.microsoft.com/office/powerpoint/2010/main" val="1544625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01141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556" indent="-173556">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defTabSz="925631">
              <a:defRPr/>
            </a:pPr>
            <a:fld id="{4B4CC957-2B00-47B8-93A1-DCA26D37B21E}" type="slidenum">
              <a:rPr lang="en-US" sz="1300">
                <a:solidFill>
                  <a:prstClr val="black"/>
                </a:solidFill>
                <a:latin typeface="Calibri" panose="020F0502020204030204"/>
              </a:rPr>
              <a:pPr defTabSz="925631">
                <a:defRPr/>
              </a:pPr>
              <a:t>30</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7208927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556" indent="-173556">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defTabSz="925631">
              <a:defRPr/>
            </a:pPr>
            <a:fld id="{4B4CC957-2B00-47B8-93A1-DCA26D37B21E}" type="slidenum">
              <a:rPr lang="en-US" sz="1300">
                <a:solidFill>
                  <a:prstClr val="black"/>
                </a:solidFill>
                <a:latin typeface="Calibri" panose="020F0502020204030204"/>
              </a:rPr>
              <a:pPr defTabSz="925631">
                <a:defRPr/>
              </a:pPr>
              <a:t>31</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30212207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32</a:t>
            </a:fld>
            <a:endParaRPr lang="en-US">
              <a:solidFill>
                <a:prstClr val="black"/>
              </a:solidFill>
              <a:latin typeface="Calibri" panose="020F0502020204030204"/>
            </a:endParaRPr>
          </a:p>
        </p:txBody>
      </p:sp>
    </p:spTree>
    <p:extLst>
      <p:ext uri="{BB962C8B-B14F-4D97-AF65-F5344CB8AC3E}">
        <p14:creationId xmlns:p14="http://schemas.microsoft.com/office/powerpoint/2010/main" val="20674570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33</a:t>
            </a:fld>
            <a:endParaRPr lang="en-US">
              <a:solidFill>
                <a:prstClr val="black"/>
              </a:solidFill>
              <a:latin typeface="Calibri" panose="020F0502020204030204"/>
            </a:endParaRPr>
          </a:p>
        </p:txBody>
      </p:sp>
    </p:spTree>
    <p:extLst>
      <p:ext uri="{BB962C8B-B14F-4D97-AF65-F5344CB8AC3E}">
        <p14:creationId xmlns:p14="http://schemas.microsoft.com/office/powerpoint/2010/main" val="17982537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43</a:t>
            </a:fld>
            <a:endParaRPr lang="en-US">
              <a:solidFill>
                <a:prstClr val="black"/>
              </a:solidFill>
              <a:latin typeface="Calibri" panose="020F0502020204030204"/>
            </a:endParaRPr>
          </a:p>
        </p:txBody>
      </p:sp>
    </p:spTree>
    <p:extLst>
      <p:ext uri="{BB962C8B-B14F-4D97-AF65-F5344CB8AC3E}">
        <p14:creationId xmlns:p14="http://schemas.microsoft.com/office/powerpoint/2010/main" val="799669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45</a:t>
            </a:fld>
            <a:endParaRPr lang="en-US">
              <a:solidFill>
                <a:prstClr val="black"/>
              </a:solidFill>
              <a:latin typeface="Calibri" panose="020F0502020204030204"/>
            </a:endParaRPr>
          </a:p>
        </p:txBody>
      </p:sp>
    </p:spTree>
    <p:extLst>
      <p:ext uri="{BB962C8B-B14F-4D97-AF65-F5344CB8AC3E}">
        <p14:creationId xmlns:p14="http://schemas.microsoft.com/office/powerpoint/2010/main" val="2878764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a:t>
            </a:fld>
            <a:endParaRPr lang="en-US"/>
          </a:p>
        </p:txBody>
      </p:sp>
    </p:spTree>
    <p:extLst>
      <p:ext uri="{BB962C8B-B14F-4D97-AF65-F5344CB8AC3E}">
        <p14:creationId xmlns:p14="http://schemas.microsoft.com/office/powerpoint/2010/main" val="19287359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7190193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476295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4755120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49</a:t>
            </a:fld>
            <a:endParaRPr lang="en-US">
              <a:solidFill>
                <a:prstClr val="black"/>
              </a:solidFill>
              <a:latin typeface="Calibri" panose="020F0502020204030204"/>
            </a:endParaRPr>
          </a:p>
        </p:txBody>
      </p:sp>
    </p:spTree>
    <p:extLst>
      <p:ext uri="{BB962C8B-B14F-4D97-AF65-F5344CB8AC3E}">
        <p14:creationId xmlns:p14="http://schemas.microsoft.com/office/powerpoint/2010/main" val="11382498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52</a:t>
            </a:fld>
            <a:endParaRPr lang="en-US">
              <a:solidFill>
                <a:prstClr val="black"/>
              </a:solidFill>
              <a:latin typeface="Calibri" panose="020F0502020204030204"/>
            </a:endParaRPr>
          </a:p>
        </p:txBody>
      </p:sp>
    </p:spTree>
    <p:extLst>
      <p:ext uri="{BB962C8B-B14F-4D97-AF65-F5344CB8AC3E}">
        <p14:creationId xmlns:p14="http://schemas.microsoft.com/office/powerpoint/2010/main" val="5403900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86</a:t>
            </a:fld>
            <a:endParaRPr lang="en-US">
              <a:solidFill>
                <a:prstClr val="black"/>
              </a:solidFill>
              <a:latin typeface="Calibri" panose="020F0502020204030204"/>
            </a:endParaRPr>
          </a:p>
        </p:txBody>
      </p:sp>
    </p:spTree>
    <p:extLst>
      <p:ext uri="{BB962C8B-B14F-4D97-AF65-F5344CB8AC3E}">
        <p14:creationId xmlns:p14="http://schemas.microsoft.com/office/powerpoint/2010/main" val="21754256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a:t>
            </a:fld>
            <a:endParaRPr lang="en-US"/>
          </a:p>
        </p:txBody>
      </p:sp>
    </p:spTree>
    <p:extLst>
      <p:ext uri="{BB962C8B-B14F-4D97-AF65-F5344CB8AC3E}">
        <p14:creationId xmlns:p14="http://schemas.microsoft.com/office/powerpoint/2010/main" val="13945146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a:t>
            </a:fld>
            <a:endParaRPr lang="en-US"/>
          </a:p>
        </p:txBody>
      </p:sp>
    </p:spTree>
    <p:extLst>
      <p:ext uri="{BB962C8B-B14F-4D97-AF65-F5344CB8AC3E}">
        <p14:creationId xmlns:p14="http://schemas.microsoft.com/office/powerpoint/2010/main" val="3294483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12350986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1220640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850" y="698500"/>
            <a:ext cx="6210300" cy="3494088"/>
          </a:xfrm>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2409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48132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5916157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728663"/>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26836">
              <a:defRPr/>
            </a:pPr>
            <a:fld id="{C0F4A2C8-6C88-4E71-83EE-698B9D4FE22F}" type="slidenum">
              <a:rPr lang="en-US">
                <a:solidFill>
                  <a:prstClr val="black"/>
                </a:solidFill>
                <a:latin typeface="Calibri" panose="020F0502020204030204"/>
              </a:rPr>
              <a:pPr defTabSz="926836">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1109745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95" indent="0" algn="ctr">
              <a:buNone/>
              <a:defRPr sz="2000"/>
            </a:lvl2pPr>
            <a:lvl3pPr marL="914388" indent="0" algn="ctr">
              <a:buNone/>
              <a:defRPr sz="1801"/>
            </a:lvl3pPr>
            <a:lvl4pPr marL="1371583" indent="0" algn="ctr">
              <a:buNone/>
              <a:defRPr sz="1600"/>
            </a:lvl4pPr>
            <a:lvl5pPr marL="1828777" indent="0" algn="ctr">
              <a:buNone/>
              <a:defRPr sz="1600"/>
            </a:lvl5pPr>
            <a:lvl6pPr marL="2285972" indent="0" algn="ctr">
              <a:buNone/>
              <a:defRPr sz="1600"/>
            </a:lvl6pPr>
            <a:lvl7pPr marL="2743165" indent="0" algn="ctr">
              <a:buNone/>
              <a:defRPr sz="1600"/>
            </a:lvl7pPr>
            <a:lvl8pPr marL="3200360" indent="0" algn="ctr">
              <a:buNone/>
              <a:defRPr sz="1600"/>
            </a:lvl8pPr>
            <a:lvl9pPr marL="3657555"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1617350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32514780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89BAD17-4570-4E97-9CC3-F408CC2422CB}" type="datetimeFigureOut">
              <a:rPr lang="en-GB" smtClean="0"/>
              <a:t>15/07/2021</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466F899B-E8DF-47AE-A7F5-EE9AF86B3F66}" type="slidenum">
              <a:rPr lang="en-GB" smtClean="0"/>
              <a:t>‹#›</a:t>
            </a:fld>
            <a:endParaRPr lang="en-GB"/>
          </a:p>
        </p:txBody>
      </p:sp>
    </p:spTree>
    <p:extLst>
      <p:ext uri="{BB962C8B-B14F-4D97-AF65-F5344CB8AC3E}">
        <p14:creationId xmlns:p14="http://schemas.microsoft.com/office/powerpoint/2010/main" val="367709534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89BAD17-4570-4E97-9CC3-F408CC2422CB}" type="datetimeFigureOut">
              <a:rPr lang="en-GB" smtClean="0"/>
              <a:t>15/07/2021</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466F899B-E8DF-47AE-A7F5-EE9AF86B3F66}" type="slidenum">
              <a:rPr lang="en-GB" smtClean="0"/>
              <a:t>‹#›</a:t>
            </a:fld>
            <a:endParaRPr lang="en-GB"/>
          </a:p>
        </p:txBody>
      </p:sp>
    </p:spTree>
    <p:extLst>
      <p:ext uri="{BB962C8B-B14F-4D97-AF65-F5344CB8AC3E}">
        <p14:creationId xmlns:p14="http://schemas.microsoft.com/office/powerpoint/2010/main" val="170102251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89BAD17-4570-4E97-9CC3-F408CC2422CB}" type="datetimeFigureOut">
              <a:rPr lang="en-GB" smtClean="0"/>
              <a:t>15/07/2021</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466F899B-E8DF-47AE-A7F5-EE9AF86B3F66}" type="slidenum">
              <a:rPr lang="en-GB" smtClean="0"/>
              <a:t>‹#›</a:t>
            </a:fld>
            <a:endParaRPr lang="en-GB"/>
          </a:p>
        </p:txBody>
      </p:sp>
    </p:spTree>
    <p:extLst>
      <p:ext uri="{BB962C8B-B14F-4D97-AF65-F5344CB8AC3E}">
        <p14:creationId xmlns:p14="http://schemas.microsoft.com/office/powerpoint/2010/main" val="139341390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89BAD17-4570-4E97-9CC3-F408CC2422CB}" type="datetimeFigureOut">
              <a:rPr lang="en-GB" smtClean="0"/>
              <a:t>15/07/2021</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466F899B-E8DF-47AE-A7F5-EE9AF86B3F66}" type="slidenum">
              <a:rPr lang="en-GB" smtClean="0"/>
              <a:t>‹#›</a:t>
            </a:fld>
            <a:endParaRPr lang="en-GB"/>
          </a:p>
        </p:txBody>
      </p:sp>
    </p:spTree>
    <p:extLst>
      <p:ext uri="{BB962C8B-B14F-4D97-AF65-F5344CB8AC3E}">
        <p14:creationId xmlns:p14="http://schemas.microsoft.com/office/powerpoint/2010/main" val="35424510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D89BAD17-4570-4E97-9CC3-F408CC2422CB}" type="datetimeFigureOut">
              <a:rPr lang="en-GB" smtClean="0"/>
              <a:t>15/07/2021</a:t>
            </a:fld>
            <a:endParaRPr lang="en-GB"/>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466F899B-E8DF-47AE-A7F5-EE9AF86B3F66}" type="slidenum">
              <a:rPr lang="en-GB" smtClean="0"/>
              <a:t>‹#›</a:t>
            </a:fld>
            <a:endParaRPr lang="en-GB"/>
          </a:p>
        </p:txBody>
      </p:sp>
    </p:spTree>
    <p:extLst>
      <p:ext uri="{BB962C8B-B14F-4D97-AF65-F5344CB8AC3E}">
        <p14:creationId xmlns:p14="http://schemas.microsoft.com/office/powerpoint/2010/main" val="306488775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D89BAD17-4570-4E97-9CC3-F408CC2422CB}" type="datetimeFigureOut">
              <a:rPr lang="en-GB" smtClean="0"/>
              <a:t>15/07/2021</a:t>
            </a:fld>
            <a:endParaRPr lang="en-GB"/>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466F899B-E8DF-47AE-A7F5-EE9AF86B3F66}" type="slidenum">
              <a:rPr lang="en-GB" smtClean="0"/>
              <a:t>‹#›</a:t>
            </a:fld>
            <a:endParaRPr lang="en-GB"/>
          </a:p>
        </p:txBody>
      </p:sp>
    </p:spTree>
    <p:extLst>
      <p:ext uri="{BB962C8B-B14F-4D97-AF65-F5344CB8AC3E}">
        <p14:creationId xmlns:p14="http://schemas.microsoft.com/office/powerpoint/2010/main" val="399545551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9BAD17-4570-4E97-9CC3-F408CC2422CB}" type="datetimeFigureOut">
              <a:rPr lang="en-GB" smtClean="0"/>
              <a:t>15/07/2021</a:t>
            </a:fld>
            <a:endParaRPr lang="en-GB"/>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GB"/>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466F899B-E8DF-47AE-A7F5-EE9AF86B3F66}" type="slidenum">
              <a:rPr lang="en-GB" smtClean="0"/>
              <a:t>‹#›</a:t>
            </a:fld>
            <a:endParaRPr lang="en-GB"/>
          </a:p>
        </p:txBody>
      </p:sp>
    </p:spTree>
    <p:extLst>
      <p:ext uri="{BB962C8B-B14F-4D97-AF65-F5344CB8AC3E}">
        <p14:creationId xmlns:p14="http://schemas.microsoft.com/office/powerpoint/2010/main" val="13418005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89BAD17-4570-4E97-9CC3-F408CC2422CB}" type="datetimeFigureOut">
              <a:rPr lang="en-GB" smtClean="0"/>
              <a:t>15/07/2021</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466F899B-E8DF-47AE-A7F5-EE9AF86B3F66}" type="slidenum">
              <a:rPr lang="en-GB" smtClean="0"/>
              <a:t>‹#›</a:t>
            </a:fld>
            <a:endParaRPr lang="en-GB"/>
          </a:p>
        </p:txBody>
      </p:sp>
    </p:spTree>
    <p:extLst>
      <p:ext uri="{BB962C8B-B14F-4D97-AF65-F5344CB8AC3E}">
        <p14:creationId xmlns:p14="http://schemas.microsoft.com/office/powerpoint/2010/main" val="179308142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Picture Placeholder 2"/>
          <p:cNvSpPr>
            <a:spLocks noGrp="1"/>
          </p:cNvSpPr>
          <p:nvPr>
            <p:ph type="pic" sz="quarter" idx="14" hasCustomPrompt="1"/>
          </p:nvPr>
        </p:nvSpPr>
        <p:spPr>
          <a:xfrm>
            <a:off x="9999663" y="287618"/>
            <a:ext cx="1712569" cy="1678641"/>
          </a:xfrm>
        </p:spPr>
        <p:txBody>
          <a:bodyPr anchor="ctr" anchorCtr="0"/>
          <a:lstStyle>
            <a:lvl1pPr algn="ctr">
              <a:defRPr sz="900">
                <a:solidFill>
                  <a:schemeClr val="bg1"/>
                </a:solidFill>
              </a:defRPr>
            </a:lvl1pPr>
          </a:lstStyle>
          <a:p>
            <a:r>
              <a:rPr lang="en-US" sz="900" noProof="0"/>
              <a:t>Insert client logo here</a:t>
            </a:r>
            <a:endParaRPr lang="en-US" noProof="0"/>
          </a:p>
        </p:txBody>
      </p:sp>
    </p:spTree>
    <p:extLst>
      <p:ext uri="{BB962C8B-B14F-4D97-AF65-F5344CB8AC3E}">
        <p14:creationId xmlns:p14="http://schemas.microsoft.com/office/powerpoint/2010/main" val="3464366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61" name="think-cell Slide" r:id="rId4" imgW="524" imgH="526" progId="TCLayout.ActiveDocument.1">
                  <p:embed/>
                </p:oleObj>
              </mc:Choice>
              <mc:Fallback>
                <p:oleObj name="think-cell Slide" r:id="rId4" imgW="524" imgH="5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52767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96637168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89BAD17-4570-4E97-9CC3-F408CC2422CB}" type="datetimeFigureOut">
              <a:rPr lang="en-GB" smtClean="0"/>
              <a:t>15/07/2021</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466F899B-E8DF-47AE-A7F5-EE9AF86B3F66}" type="slidenum">
              <a:rPr lang="en-GB" smtClean="0"/>
              <a:t>‹#›</a:t>
            </a:fld>
            <a:endParaRPr lang="en-GB"/>
          </a:p>
        </p:txBody>
      </p:sp>
    </p:spTree>
    <p:extLst>
      <p:ext uri="{BB962C8B-B14F-4D97-AF65-F5344CB8AC3E}">
        <p14:creationId xmlns:p14="http://schemas.microsoft.com/office/powerpoint/2010/main" val="26815996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3" y="736690"/>
            <a:ext cx="112522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3" y="402587"/>
            <a:ext cx="11252201"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2640799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041FB17-1715-41EB-9C96-125286CD3609}"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37364624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041FB17-1715-41EB-9C96-125286CD3609}"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26596765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041FB17-1715-41EB-9C96-125286CD3609}"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121234871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041FB17-1715-41EB-9C96-125286CD3609}"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72771327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041FB17-1715-41EB-9C96-125286CD3609}" type="datetimeFigureOut">
              <a:rPr lang="en-US" smtClean="0"/>
              <a:t>7/1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343969124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041FB17-1715-41EB-9C96-125286CD3609}" type="datetimeFigureOut">
              <a:rPr lang="en-US" smtClean="0"/>
              <a:t>7/1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211595018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041FB17-1715-41EB-9C96-125286CD3609}" type="datetimeFigureOut">
              <a:rPr lang="en-US" smtClean="0"/>
              <a:t>7/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361425563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041FB17-1715-41EB-9C96-125286CD3609}"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23032086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bg1"/>
        </a:solid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75201" y="208724"/>
            <a:ext cx="1806181" cy="299276"/>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grpSp>
    </p:spTree>
    <p:extLst>
      <p:ext uri="{BB962C8B-B14F-4D97-AF65-F5344CB8AC3E}">
        <p14:creationId xmlns:p14="http://schemas.microsoft.com/office/powerpoint/2010/main" val="1243904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041FB17-1715-41EB-9C96-125286CD3609}"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15933965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041FB17-1715-41EB-9C96-125286CD3609}"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37561948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041FB17-1715-41EB-9C96-125286CD3609}"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39759318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9037152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84964515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71285103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9199427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719819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267004408"/>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33096525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217183403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7398700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2933337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4195606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6260151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249819019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77654532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7228478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7880699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335283391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21111420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4D3B5EB-C646-4499-A86B-FBD0E2C0FEA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340861" y="172528"/>
            <a:ext cx="598099" cy="448574"/>
          </a:xfrm>
          <a:prstGeom prst="ellipse">
            <a:avLst/>
          </a:prstGeom>
          <a:ln>
            <a:noFill/>
          </a:ln>
          <a:effectLst>
            <a:softEdge rad="0"/>
          </a:effectLst>
        </p:spPr>
      </p:pic>
    </p:spTree>
    <p:extLst>
      <p:ext uri="{BB962C8B-B14F-4D97-AF65-F5344CB8AC3E}">
        <p14:creationId xmlns:p14="http://schemas.microsoft.com/office/powerpoint/2010/main" val="3024714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227606954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279524780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126942845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404569937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47494249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54658587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07402780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48159979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5318195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21671776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0220"/>
            <a:ext cx="10418233" cy="1592403"/>
          </a:xfrm>
        </p:spPr>
        <p:txBody>
          <a:bodyPr anchor="b"/>
          <a:lstStyle>
            <a:lvl1pPr>
              <a:lnSpc>
                <a:spcPct val="95000"/>
              </a:lnSpc>
              <a:defRPr sz="2889"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3" y="3423545"/>
            <a:ext cx="10418235" cy="1566532"/>
          </a:xfrm>
        </p:spPr>
        <p:txBody>
          <a:bodyPr lIns="0" tIns="0" rIns="0" bIns="0">
            <a:noAutofit/>
          </a:bodyPr>
          <a:lstStyle>
            <a:lvl1pPr marL="0" indent="0">
              <a:lnSpc>
                <a:spcPct val="95000"/>
              </a:lnSpc>
              <a:spcAft>
                <a:spcPts val="0"/>
              </a:spcAft>
              <a:buNone/>
              <a:defRPr sz="2889">
                <a:solidFill>
                  <a:schemeClr val="bg1"/>
                </a:solidFill>
              </a:defRPr>
            </a:lvl1pPr>
            <a:lvl2pPr marL="457184" indent="0">
              <a:buNone/>
              <a:defRPr sz="2000">
                <a:solidFill>
                  <a:schemeClr val="tx1">
                    <a:tint val="75000"/>
                  </a:schemeClr>
                </a:solidFill>
              </a:defRPr>
            </a:lvl2pPr>
            <a:lvl3pPr marL="914367" indent="0">
              <a:buNone/>
              <a:defRPr sz="1801">
                <a:solidFill>
                  <a:schemeClr val="tx1">
                    <a:tint val="75000"/>
                  </a:schemeClr>
                </a:solidFill>
              </a:defRPr>
            </a:lvl3pPr>
            <a:lvl4pPr marL="1371550" indent="0">
              <a:buNone/>
              <a:defRPr sz="1600">
                <a:solidFill>
                  <a:schemeClr val="tx1">
                    <a:tint val="75000"/>
                  </a:schemeClr>
                </a:solidFill>
              </a:defRPr>
            </a:lvl4pPr>
            <a:lvl5pPr marL="1828732" indent="0">
              <a:buNone/>
              <a:defRPr sz="1600">
                <a:solidFill>
                  <a:schemeClr val="tx1">
                    <a:tint val="75000"/>
                  </a:schemeClr>
                </a:solidFill>
              </a:defRPr>
            </a:lvl5pPr>
            <a:lvl6pPr marL="2285915" indent="0">
              <a:buNone/>
              <a:defRPr sz="1600">
                <a:solidFill>
                  <a:schemeClr val="tx1">
                    <a:tint val="75000"/>
                  </a:schemeClr>
                </a:solidFill>
              </a:defRPr>
            </a:lvl6pPr>
            <a:lvl7pPr marL="2743097" indent="0">
              <a:buNone/>
              <a:defRPr sz="1600">
                <a:solidFill>
                  <a:schemeClr val="tx1">
                    <a:tint val="75000"/>
                  </a:schemeClr>
                </a:solidFill>
              </a:defRPr>
            </a:lvl7pPr>
            <a:lvl8pPr marL="3200280" indent="0">
              <a:buNone/>
              <a:defRPr sz="1600">
                <a:solidFill>
                  <a:schemeClr val="tx1">
                    <a:tint val="75000"/>
                  </a:schemeClr>
                </a:solidFill>
              </a:defRPr>
            </a:lvl8pPr>
            <a:lvl9pPr marL="3657464" indent="0">
              <a:buNone/>
              <a:defRPr sz="1600">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1" y="6477006"/>
            <a:ext cx="4896560" cy="75277"/>
          </a:xfrm>
          <a:prstGeom prst="rect">
            <a:avLst/>
          </a:prstGeom>
          <a:noFill/>
        </p:spPr>
        <p:txBody>
          <a:bodyPr wrap="square" lIns="0" tIns="0" rIns="0" bIns="0" rtlCol="0">
            <a:spAutoFit/>
          </a:bodyPr>
          <a:lstStyle/>
          <a:p>
            <a:pPr marL="0" indent="0" algn="r">
              <a:spcBef>
                <a:spcPts val="0"/>
              </a:spcBef>
              <a:buSzPct val="100000"/>
              <a:buFont typeface="Arial"/>
              <a:buNone/>
            </a:pPr>
            <a:r>
              <a:rPr lang="en-US" sz="489" noProof="0">
                <a:solidFill>
                  <a:schemeClr val="bg1"/>
                </a:solidFill>
              </a:rPr>
              <a:t>Argus PI Planning]</a:t>
            </a:r>
          </a:p>
        </p:txBody>
      </p:sp>
      <p:sp>
        <p:nvSpPr>
          <p:cNvPr id="13" name="Copyright"/>
          <p:cNvSpPr txBox="1"/>
          <p:nvPr userDrawn="1"/>
        </p:nvSpPr>
        <p:spPr>
          <a:xfrm>
            <a:off x="469907" y="6477007"/>
            <a:ext cx="5355166" cy="75277"/>
          </a:xfrm>
          <a:prstGeom prst="rect">
            <a:avLst/>
          </a:prstGeom>
          <a:noFill/>
        </p:spPr>
        <p:txBody>
          <a:bodyPr wrap="square" lIns="0" tIns="0" rIns="0" bIns="0" rtlCol="0">
            <a:spAutoFit/>
          </a:bodyPr>
          <a:lstStyle/>
          <a:p>
            <a:pPr marL="0" indent="0">
              <a:spcBef>
                <a:spcPts val="601"/>
              </a:spcBef>
              <a:buSzPct val="100000"/>
              <a:buFont typeface="Arial"/>
              <a:buNone/>
            </a:pPr>
            <a:r>
              <a:rPr lang="en-US" sz="489" noProof="0">
                <a:solidFill>
                  <a:schemeClr val="bg1"/>
                </a:solidFill>
              </a:rPr>
              <a:t>Copyright © 2020 Deloitte Development LLC. All rights reserved.</a:t>
            </a:r>
          </a:p>
        </p:txBody>
      </p:sp>
      <p:sp>
        <p:nvSpPr>
          <p:cNvPr id="14" name="TextBox 13"/>
          <p:cNvSpPr txBox="1"/>
          <p:nvPr userDrawn="1"/>
        </p:nvSpPr>
        <p:spPr>
          <a:xfrm>
            <a:off x="11414130" y="6477007"/>
            <a:ext cx="307975" cy="75277"/>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US" sz="489" noProof="0" smtClean="0">
                <a:solidFill>
                  <a:schemeClr val="bg1"/>
                </a:solidFill>
              </a:rPr>
              <a:pPr marL="0" indent="0" algn="r">
                <a:spcBef>
                  <a:spcPts val="601"/>
                </a:spcBef>
                <a:buSzPct val="100000"/>
                <a:buFont typeface="Arial"/>
                <a:buNone/>
              </a:pPr>
              <a:t>‹#›</a:t>
            </a:fld>
            <a:endParaRPr lang="en-US" sz="489" noProof="0">
              <a:solidFill>
                <a:schemeClr val="bg1"/>
              </a:solidFill>
            </a:endParaRPr>
          </a:p>
        </p:txBody>
      </p:sp>
    </p:spTree>
    <p:extLst>
      <p:ext uri="{BB962C8B-B14F-4D97-AF65-F5344CB8AC3E}">
        <p14:creationId xmlns:p14="http://schemas.microsoft.com/office/powerpoint/2010/main" val="246536536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5367558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8725796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18441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822429291"/>
      </p:ext>
    </p:extLst>
  </p:cSld>
  <p:clrMapOvr>
    <a:masterClrMapping/>
  </p:clrMapOvr>
  <p:transition>
    <p:fade/>
  </p:transition>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12808F4-F6DF-4B5C-B188-2A8B1107F2C3}"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C2E5C5-2C2B-40D8-B7D5-435F46422495}" type="slidenum">
              <a:rPr lang="en-US" smtClean="0"/>
              <a:t>‹#›</a:t>
            </a:fld>
            <a:endParaRPr lang="en-US"/>
          </a:p>
        </p:txBody>
      </p:sp>
    </p:spTree>
    <p:extLst>
      <p:ext uri="{BB962C8B-B14F-4D97-AF65-F5344CB8AC3E}">
        <p14:creationId xmlns:p14="http://schemas.microsoft.com/office/powerpoint/2010/main" val="121393731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42893-12A6-4345-8935-15B4B4BFBA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49B3888-EEF8-465C-87A0-3B7834BD4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A870BE1-71DC-4360-B8DD-B5D4E0293D3C}"/>
              </a:ext>
            </a:extLst>
          </p:cNvPr>
          <p:cNvSpPr>
            <a:spLocks noGrp="1"/>
          </p:cNvSpPr>
          <p:nvPr>
            <p:ph type="dt" sz="half" idx="10"/>
          </p:nvPr>
        </p:nvSpPr>
        <p:spPr/>
        <p:txBody>
          <a:bodyPr/>
          <a:lstStyle/>
          <a:p>
            <a:fld id="{50B6FDB2-05A4-456F-9B34-7850E34BBD46}" type="datetimeFigureOut">
              <a:rPr lang="en-US" smtClean="0"/>
              <a:t>7/15/2021</a:t>
            </a:fld>
            <a:endParaRPr lang="en-US"/>
          </a:p>
        </p:txBody>
      </p:sp>
      <p:sp>
        <p:nvSpPr>
          <p:cNvPr id="5" name="Footer Placeholder 4">
            <a:extLst>
              <a:ext uri="{FF2B5EF4-FFF2-40B4-BE49-F238E27FC236}">
                <a16:creationId xmlns:a16="http://schemas.microsoft.com/office/drawing/2014/main" id="{F697F83D-4F88-4763-893C-668C060817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CA88E5-EE3C-4B48-8F41-C39E247F5F36}"/>
              </a:ext>
            </a:extLst>
          </p:cNvPr>
          <p:cNvSpPr>
            <a:spLocks noGrp="1"/>
          </p:cNvSpPr>
          <p:nvPr>
            <p:ph type="sldNum" sz="quarter" idx="12"/>
          </p:nvPr>
        </p:nvSpPr>
        <p:spPr/>
        <p:txBody>
          <a:bodyPr/>
          <a:lstStyle/>
          <a:p>
            <a:fld id="{85AE4363-2AB4-4A6A-9A55-E5D8ABFBEF9D}" type="slidenum">
              <a:rPr lang="en-US" smtClean="0"/>
              <a:t>‹#›</a:t>
            </a:fld>
            <a:endParaRPr lang="en-US"/>
          </a:p>
        </p:txBody>
      </p:sp>
    </p:spTree>
    <p:extLst>
      <p:ext uri="{BB962C8B-B14F-4D97-AF65-F5344CB8AC3E}">
        <p14:creationId xmlns:p14="http://schemas.microsoft.com/office/powerpoint/2010/main" val="117542434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B62E2-DD06-4EE2-BF11-69769FC565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4EF3CD-274F-433B-AE29-C15D03501E6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E1A5EE-D078-4D46-B913-93FF049A54B3}"/>
              </a:ext>
            </a:extLst>
          </p:cNvPr>
          <p:cNvSpPr>
            <a:spLocks noGrp="1"/>
          </p:cNvSpPr>
          <p:nvPr>
            <p:ph type="dt" sz="half" idx="10"/>
          </p:nvPr>
        </p:nvSpPr>
        <p:spPr/>
        <p:txBody>
          <a:bodyPr/>
          <a:lstStyle/>
          <a:p>
            <a:fld id="{50B6FDB2-05A4-456F-9B34-7850E34BBD46}" type="datetimeFigureOut">
              <a:rPr lang="en-US" smtClean="0"/>
              <a:t>7/15/2021</a:t>
            </a:fld>
            <a:endParaRPr lang="en-US"/>
          </a:p>
        </p:txBody>
      </p:sp>
      <p:sp>
        <p:nvSpPr>
          <p:cNvPr id="5" name="Footer Placeholder 4">
            <a:extLst>
              <a:ext uri="{FF2B5EF4-FFF2-40B4-BE49-F238E27FC236}">
                <a16:creationId xmlns:a16="http://schemas.microsoft.com/office/drawing/2014/main" id="{080A3DE4-F34F-4C04-A888-77DAA7059C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4FF96A-901C-404B-B299-FB797D17B705}"/>
              </a:ext>
            </a:extLst>
          </p:cNvPr>
          <p:cNvSpPr>
            <a:spLocks noGrp="1"/>
          </p:cNvSpPr>
          <p:nvPr>
            <p:ph type="sldNum" sz="quarter" idx="12"/>
          </p:nvPr>
        </p:nvSpPr>
        <p:spPr/>
        <p:txBody>
          <a:bodyPr/>
          <a:lstStyle/>
          <a:p>
            <a:fld id="{85AE4363-2AB4-4A6A-9A55-E5D8ABFBEF9D}" type="slidenum">
              <a:rPr lang="en-US" smtClean="0"/>
              <a:t>‹#›</a:t>
            </a:fld>
            <a:endParaRPr lang="en-US"/>
          </a:p>
        </p:txBody>
      </p:sp>
    </p:spTree>
    <p:extLst>
      <p:ext uri="{BB962C8B-B14F-4D97-AF65-F5344CB8AC3E}">
        <p14:creationId xmlns:p14="http://schemas.microsoft.com/office/powerpoint/2010/main" val="374664910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80BDF-132E-4B89-8158-786E66F3521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8F49E3A-CFB8-481D-9EA4-902EA75A33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E1133F-11F4-472D-AE69-1280A9E3193C}"/>
              </a:ext>
            </a:extLst>
          </p:cNvPr>
          <p:cNvSpPr>
            <a:spLocks noGrp="1"/>
          </p:cNvSpPr>
          <p:nvPr>
            <p:ph type="dt" sz="half" idx="10"/>
          </p:nvPr>
        </p:nvSpPr>
        <p:spPr/>
        <p:txBody>
          <a:bodyPr/>
          <a:lstStyle/>
          <a:p>
            <a:fld id="{50B6FDB2-05A4-456F-9B34-7850E34BBD46}" type="datetimeFigureOut">
              <a:rPr lang="en-US" smtClean="0"/>
              <a:t>7/15/2021</a:t>
            </a:fld>
            <a:endParaRPr lang="en-US"/>
          </a:p>
        </p:txBody>
      </p:sp>
      <p:sp>
        <p:nvSpPr>
          <p:cNvPr id="5" name="Footer Placeholder 4">
            <a:extLst>
              <a:ext uri="{FF2B5EF4-FFF2-40B4-BE49-F238E27FC236}">
                <a16:creationId xmlns:a16="http://schemas.microsoft.com/office/drawing/2014/main" id="{655ED448-A2C6-42BC-8A6A-39D89F22C8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9342B1-867A-432D-99FA-2F41D3104FC8}"/>
              </a:ext>
            </a:extLst>
          </p:cNvPr>
          <p:cNvSpPr>
            <a:spLocks noGrp="1"/>
          </p:cNvSpPr>
          <p:nvPr>
            <p:ph type="sldNum" sz="quarter" idx="12"/>
          </p:nvPr>
        </p:nvSpPr>
        <p:spPr/>
        <p:txBody>
          <a:bodyPr/>
          <a:lstStyle/>
          <a:p>
            <a:fld id="{85AE4363-2AB4-4A6A-9A55-E5D8ABFBEF9D}" type="slidenum">
              <a:rPr lang="en-US" smtClean="0"/>
              <a:t>‹#›</a:t>
            </a:fld>
            <a:endParaRPr lang="en-US"/>
          </a:p>
        </p:txBody>
      </p:sp>
    </p:spTree>
    <p:extLst>
      <p:ext uri="{BB962C8B-B14F-4D97-AF65-F5344CB8AC3E}">
        <p14:creationId xmlns:p14="http://schemas.microsoft.com/office/powerpoint/2010/main" val="4660930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AF99FE-E1DC-4AB2-BA2D-7205A58507C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175EC2-40E5-4892-8464-42D06607437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F5B16DA-53CF-4255-AAA9-15E086F1FA4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65D4430-C72E-4846-83EE-82C826737AE8}"/>
              </a:ext>
            </a:extLst>
          </p:cNvPr>
          <p:cNvSpPr>
            <a:spLocks noGrp="1"/>
          </p:cNvSpPr>
          <p:nvPr>
            <p:ph type="dt" sz="half" idx="10"/>
          </p:nvPr>
        </p:nvSpPr>
        <p:spPr/>
        <p:txBody>
          <a:bodyPr/>
          <a:lstStyle/>
          <a:p>
            <a:fld id="{50B6FDB2-05A4-456F-9B34-7850E34BBD46}" type="datetimeFigureOut">
              <a:rPr lang="en-US" smtClean="0"/>
              <a:t>7/15/2021</a:t>
            </a:fld>
            <a:endParaRPr lang="en-US"/>
          </a:p>
        </p:txBody>
      </p:sp>
      <p:sp>
        <p:nvSpPr>
          <p:cNvPr id="6" name="Footer Placeholder 5">
            <a:extLst>
              <a:ext uri="{FF2B5EF4-FFF2-40B4-BE49-F238E27FC236}">
                <a16:creationId xmlns:a16="http://schemas.microsoft.com/office/drawing/2014/main" id="{45E6E076-9DDF-4E70-8C83-DCEE60164A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B130FE-A139-49A4-AAA1-C5C3B036225A}"/>
              </a:ext>
            </a:extLst>
          </p:cNvPr>
          <p:cNvSpPr>
            <a:spLocks noGrp="1"/>
          </p:cNvSpPr>
          <p:nvPr>
            <p:ph type="sldNum" sz="quarter" idx="12"/>
          </p:nvPr>
        </p:nvSpPr>
        <p:spPr/>
        <p:txBody>
          <a:bodyPr/>
          <a:lstStyle/>
          <a:p>
            <a:fld id="{85AE4363-2AB4-4A6A-9A55-E5D8ABFBEF9D}" type="slidenum">
              <a:rPr lang="en-US" smtClean="0"/>
              <a:t>‹#›</a:t>
            </a:fld>
            <a:endParaRPr lang="en-US"/>
          </a:p>
        </p:txBody>
      </p:sp>
    </p:spTree>
    <p:extLst>
      <p:ext uri="{BB962C8B-B14F-4D97-AF65-F5344CB8AC3E}">
        <p14:creationId xmlns:p14="http://schemas.microsoft.com/office/powerpoint/2010/main" val="101571072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2320B-4235-4070-8C33-38035E1A8C0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EE01A47-F65F-4787-A875-74B6CC99FC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5E62A4-5FC5-4351-A4C2-F900A583DF0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FAC33D3-C7F0-4146-A5D1-46E23FA5AE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408BA8C-3C64-4B76-85F5-B5A7C25B60D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4BD5D72-75B1-46D0-AA99-2AE96648756A}"/>
              </a:ext>
            </a:extLst>
          </p:cNvPr>
          <p:cNvSpPr>
            <a:spLocks noGrp="1"/>
          </p:cNvSpPr>
          <p:nvPr>
            <p:ph type="dt" sz="half" idx="10"/>
          </p:nvPr>
        </p:nvSpPr>
        <p:spPr/>
        <p:txBody>
          <a:bodyPr/>
          <a:lstStyle/>
          <a:p>
            <a:fld id="{50B6FDB2-05A4-456F-9B34-7850E34BBD46}" type="datetimeFigureOut">
              <a:rPr lang="en-US" smtClean="0"/>
              <a:t>7/15/2021</a:t>
            </a:fld>
            <a:endParaRPr lang="en-US"/>
          </a:p>
        </p:txBody>
      </p:sp>
      <p:sp>
        <p:nvSpPr>
          <p:cNvPr id="8" name="Footer Placeholder 7">
            <a:extLst>
              <a:ext uri="{FF2B5EF4-FFF2-40B4-BE49-F238E27FC236}">
                <a16:creationId xmlns:a16="http://schemas.microsoft.com/office/drawing/2014/main" id="{1FC253C5-63D6-4B68-8490-81D8B130779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38CEB2F-AC29-4AF6-BEED-AF48504068B7}"/>
              </a:ext>
            </a:extLst>
          </p:cNvPr>
          <p:cNvSpPr>
            <a:spLocks noGrp="1"/>
          </p:cNvSpPr>
          <p:nvPr>
            <p:ph type="sldNum" sz="quarter" idx="12"/>
          </p:nvPr>
        </p:nvSpPr>
        <p:spPr/>
        <p:txBody>
          <a:bodyPr/>
          <a:lstStyle/>
          <a:p>
            <a:fld id="{85AE4363-2AB4-4A6A-9A55-E5D8ABFBEF9D}" type="slidenum">
              <a:rPr lang="en-US" smtClean="0"/>
              <a:t>‹#›</a:t>
            </a:fld>
            <a:endParaRPr lang="en-US"/>
          </a:p>
        </p:txBody>
      </p:sp>
    </p:spTree>
    <p:extLst>
      <p:ext uri="{BB962C8B-B14F-4D97-AF65-F5344CB8AC3E}">
        <p14:creationId xmlns:p14="http://schemas.microsoft.com/office/powerpoint/2010/main" val="478832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22" y="1626104"/>
            <a:ext cx="4266983" cy="4673101"/>
          </a:xfrm>
          <a:prstGeom prst="rect">
            <a:avLst/>
          </a:prstGeom>
        </p:spPr>
        <p:txBody>
          <a:bodyPr>
            <a:noAutofit/>
          </a:bodyPr>
          <a:lstStyle>
            <a:lvl1pPr>
              <a:tabLst>
                <a:tab pos="5029012" algn="r"/>
              </a:tabLst>
              <a:defRPr sz="1801">
                <a:solidFill>
                  <a:schemeClr val="accent3"/>
                </a:solidFill>
              </a:defRPr>
            </a:lvl1pPr>
            <a:lvl2pPr>
              <a:tabLst>
                <a:tab pos="5029012" algn="r"/>
              </a:tabLst>
              <a:defRPr/>
            </a:lvl2pPr>
            <a:lvl3pPr>
              <a:tabLst>
                <a:tab pos="5029012" algn="r"/>
              </a:tabLst>
              <a:defRPr/>
            </a:lvl3pPr>
            <a:lvl4pPr>
              <a:tabLst>
                <a:tab pos="5029012" algn="r"/>
              </a:tabLst>
              <a:defRPr/>
            </a:lvl4pPr>
            <a:lvl5pPr>
              <a:tabLst>
                <a:tab pos="502901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9"/>
            <a:ext cx="6660868" cy="4633913"/>
          </a:xfrm>
          <a:prstGeom prst="rect">
            <a:avLst/>
          </a:prstGeom>
        </p:spPr>
        <p:txBody>
          <a:bodyPr>
            <a:noAutofit/>
          </a:bodyPr>
          <a:lstStyle>
            <a:lvl1pPr>
              <a:tabLst>
                <a:tab pos="5029012" algn="r"/>
              </a:tabLst>
              <a:defRPr/>
            </a:lvl1pPr>
            <a:lvl2pPr>
              <a:tabLst>
                <a:tab pos="5029012" algn="r"/>
              </a:tabLst>
              <a:defRPr/>
            </a:lvl2pPr>
            <a:lvl3pPr>
              <a:tabLst>
                <a:tab pos="5029012" algn="r"/>
              </a:tabLst>
              <a:defRPr/>
            </a:lvl3pPr>
            <a:lvl4pPr>
              <a:tabLst>
                <a:tab pos="5029012" algn="r"/>
              </a:tabLst>
              <a:defRPr/>
            </a:lvl4pPr>
            <a:lvl5pPr>
              <a:tabLst>
                <a:tab pos="502901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1" y="736695"/>
            <a:ext cx="11252201"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1" y="402587"/>
            <a:ext cx="11252201" cy="334102"/>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92539147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4AC34-B083-4430-8689-9AF32E7F02B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C8C4796-9130-4DF3-8A79-C76769936EA9}"/>
              </a:ext>
            </a:extLst>
          </p:cNvPr>
          <p:cNvSpPr>
            <a:spLocks noGrp="1"/>
          </p:cNvSpPr>
          <p:nvPr>
            <p:ph type="dt" sz="half" idx="10"/>
          </p:nvPr>
        </p:nvSpPr>
        <p:spPr/>
        <p:txBody>
          <a:bodyPr/>
          <a:lstStyle/>
          <a:p>
            <a:fld id="{50B6FDB2-05A4-456F-9B34-7850E34BBD46}" type="datetimeFigureOut">
              <a:rPr lang="en-US" smtClean="0"/>
              <a:t>7/15/2021</a:t>
            </a:fld>
            <a:endParaRPr lang="en-US"/>
          </a:p>
        </p:txBody>
      </p:sp>
      <p:sp>
        <p:nvSpPr>
          <p:cNvPr id="4" name="Footer Placeholder 3">
            <a:extLst>
              <a:ext uri="{FF2B5EF4-FFF2-40B4-BE49-F238E27FC236}">
                <a16:creationId xmlns:a16="http://schemas.microsoft.com/office/drawing/2014/main" id="{94D946FB-F74A-46EB-AA59-2ABEDB2CF3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8DFF362-17CF-4106-8F8D-8AC9DCB0F925}"/>
              </a:ext>
            </a:extLst>
          </p:cNvPr>
          <p:cNvSpPr>
            <a:spLocks noGrp="1"/>
          </p:cNvSpPr>
          <p:nvPr>
            <p:ph type="sldNum" sz="quarter" idx="12"/>
          </p:nvPr>
        </p:nvSpPr>
        <p:spPr/>
        <p:txBody>
          <a:bodyPr/>
          <a:lstStyle/>
          <a:p>
            <a:fld id="{85AE4363-2AB4-4A6A-9A55-E5D8ABFBEF9D}" type="slidenum">
              <a:rPr lang="en-US" smtClean="0"/>
              <a:t>‹#›</a:t>
            </a:fld>
            <a:endParaRPr lang="en-US"/>
          </a:p>
        </p:txBody>
      </p:sp>
    </p:spTree>
    <p:extLst>
      <p:ext uri="{BB962C8B-B14F-4D97-AF65-F5344CB8AC3E}">
        <p14:creationId xmlns:p14="http://schemas.microsoft.com/office/powerpoint/2010/main" val="175849485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C1113D-A099-4949-A97B-722CA5ADF0B0}"/>
              </a:ext>
            </a:extLst>
          </p:cNvPr>
          <p:cNvSpPr>
            <a:spLocks noGrp="1"/>
          </p:cNvSpPr>
          <p:nvPr>
            <p:ph type="dt" sz="half" idx="10"/>
          </p:nvPr>
        </p:nvSpPr>
        <p:spPr/>
        <p:txBody>
          <a:bodyPr/>
          <a:lstStyle/>
          <a:p>
            <a:fld id="{50B6FDB2-05A4-456F-9B34-7850E34BBD46}" type="datetimeFigureOut">
              <a:rPr lang="en-US" smtClean="0"/>
              <a:t>7/15/2021</a:t>
            </a:fld>
            <a:endParaRPr lang="en-US"/>
          </a:p>
        </p:txBody>
      </p:sp>
      <p:sp>
        <p:nvSpPr>
          <p:cNvPr id="3" name="Footer Placeholder 2">
            <a:extLst>
              <a:ext uri="{FF2B5EF4-FFF2-40B4-BE49-F238E27FC236}">
                <a16:creationId xmlns:a16="http://schemas.microsoft.com/office/drawing/2014/main" id="{3278B918-1F5E-47CC-B42F-027D66134A0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673072-865C-42B3-AB1D-D6DF5DFD2DDB}"/>
              </a:ext>
            </a:extLst>
          </p:cNvPr>
          <p:cNvSpPr>
            <a:spLocks noGrp="1"/>
          </p:cNvSpPr>
          <p:nvPr>
            <p:ph type="sldNum" sz="quarter" idx="12"/>
          </p:nvPr>
        </p:nvSpPr>
        <p:spPr/>
        <p:txBody>
          <a:bodyPr/>
          <a:lstStyle/>
          <a:p>
            <a:fld id="{85AE4363-2AB4-4A6A-9A55-E5D8ABFBEF9D}" type="slidenum">
              <a:rPr lang="en-US" smtClean="0"/>
              <a:t>‹#›</a:t>
            </a:fld>
            <a:endParaRPr lang="en-US"/>
          </a:p>
        </p:txBody>
      </p:sp>
    </p:spTree>
    <p:extLst>
      <p:ext uri="{BB962C8B-B14F-4D97-AF65-F5344CB8AC3E}">
        <p14:creationId xmlns:p14="http://schemas.microsoft.com/office/powerpoint/2010/main" val="322141776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531DA-D43C-4393-BEBF-B2ADAA3F8D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26A60E3-DCE9-4B1D-AD3D-10F1AA378D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8321AD-69D5-475C-A0BD-E73BA4A894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E1CA2D-D76A-4FB5-AA30-3EA07398C566}"/>
              </a:ext>
            </a:extLst>
          </p:cNvPr>
          <p:cNvSpPr>
            <a:spLocks noGrp="1"/>
          </p:cNvSpPr>
          <p:nvPr>
            <p:ph type="dt" sz="half" idx="10"/>
          </p:nvPr>
        </p:nvSpPr>
        <p:spPr/>
        <p:txBody>
          <a:bodyPr/>
          <a:lstStyle/>
          <a:p>
            <a:fld id="{50B6FDB2-05A4-456F-9B34-7850E34BBD46}" type="datetimeFigureOut">
              <a:rPr lang="en-US" smtClean="0"/>
              <a:t>7/15/2021</a:t>
            </a:fld>
            <a:endParaRPr lang="en-US"/>
          </a:p>
        </p:txBody>
      </p:sp>
      <p:sp>
        <p:nvSpPr>
          <p:cNvPr id="6" name="Footer Placeholder 5">
            <a:extLst>
              <a:ext uri="{FF2B5EF4-FFF2-40B4-BE49-F238E27FC236}">
                <a16:creationId xmlns:a16="http://schemas.microsoft.com/office/drawing/2014/main" id="{27AE40CB-5188-477F-8223-7A676B66FA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3CE03E-E9C5-47DE-BD52-CF70CE32083B}"/>
              </a:ext>
            </a:extLst>
          </p:cNvPr>
          <p:cNvSpPr>
            <a:spLocks noGrp="1"/>
          </p:cNvSpPr>
          <p:nvPr>
            <p:ph type="sldNum" sz="quarter" idx="12"/>
          </p:nvPr>
        </p:nvSpPr>
        <p:spPr/>
        <p:txBody>
          <a:bodyPr/>
          <a:lstStyle/>
          <a:p>
            <a:fld id="{85AE4363-2AB4-4A6A-9A55-E5D8ABFBEF9D}" type="slidenum">
              <a:rPr lang="en-US" smtClean="0"/>
              <a:t>‹#›</a:t>
            </a:fld>
            <a:endParaRPr lang="en-US"/>
          </a:p>
        </p:txBody>
      </p:sp>
    </p:spTree>
    <p:extLst>
      <p:ext uri="{BB962C8B-B14F-4D97-AF65-F5344CB8AC3E}">
        <p14:creationId xmlns:p14="http://schemas.microsoft.com/office/powerpoint/2010/main" val="26892264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FFA7E-49D4-45FE-9AFA-5E8A6216C6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15C2C7B-7C6A-4D74-AD1C-4B6B835F07E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8F13C2B-150E-4ACA-8520-5E0E0411BC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6C022C-6718-4576-9C36-86B90CE19DA6}"/>
              </a:ext>
            </a:extLst>
          </p:cNvPr>
          <p:cNvSpPr>
            <a:spLocks noGrp="1"/>
          </p:cNvSpPr>
          <p:nvPr>
            <p:ph type="dt" sz="half" idx="10"/>
          </p:nvPr>
        </p:nvSpPr>
        <p:spPr/>
        <p:txBody>
          <a:bodyPr/>
          <a:lstStyle/>
          <a:p>
            <a:fld id="{50B6FDB2-05A4-456F-9B34-7850E34BBD46}" type="datetimeFigureOut">
              <a:rPr lang="en-US" smtClean="0"/>
              <a:t>7/15/2021</a:t>
            </a:fld>
            <a:endParaRPr lang="en-US"/>
          </a:p>
        </p:txBody>
      </p:sp>
      <p:sp>
        <p:nvSpPr>
          <p:cNvPr id="6" name="Footer Placeholder 5">
            <a:extLst>
              <a:ext uri="{FF2B5EF4-FFF2-40B4-BE49-F238E27FC236}">
                <a16:creationId xmlns:a16="http://schemas.microsoft.com/office/drawing/2014/main" id="{A5843E9F-2F43-4AE3-A12A-32A5287340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D32550A-D98C-42AC-9941-F7AEE837B132}"/>
              </a:ext>
            </a:extLst>
          </p:cNvPr>
          <p:cNvSpPr>
            <a:spLocks noGrp="1"/>
          </p:cNvSpPr>
          <p:nvPr>
            <p:ph type="sldNum" sz="quarter" idx="12"/>
          </p:nvPr>
        </p:nvSpPr>
        <p:spPr/>
        <p:txBody>
          <a:bodyPr/>
          <a:lstStyle/>
          <a:p>
            <a:fld id="{85AE4363-2AB4-4A6A-9A55-E5D8ABFBEF9D}" type="slidenum">
              <a:rPr lang="en-US" smtClean="0"/>
              <a:t>‹#›</a:t>
            </a:fld>
            <a:endParaRPr lang="en-US"/>
          </a:p>
        </p:txBody>
      </p:sp>
    </p:spTree>
    <p:extLst>
      <p:ext uri="{BB962C8B-B14F-4D97-AF65-F5344CB8AC3E}">
        <p14:creationId xmlns:p14="http://schemas.microsoft.com/office/powerpoint/2010/main" val="7111812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B6563-CE50-413F-9C9A-DB2021E133B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B21FC61-4A43-451B-9128-DFC6A97958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CD41DC-DCE8-4608-94EA-83E4EF851143}"/>
              </a:ext>
            </a:extLst>
          </p:cNvPr>
          <p:cNvSpPr>
            <a:spLocks noGrp="1"/>
          </p:cNvSpPr>
          <p:nvPr>
            <p:ph type="dt" sz="half" idx="10"/>
          </p:nvPr>
        </p:nvSpPr>
        <p:spPr/>
        <p:txBody>
          <a:bodyPr/>
          <a:lstStyle/>
          <a:p>
            <a:fld id="{50B6FDB2-05A4-456F-9B34-7850E34BBD46}" type="datetimeFigureOut">
              <a:rPr lang="en-US" smtClean="0"/>
              <a:t>7/15/2021</a:t>
            </a:fld>
            <a:endParaRPr lang="en-US"/>
          </a:p>
        </p:txBody>
      </p:sp>
      <p:sp>
        <p:nvSpPr>
          <p:cNvPr id="5" name="Footer Placeholder 4">
            <a:extLst>
              <a:ext uri="{FF2B5EF4-FFF2-40B4-BE49-F238E27FC236}">
                <a16:creationId xmlns:a16="http://schemas.microsoft.com/office/drawing/2014/main" id="{D2A7004A-59C5-4B73-BC3C-F79FAD1505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642FBC-7250-47A2-8B60-8D1E73AC35F5}"/>
              </a:ext>
            </a:extLst>
          </p:cNvPr>
          <p:cNvSpPr>
            <a:spLocks noGrp="1"/>
          </p:cNvSpPr>
          <p:nvPr>
            <p:ph type="sldNum" sz="quarter" idx="12"/>
          </p:nvPr>
        </p:nvSpPr>
        <p:spPr/>
        <p:txBody>
          <a:bodyPr/>
          <a:lstStyle/>
          <a:p>
            <a:fld id="{85AE4363-2AB4-4A6A-9A55-E5D8ABFBEF9D}" type="slidenum">
              <a:rPr lang="en-US" smtClean="0"/>
              <a:t>‹#›</a:t>
            </a:fld>
            <a:endParaRPr lang="en-US"/>
          </a:p>
        </p:txBody>
      </p:sp>
    </p:spTree>
    <p:extLst>
      <p:ext uri="{BB962C8B-B14F-4D97-AF65-F5344CB8AC3E}">
        <p14:creationId xmlns:p14="http://schemas.microsoft.com/office/powerpoint/2010/main" val="405849598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980F3A-F540-489C-BC58-78D1CB1D279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5C4770F-3725-4C1E-8990-4B20BE6C54C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595FC0-AD1B-4094-AA21-C11490BFD54B}"/>
              </a:ext>
            </a:extLst>
          </p:cNvPr>
          <p:cNvSpPr>
            <a:spLocks noGrp="1"/>
          </p:cNvSpPr>
          <p:nvPr>
            <p:ph type="dt" sz="half" idx="10"/>
          </p:nvPr>
        </p:nvSpPr>
        <p:spPr/>
        <p:txBody>
          <a:bodyPr/>
          <a:lstStyle/>
          <a:p>
            <a:fld id="{50B6FDB2-05A4-456F-9B34-7850E34BBD46}" type="datetimeFigureOut">
              <a:rPr lang="en-US" smtClean="0"/>
              <a:t>7/15/2021</a:t>
            </a:fld>
            <a:endParaRPr lang="en-US"/>
          </a:p>
        </p:txBody>
      </p:sp>
      <p:sp>
        <p:nvSpPr>
          <p:cNvPr id="5" name="Footer Placeholder 4">
            <a:extLst>
              <a:ext uri="{FF2B5EF4-FFF2-40B4-BE49-F238E27FC236}">
                <a16:creationId xmlns:a16="http://schemas.microsoft.com/office/drawing/2014/main" id="{12B2CB20-0613-4AA3-A43F-C5E16D3BC2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F793B0-A25B-4C76-BDC8-92B7A3AC750C}"/>
              </a:ext>
            </a:extLst>
          </p:cNvPr>
          <p:cNvSpPr>
            <a:spLocks noGrp="1"/>
          </p:cNvSpPr>
          <p:nvPr>
            <p:ph type="sldNum" sz="quarter" idx="12"/>
          </p:nvPr>
        </p:nvSpPr>
        <p:spPr/>
        <p:txBody>
          <a:bodyPr/>
          <a:lstStyle/>
          <a:p>
            <a:fld id="{85AE4363-2AB4-4A6A-9A55-E5D8ABFBEF9D}" type="slidenum">
              <a:rPr lang="en-US" smtClean="0"/>
              <a:t>‹#›</a:t>
            </a:fld>
            <a:endParaRPr lang="en-US"/>
          </a:p>
        </p:txBody>
      </p:sp>
    </p:spTree>
    <p:extLst>
      <p:ext uri="{BB962C8B-B14F-4D97-AF65-F5344CB8AC3E}">
        <p14:creationId xmlns:p14="http://schemas.microsoft.com/office/powerpoint/2010/main" val="122513592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01010404"/>
      </p:ext>
    </p:extLst>
  </p:cSld>
  <p:clrMapOvr>
    <a:masterClrMapping/>
  </p:clrMapOvr>
  <mc:AlternateContent xmlns:mc="http://schemas.openxmlformats.org/markup-compatibility/2006">
    <mc:Choice xmlns:p14="http://schemas.microsoft.com/office/powerpoint/2010/main" Requires="p14">
      <p:transition p14:dur="10" advClick="0">
        <p:fade/>
      </p:transition>
    </mc:Choice>
    <mc:Fallback>
      <p:transition advClick="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348788" cy="4633910"/>
          </a:xfrm>
          <a:prstGeom prst="rect">
            <a:avLst/>
          </a:prstGeom>
        </p:spPr>
        <p:txBody>
          <a:bodyPr/>
          <a:lstStyle>
            <a:lvl1pPr>
              <a:tabLst>
                <a:tab pos="6729161" algn="r"/>
              </a:tabLst>
              <a:defRPr/>
            </a:lvl1pPr>
            <a:lvl2pPr>
              <a:tabLst>
                <a:tab pos="6729161" algn="r"/>
              </a:tabLst>
              <a:defRPr/>
            </a:lvl2pPr>
            <a:lvl3pPr>
              <a:tabLst>
                <a:tab pos="6729161" algn="r"/>
              </a:tabLst>
              <a:defRPr/>
            </a:lvl3pPr>
            <a:lvl4pPr>
              <a:tabLst>
                <a:tab pos="6729161" algn="r"/>
              </a:tabLst>
              <a:defRPr/>
            </a:lvl4pPr>
            <a:lvl5pPr>
              <a:tabLst>
                <a:tab pos="5029012" algn="r"/>
              </a:tabLst>
              <a:defRPr baseline="0"/>
            </a:lvl5pPr>
            <a:lvl6pPr>
              <a:tabLst>
                <a:tab pos="6729161" algn="r"/>
              </a:tabLst>
              <a:defRPr/>
            </a:lvl6pPr>
            <a:lvl7pPr>
              <a:tabLst>
                <a:tab pos="6729161" algn="r"/>
              </a:tabLst>
              <a:defRPr/>
            </a:lvl7pPr>
            <a:lvl8pPr>
              <a:tabLst>
                <a:tab pos="6729161" algn="r"/>
              </a:tabLst>
              <a:defRPr/>
            </a:lvl8pPr>
            <a:lvl9pPr>
              <a:tabLst>
                <a:tab pos="6729161"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1" y="736695"/>
            <a:ext cx="11252201"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1" y="402587"/>
            <a:ext cx="11252201" cy="334102"/>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410499347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6" y="1705675"/>
            <a:ext cx="10418233" cy="1592403"/>
          </a:xfrm>
        </p:spPr>
        <p:txBody>
          <a:bodyPr anchor="b"/>
          <a:lstStyle>
            <a:lvl1pPr>
              <a:lnSpc>
                <a:spcPct val="95000"/>
              </a:lnSpc>
              <a:defRPr sz="2889"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9000"/>
            <a:ext cx="10541001" cy="1566532"/>
          </a:xfrm>
        </p:spPr>
        <p:txBody>
          <a:bodyPr lIns="0" tIns="0" rIns="0" bIns="0">
            <a:noAutofit/>
          </a:bodyPr>
          <a:lstStyle>
            <a:lvl1pPr marL="0" indent="0">
              <a:lnSpc>
                <a:spcPct val="95000"/>
              </a:lnSpc>
              <a:spcAft>
                <a:spcPts val="0"/>
              </a:spcAft>
              <a:buNone/>
              <a:defRPr sz="2889">
                <a:solidFill>
                  <a:schemeClr val="tx1"/>
                </a:solidFill>
              </a:defRPr>
            </a:lvl1pPr>
            <a:lvl2pPr marL="457184" indent="0">
              <a:buNone/>
              <a:defRPr sz="2000">
                <a:solidFill>
                  <a:schemeClr val="tx1">
                    <a:tint val="75000"/>
                  </a:schemeClr>
                </a:solidFill>
              </a:defRPr>
            </a:lvl2pPr>
            <a:lvl3pPr marL="914367" indent="0">
              <a:buNone/>
              <a:defRPr sz="1801">
                <a:solidFill>
                  <a:schemeClr val="tx1">
                    <a:tint val="75000"/>
                  </a:schemeClr>
                </a:solidFill>
              </a:defRPr>
            </a:lvl3pPr>
            <a:lvl4pPr marL="1371550" indent="0">
              <a:buNone/>
              <a:defRPr sz="1600">
                <a:solidFill>
                  <a:schemeClr val="tx1">
                    <a:tint val="75000"/>
                  </a:schemeClr>
                </a:solidFill>
              </a:defRPr>
            </a:lvl4pPr>
            <a:lvl5pPr marL="1828732" indent="0">
              <a:buNone/>
              <a:defRPr sz="1600">
                <a:solidFill>
                  <a:schemeClr val="tx1">
                    <a:tint val="75000"/>
                  </a:schemeClr>
                </a:solidFill>
              </a:defRPr>
            </a:lvl5pPr>
            <a:lvl6pPr marL="2285915" indent="0">
              <a:buNone/>
              <a:defRPr sz="1600">
                <a:solidFill>
                  <a:schemeClr val="tx1">
                    <a:tint val="75000"/>
                  </a:schemeClr>
                </a:solidFill>
              </a:defRPr>
            </a:lvl6pPr>
            <a:lvl7pPr marL="2743097" indent="0">
              <a:buNone/>
              <a:defRPr sz="1600">
                <a:solidFill>
                  <a:schemeClr val="tx1">
                    <a:tint val="75000"/>
                  </a:schemeClr>
                </a:solidFill>
              </a:defRPr>
            </a:lvl7pPr>
            <a:lvl8pPr marL="3200280" indent="0">
              <a:buNone/>
              <a:defRPr sz="1600">
                <a:solidFill>
                  <a:schemeClr val="tx1">
                    <a:tint val="75000"/>
                  </a:schemeClr>
                </a:solidFill>
              </a:defRPr>
            </a:lvl8pPr>
            <a:lvl9pPr marL="3657464"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05896302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5951046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8533491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subtitle &amp; 1 column text">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bg1"/>
                </a:solidFill>
              </a:defRPr>
            </a:lvl1pPr>
          </a:lstStyle>
          <a:p>
            <a:pPr lvl="0"/>
            <a:r>
              <a:rPr lang="en-GB"/>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bg1"/>
                </a:solidFill>
              </a:defRPr>
            </a:lvl1pPr>
          </a:lstStyle>
          <a:p>
            <a:r>
              <a:rPr lang="en-GB" noProof="0"/>
              <a:t>Click to edit Master title style</a:t>
            </a:r>
            <a:endParaRPr lang="en-GB"/>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05BE989B-C09B-4026-9E62-E689E5CE089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a:solidFill>
                <a:schemeClr val="bg1"/>
              </a:solidFill>
              <a:latin typeface="Calibri" panose="020F0502020204030204" pitchFamily="34" charset="0"/>
              <a:cs typeface="Calibri" panose="020F0502020204030204" pitchFamily="34" charset="0"/>
            </a:endParaRPr>
          </a:p>
        </p:txBody>
      </p:sp>
      <p:sp>
        <p:nvSpPr>
          <p:cNvPr id="10" name="TextBox 9"/>
          <p:cNvSpPr txBox="1"/>
          <p:nvPr userDrawn="1"/>
        </p:nvSpPr>
        <p:spPr>
          <a:xfrm>
            <a:off x="6336000" y="6476999"/>
            <a:ext cx="4896560" cy="92333"/>
          </a:xfrm>
          <a:prstGeom prst="rect">
            <a:avLst/>
          </a:prstGeom>
          <a:noFill/>
        </p:spPr>
        <p:txBody>
          <a:bodyPr wrap="square" lIns="0" tIns="0" rIns="0" bIns="0" rtlCol="0">
            <a:spAutoFit/>
          </a:bodyPr>
          <a:lstStyle/>
          <a:p>
            <a:pPr algn="r" defTabSz="1219170">
              <a:buSzPct val="100000"/>
              <a:buFont typeface="Arial"/>
              <a:buNone/>
            </a:pPr>
            <a:r>
              <a:rPr lang="en-US" sz="600">
                <a:solidFill>
                  <a:schemeClr val="bg1"/>
                </a:solidFill>
                <a:latin typeface="+mj-lt"/>
              </a:rPr>
              <a:t>RADCs | Global Audit &amp; Assurance Transformation</a:t>
            </a:r>
          </a:p>
        </p:txBody>
      </p:sp>
      <p:sp>
        <p:nvSpPr>
          <p:cNvPr id="11" name="TextBox 10"/>
          <p:cNvSpPr txBox="1"/>
          <p:nvPr userDrawn="1"/>
        </p:nvSpPr>
        <p:spPr>
          <a:xfrm>
            <a:off x="469900" y="6477000"/>
            <a:ext cx="5355167" cy="92333"/>
          </a:xfrm>
          <a:prstGeom prst="rect">
            <a:avLst/>
          </a:prstGeom>
          <a:noFill/>
        </p:spPr>
        <p:txBody>
          <a:bodyPr wrap="square" lIns="0" tIns="0" rIns="0" bIns="0" rtlCol="0">
            <a:spAutoFit/>
          </a:bodyPr>
          <a:lstStyle/>
          <a:p>
            <a:pPr>
              <a:spcBef>
                <a:spcPts val="800"/>
              </a:spcBef>
              <a:buSzPct val="100000"/>
              <a:buFont typeface="Arial"/>
              <a:buNone/>
            </a:pPr>
            <a:r>
              <a:rPr lang="fr-FR" sz="600">
                <a:solidFill>
                  <a:schemeClr val="bg1"/>
                </a:solidFill>
                <a:latin typeface="+mj-lt"/>
              </a:rPr>
              <a:t> © 2020. For information, contact Deloitte Touche Tohmatsu Limited. </a:t>
            </a:r>
          </a:p>
        </p:txBody>
      </p:sp>
    </p:spTree>
    <p:extLst>
      <p:ext uri="{BB962C8B-B14F-4D97-AF65-F5344CB8AC3E}">
        <p14:creationId xmlns:p14="http://schemas.microsoft.com/office/powerpoint/2010/main" val="14079601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8307915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3" y="1674088"/>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6"/>
            <a:ext cx="11188700"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3442965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4612160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51665066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1035410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86589376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Copyright"/>
          <p:cNvSpPr txBox="1"/>
          <p:nvPr userDrawn="1"/>
        </p:nvSpPr>
        <p:spPr>
          <a:xfrm>
            <a:off x="501649" y="6477000"/>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Copyright © 2019 Deloitte Development LLC. All rights reserved.</a:t>
            </a:r>
          </a:p>
        </p:txBody>
      </p:sp>
    </p:spTree>
    <p:extLst>
      <p:ext uri="{BB962C8B-B14F-4D97-AF65-F5344CB8AC3E}">
        <p14:creationId xmlns:p14="http://schemas.microsoft.com/office/powerpoint/2010/main" val="986566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3"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501649" y="6477000"/>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027212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1" name="Copyright"/>
          <p:cNvSpPr txBox="1"/>
          <p:nvPr userDrawn="1"/>
        </p:nvSpPr>
        <p:spPr>
          <a:xfrm>
            <a:off x="501649" y="6477000"/>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Copyright © 2019 Deloitte Development LLC. All rights reserved.</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9839697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2" y="1709741"/>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2" y="4589466"/>
            <a:ext cx="10515600" cy="1500187"/>
          </a:xfrm>
        </p:spPr>
        <p:txBody>
          <a:bodyPr/>
          <a:lstStyle>
            <a:lvl1pPr marL="0" indent="0">
              <a:buNone/>
              <a:defRPr sz="2400">
                <a:solidFill>
                  <a:schemeClr val="tx1">
                    <a:tint val="75000"/>
                  </a:schemeClr>
                </a:solidFill>
              </a:defRPr>
            </a:lvl1pPr>
            <a:lvl2pPr marL="457195" indent="0">
              <a:buNone/>
              <a:defRPr sz="2000">
                <a:solidFill>
                  <a:schemeClr val="tx1">
                    <a:tint val="75000"/>
                  </a:schemeClr>
                </a:solidFill>
              </a:defRPr>
            </a:lvl2pPr>
            <a:lvl3pPr marL="914388" indent="0">
              <a:buNone/>
              <a:defRPr sz="1801">
                <a:solidFill>
                  <a:schemeClr val="tx1">
                    <a:tint val="75000"/>
                  </a:schemeClr>
                </a:solidFill>
              </a:defRPr>
            </a:lvl3pPr>
            <a:lvl4pPr marL="1371583" indent="0">
              <a:buNone/>
              <a:defRPr sz="1600">
                <a:solidFill>
                  <a:schemeClr val="tx1">
                    <a:tint val="75000"/>
                  </a:schemeClr>
                </a:solidFill>
              </a:defRPr>
            </a:lvl4pPr>
            <a:lvl5pPr marL="1828777" indent="0">
              <a:buNone/>
              <a:defRPr sz="1600">
                <a:solidFill>
                  <a:schemeClr val="tx1">
                    <a:tint val="75000"/>
                  </a:schemeClr>
                </a:solidFill>
              </a:defRPr>
            </a:lvl5pPr>
            <a:lvl6pPr marL="2285972" indent="0">
              <a:buNone/>
              <a:defRPr sz="1600">
                <a:solidFill>
                  <a:schemeClr val="tx1">
                    <a:tint val="75000"/>
                  </a:schemeClr>
                </a:solidFill>
              </a:defRPr>
            </a:lvl6pPr>
            <a:lvl7pPr marL="2743165" indent="0">
              <a:buNone/>
              <a:defRPr sz="1600">
                <a:solidFill>
                  <a:schemeClr val="tx1">
                    <a:tint val="75000"/>
                  </a:schemeClr>
                </a:solidFill>
              </a:defRPr>
            </a:lvl7pPr>
            <a:lvl8pPr marL="3200360" indent="0">
              <a:buNone/>
              <a:defRPr sz="1600">
                <a:solidFill>
                  <a:schemeClr val="tx1">
                    <a:tint val="75000"/>
                  </a:schemeClr>
                </a:solidFill>
              </a:defRPr>
            </a:lvl8pPr>
            <a:lvl9pPr marL="3657555"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5675341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1" name="Copyright"/>
          <p:cNvSpPr txBox="1"/>
          <p:nvPr userDrawn="1"/>
        </p:nvSpPr>
        <p:spPr>
          <a:xfrm>
            <a:off x="501649" y="6477000"/>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Copyright © 2019 Deloitte Development LLC. All rights reserved.</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79830159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1" name="Copyright"/>
          <p:cNvSpPr txBox="1"/>
          <p:nvPr userDrawn="1"/>
        </p:nvSpPr>
        <p:spPr>
          <a:xfrm>
            <a:off x="501649" y="6477000"/>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Copyright © 2019 Deloitte Development LLC. All rights reserved.</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408860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1134173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1" name="Copyright"/>
          <p:cNvSpPr txBox="1"/>
          <p:nvPr userDrawn="1"/>
        </p:nvSpPr>
        <p:spPr>
          <a:xfrm>
            <a:off x="501649" y="6477000"/>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Copyright © 2019 Deloitte Development LLC. All rights reserved.</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7914373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1" name="Copyright"/>
          <p:cNvSpPr txBox="1"/>
          <p:nvPr userDrawn="1"/>
        </p:nvSpPr>
        <p:spPr>
          <a:xfrm>
            <a:off x="501649" y="6477000"/>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Copyright © 2019 Deloitte Development LLC. All rights reserved.</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0158283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1" name="Copyright"/>
          <p:cNvSpPr txBox="1"/>
          <p:nvPr userDrawn="1"/>
        </p:nvSpPr>
        <p:spPr>
          <a:xfrm>
            <a:off x="501649" y="6477000"/>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Copyright © 2019 Deloitte Development LLC. All rights reserved.</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09415901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1" name="Copyright"/>
          <p:cNvSpPr txBox="1"/>
          <p:nvPr userDrawn="1"/>
        </p:nvSpPr>
        <p:spPr>
          <a:xfrm>
            <a:off x="501649" y="6477000"/>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Copyright © 2019 Deloitte Development LLC. All rights reserved.</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2461794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7806513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4389261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1248224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3164793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8346184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066890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154351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Edit Master text styles</a:t>
            </a:r>
          </a:p>
        </p:txBody>
      </p:sp>
    </p:spTree>
    <p:extLst>
      <p:ext uri="{BB962C8B-B14F-4D97-AF65-F5344CB8AC3E}">
        <p14:creationId xmlns:p14="http://schemas.microsoft.com/office/powerpoint/2010/main" val="361705007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Tree>
    <p:extLst>
      <p:ext uri="{BB962C8B-B14F-4D97-AF65-F5344CB8AC3E}">
        <p14:creationId xmlns:p14="http://schemas.microsoft.com/office/powerpoint/2010/main" val="103765070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86014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8" name="Title Placeholder 1"/>
          <p:cNvSpPr>
            <a:spLocks noGrp="1"/>
          </p:cNvSpPr>
          <p:nvPr>
            <p:ph type="title" hasCustomPrompt="1"/>
          </p:nvPr>
        </p:nvSpPr>
        <p:spPr>
          <a:xfrm>
            <a:off x="501650" y="317500"/>
            <a:ext cx="11188700" cy="3341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760196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0177"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1" y="2125013"/>
            <a:ext cx="5349129"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313908038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25099" y="2125013"/>
            <a:ext cx="5608320" cy="3996000"/>
          </a:xfrm>
        </p:spPr>
        <p:txBody>
          <a:bodyPr/>
          <a:lstStyle/>
          <a:p>
            <a:r>
              <a:rPr lang="en-US" noProof="0"/>
              <a:t>Click icon to add chart</a:t>
            </a:r>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9" name="Chart Placeholder 2"/>
          <p:cNvSpPr>
            <a:spLocks noGrp="1"/>
          </p:cNvSpPr>
          <p:nvPr>
            <p:ph type="chart" sz="quarter" idx="24"/>
          </p:nvPr>
        </p:nvSpPr>
        <p:spPr>
          <a:xfrm>
            <a:off x="354313" y="2125013"/>
            <a:ext cx="5608320" cy="3996000"/>
          </a:xfrm>
        </p:spPr>
        <p:txBody>
          <a:bodyPr/>
          <a:lstStyle/>
          <a:p>
            <a:r>
              <a:rPr lang="en-US" noProof="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263857395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13735346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8"/>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91" y="1681163"/>
            <a:ext cx="5157787" cy="823912"/>
          </a:xfrm>
        </p:spPr>
        <p:txBody>
          <a:bodyPr anchor="b"/>
          <a:lstStyle>
            <a:lvl1pPr marL="0" indent="0">
              <a:buNone/>
              <a:defRPr sz="2400" b="1"/>
            </a:lvl1pPr>
            <a:lvl2pPr marL="457195" indent="0">
              <a:buNone/>
              <a:defRPr sz="2000" b="1"/>
            </a:lvl2pPr>
            <a:lvl3pPr marL="914388" indent="0">
              <a:buNone/>
              <a:defRPr sz="1801" b="1"/>
            </a:lvl3pPr>
            <a:lvl4pPr marL="1371583" indent="0">
              <a:buNone/>
              <a:defRPr sz="1600" b="1"/>
            </a:lvl4pPr>
            <a:lvl5pPr marL="1828777" indent="0">
              <a:buNone/>
              <a:defRPr sz="1600" b="1"/>
            </a:lvl5pPr>
            <a:lvl6pPr marL="2285972" indent="0">
              <a:buNone/>
              <a:defRPr sz="1600" b="1"/>
            </a:lvl6pPr>
            <a:lvl7pPr marL="2743165" indent="0">
              <a:buNone/>
              <a:defRPr sz="1600" b="1"/>
            </a:lvl7pPr>
            <a:lvl8pPr marL="3200360" indent="0">
              <a:buNone/>
              <a:defRPr sz="1600" b="1"/>
            </a:lvl8pPr>
            <a:lvl9pPr marL="3657555"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1"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457195" indent="0">
              <a:buNone/>
              <a:defRPr sz="2000" b="1"/>
            </a:lvl2pPr>
            <a:lvl3pPr marL="914388" indent="0">
              <a:buNone/>
              <a:defRPr sz="1801" b="1"/>
            </a:lvl3pPr>
            <a:lvl4pPr marL="1371583" indent="0">
              <a:buNone/>
              <a:defRPr sz="1600" b="1"/>
            </a:lvl4pPr>
            <a:lvl5pPr marL="1828777" indent="0">
              <a:buNone/>
              <a:defRPr sz="1600" b="1"/>
            </a:lvl5pPr>
            <a:lvl6pPr marL="2285972" indent="0">
              <a:buNone/>
              <a:defRPr sz="1600" b="1"/>
            </a:lvl6pPr>
            <a:lvl7pPr marL="2743165" indent="0">
              <a:buNone/>
              <a:defRPr sz="1600" b="1"/>
            </a:lvl7pPr>
            <a:lvl8pPr marL="3200360" indent="0">
              <a:buNone/>
              <a:defRPr sz="1600" b="1"/>
            </a:lvl8pPr>
            <a:lvl9pPr marL="365755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2"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smtClean="0"/>
              <a:t>7/1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9898970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159085558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p>
        </p:txBody>
      </p:sp>
      <p:sp>
        <p:nvSpPr>
          <p:cNvPr id="4" name="Picture Placeholder 6"/>
          <p:cNvSpPr>
            <a:spLocks noGrp="1"/>
          </p:cNvSpPr>
          <p:nvPr>
            <p:ph type="pic" sz="quarter" idx="13"/>
          </p:nvPr>
        </p:nvSpPr>
        <p:spPr>
          <a:xfrm>
            <a:off x="501649" y="1700213"/>
            <a:ext cx="2706624"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06624"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06624"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06624"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62660"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1" name="Text Placeholder 8"/>
          <p:cNvSpPr>
            <a:spLocks noGrp="1"/>
          </p:cNvSpPr>
          <p:nvPr>
            <p:ph type="body" sz="quarter" idx="19"/>
          </p:nvPr>
        </p:nvSpPr>
        <p:spPr>
          <a:xfrm>
            <a:off x="3332155" y="3108509"/>
            <a:ext cx="2706624"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2" name="Text Placeholder 8"/>
          <p:cNvSpPr>
            <a:spLocks noGrp="1"/>
          </p:cNvSpPr>
          <p:nvPr>
            <p:ph type="body" sz="quarter" idx="20"/>
          </p:nvPr>
        </p:nvSpPr>
        <p:spPr>
          <a:xfrm>
            <a:off x="8993167"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6553511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683483" y="1880213"/>
            <a:ext cx="3288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8396560" y="1880213"/>
            <a:ext cx="329184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8396560" y="4256213"/>
            <a:ext cx="329184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144119869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57600" cy="1971675"/>
          </a:xfrm>
        </p:spPr>
        <p:txBody>
          <a:bodyPr/>
          <a:lstStyle/>
          <a:p>
            <a:r>
              <a:rPr lang="en-US" noProof="0"/>
              <a:t>Click icon to add picture</a:t>
            </a:r>
          </a:p>
        </p:txBody>
      </p:sp>
      <p:sp>
        <p:nvSpPr>
          <p:cNvPr id="5" name="Picture Placeholder 7"/>
          <p:cNvSpPr>
            <a:spLocks noGrp="1"/>
          </p:cNvSpPr>
          <p:nvPr>
            <p:ph type="pic" sz="quarter" idx="14"/>
          </p:nvPr>
        </p:nvSpPr>
        <p:spPr>
          <a:xfrm>
            <a:off x="8040265" y="1700214"/>
            <a:ext cx="3657600" cy="1971675"/>
          </a:xfrm>
        </p:spPr>
        <p:txBody>
          <a:bodyPr/>
          <a:lstStyle/>
          <a:p>
            <a:r>
              <a:rPr lang="en-US" noProof="0"/>
              <a:t>Click icon to add picture</a:t>
            </a:r>
          </a:p>
        </p:txBody>
      </p:sp>
      <p:sp>
        <p:nvSpPr>
          <p:cNvPr id="6" name="Picture Placeholder 7"/>
          <p:cNvSpPr>
            <a:spLocks noGrp="1"/>
          </p:cNvSpPr>
          <p:nvPr>
            <p:ph type="pic" sz="quarter" idx="15"/>
          </p:nvPr>
        </p:nvSpPr>
        <p:spPr>
          <a:xfrm>
            <a:off x="4270957"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576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0959" y="3832225"/>
            <a:ext cx="3657600" cy="2095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40265" y="3832225"/>
            <a:ext cx="3657600" cy="2095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17227620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268270435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9" name="Text Placeholder 8"/>
          <p:cNvSpPr>
            <a:spLocks noGrp="1"/>
          </p:cNvSpPr>
          <p:nvPr>
            <p:ph type="body" sz="quarter" idx="21"/>
          </p:nvPr>
        </p:nvSpPr>
        <p:spPr>
          <a:xfrm>
            <a:off x="6246193"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49759378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9" name="Text Placeholder 8"/>
          <p:cNvSpPr>
            <a:spLocks noGrp="1"/>
          </p:cNvSpPr>
          <p:nvPr>
            <p:ph type="body" sz="quarter" idx="2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userDrawn="1"/>
        </p:nvSpPr>
        <p:spPr>
          <a:xfrm>
            <a:off x="6246195"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7" name="Picture Placeholder 29"/>
          <p:cNvSpPr>
            <a:spLocks noGrp="1"/>
          </p:cNvSpPr>
          <p:nvPr>
            <p:ph type="pic" sz="quarter" idx="20" hasCustomPrompt="1"/>
          </p:nvPr>
        </p:nvSpPr>
        <p:spPr>
          <a:xfrm>
            <a:off x="10464050"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Text Placeholder 8"/>
          <p:cNvSpPr>
            <a:spLocks noGrp="1"/>
          </p:cNvSpPr>
          <p:nvPr>
            <p:ph type="body" sz="quarter" idx="22"/>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1" name="Text Placeholder 8"/>
          <p:cNvSpPr>
            <a:spLocks noGrp="1"/>
          </p:cNvSpPr>
          <p:nvPr>
            <p:ph type="body" sz="quarter" idx="23"/>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2" name="Rectangle 11"/>
          <p:cNvSpPr/>
          <p:nvPr userDrawn="1"/>
        </p:nvSpPr>
        <p:spPr>
          <a:xfrm>
            <a:off x="509280"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3" name="Rectangle 12"/>
          <p:cNvSpPr/>
          <p:nvPr userDrawn="1"/>
        </p:nvSpPr>
        <p:spPr>
          <a:xfrm>
            <a:off x="6246195"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4" name="Picture Placeholder 29"/>
          <p:cNvSpPr>
            <a:spLocks noGrp="1"/>
          </p:cNvSpPr>
          <p:nvPr>
            <p:ph type="pic" sz="quarter" idx="24" hasCustomPrompt="1"/>
          </p:nvPr>
        </p:nvSpPr>
        <p:spPr>
          <a:xfrm>
            <a:off x="4731915"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64051"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Picture Placeholder 29"/>
          <p:cNvSpPr>
            <a:spLocks noGrp="1"/>
          </p:cNvSpPr>
          <p:nvPr>
            <p:ph type="pic" sz="quarter" idx="19" hasCustomPrompt="1"/>
          </p:nvPr>
        </p:nvSpPr>
        <p:spPr>
          <a:xfrm>
            <a:off x="4761090"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Tree>
    <p:extLst>
      <p:ext uri="{BB962C8B-B14F-4D97-AF65-F5344CB8AC3E}">
        <p14:creationId xmlns:p14="http://schemas.microsoft.com/office/powerpoint/2010/main" val="107706991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p>
        </p:txBody>
      </p:sp>
      <p:sp>
        <p:nvSpPr>
          <p:cNvPr id="4" name="Rectangle 3"/>
          <p:cNvSpPr/>
          <p:nvPr userDrawn="1"/>
        </p:nvSpPr>
        <p:spPr>
          <a:xfrm>
            <a:off x="4327289"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userDrawn="1"/>
        </p:nvSpPr>
        <p:spPr>
          <a:xfrm>
            <a:off x="504000" y="1700214"/>
            <a:ext cx="3547872"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userDrawn="1"/>
        </p:nvSpPr>
        <p:spPr>
          <a:xfrm>
            <a:off x="8150577"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7289"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8" name="Text Placeholder 8"/>
          <p:cNvSpPr>
            <a:spLocks noGrp="1"/>
          </p:cNvSpPr>
          <p:nvPr>
            <p:ph type="body" sz="quarter" idx="18"/>
          </p:nvPr>
        </p:nvSpPr>
        <p:spPr>
          <a:xfrm>
            <a:off x="504000"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9" name="Text Placeholder 8"/>
          <p:cNvSpPr>
            <a:spLocks noGrp="1"/>
          </p:cNvSpPr>
          <p:nvPr>
            <p:ph type="body" sz="quarter" idx="19"/>
          </p:nvPr>
        </p:nvSpPr>
        <p:spPr>
          <a:xfrm>
            <a:off x="8150577"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356298289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5" name="Text Placeholder 8"/>
          <p:cNvSpPr>
            <a:spLocks noGrp="1"/>
          </p:cNvSpPr>
          <p:nvPr>
            <p:ph type="body" sz="quarter" idx="18"/>
          </p:nvPr>
        </p:nvSpPr>
        <p:spPr>
          <a:xfrm>
            <a:off x="9096836"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6" name="Text Placeholder 8"/>
          <p:cNvSpPr>
            <a:spLocks noGrp="1"/>
          </p:cNvSpPr>
          <p:nvPr>
            <p:ph type="body" sz="quarter" idx="19"/>
          </p:nvPr>
        </p:nvSpPr>
        <p:spPr>
          <a:xfrm>
            <a:off x="3368279"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7" name="Text Placeholder 8"/>
          <p:cNvSpPr>
            <a:spLocks noGrp="1"/>
          </p:cNvSpPr>
          <p:nvPr>
            <p:ph type="body" sz="quarter" idx="20"/>
          </p:nvPr>
        </p:nvSpPr>
        <p:spPr>
          <a:xfrm>
            <a:off x="6232557"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176297503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3" name="CaseCode"/>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501649" y="6477000"/>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944029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smtClean="0"/>
              <a:t>7/1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8511041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9"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956752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8910780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85606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US" sz="900" noProof="0"/>
              <a:t>Insert sponsorship mark here</a:t>
            </a:r>
            <a:endParaRPr lang="en-US" noProof="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noProof="0"/>
              <a:t>Edit Master text styles</a:t>
            </a:r>
          </a:p>
        </p:txBody>
      </p:sp>
      <p:grpSp>
        <p:nvGrpSpPr>
          <p:cNvPr id="9" name="Group 8"/>
          <p:cNvGrpSpPr/>
          <p:nvPr userDrawn="1"/>
        </p:nvGrpSpPr>
        <p:grpSpPr>
          <a:xfrm>
            <a:off x="503988" y="378000"/>
            <a:ext cx="216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4292639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310F1-FDA4-49EC-ACE0-58F273F336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AB253F-5FD0-4D8A-8B95-B5301EC1484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6AEFE8-8A2F-4775-A572-4DE8B378E8E7}"/>
              </a:ext>
            </a:extLst>
          </p:cNvPr>
          <p:cNvSpPr>
            <a:spLocks noGrp="1"/>
          </p:cNvSpPr>
          <p:nvPr>
            <p:ph type="dt" sz="half" idx="10"/>
          </p:nvPr>
        </p:nvSpPr>
        <p:spPr/>
        <p:txBody>
          <a:bodyPr/>
          <a:lstStyle/>
          <a:p>
            <a:fld id="{F6938EF5-E0C8-4C2B-A0B9-C274666563E9}" type="datetimeFigureOut">
              <a:rPr lang="en-US" smtClean="0"/>
              <a:t>7/15/2021</a:t>
            </a:fld>
            <a:endParaRPr lang="en-US"/>
          </a:p>
        </p:txBody>
      </p:sp>
      <p:sp>
        <p:nvSpPr>
          <p:cNvPr id="5" name="Footer Placeholder 4">
            <a:extLst>
              <a:ext uri="{FF2B5EF4-FFF2-40B4-BE49-F238E27FC236}">
                <a16:creationId xmlns:a16="http://schemas.microsoft.com/office/drawing/2014/main" id="{F4356D82-511A-4589-99F9-63FAEA2220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C6F5AF-C829-47C0-95FE-9D00677E380C}"/>
              </a:ext>
            </a:extLst>
          </p:cNvPr>
          <p:cNvSpPr>
            <a:spLocks noGrp="1"/>
          </p:cNvSpPr>
          <p:nvPr>
            <p:ph type="sldNum" sz="quarter" idx="12"/>
          </p:nvPr>
        </p:nvSpPr>
        <p:spPr/>
        <p:txBody>
          <a:bodyPr/>
          <a:lstStyle/>
          <a:p>
            <a:fld id="{AD8DE575-EFC8-427D-BA38-B75B34F72583}" type="slidenum">
              <a:rPr lang="en-US" smtClean="0"/>
              <a:t>‹#›</a:t>
            </a:fld>
            <a:endParaRPr lang="en-US"/>
          </a:p>
        </p:txBody>
      </p:sp>
    </p:spTree>
    <p:extLst>
      <p:ext uri="{BB962C8B-B14F-4D97-AF65-F5344CB8AC3E}">
        <p14:creationId xmlns:p14="http://schemas.microsoft.com/office/powerpoint/2010/main" val="27831843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D21DFD-61CF-4141-A858-2E266AE18B7F}"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24589B-0B5D-4C0F-8949-C6D0183DC966}" type="slidenum">
              <a:rPr lang="en-US" smtClean="0"/>
              <a:t>‹#›</a:t>
            </a:fld>
            <a:endParaRPr lang="en-US"/>
          </a:p>
        </p:txBody>
      </p:sp>
    </p:spTree>
    <p:extLst>
      <p:ext uri="{BB962C8B-B14F-4D97-AF65-F5344CB8AC3E}">
        <p14:creationId xmlns:p14="http://schemas.microsoft.com/office/powerpoint/2010/main" val="31535182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D21DFD-61CF-4141-A858-2E266AE18B7F}"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24589B-0B5D-4C0F-8949-C6D0183DC966}" type="slidenum">
              <a:rPr lang="en-US" smtClean="0"/>
              <a:t>‹#›</a:t>
            </a:fld>
            <a:endParaRPr lang="en-US"/>
          </a:p>
        </p:txBody>
      </p:sp>
    </p:spTree>
    <p:extLst>
      <p:ext uri="{BB962C8B-B14F-4D97-AF65-F5344CB8AC3E}">
        <p14:creationId xmlns:p14="http://schemas.microsoft.com/office/powerpoint/2010/main" val="11365884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D21DFD-61CF-4141-A858-2E266AE18B7F}"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24589B-0B5D-4C0F-8949-C6D0183DC966}" type="slidenum">
              <a:rPr lang="en-US" smtClean="0"/>
              <a:t>‹#›</a:t>
            </a:fld>
            <a:endParaRPr lang="en-US"/>
          </a:p>
        </p:txBody>
      </p:sp>
    </p:spTree>
    <p:extLst>
      <p:ext uri="{BB962C8B-B14F-4D97-AF65-F5344CB8AC3E}">
        <p14:creationId xmlns:p14="http://schemas.microsoft.com/office/powerpoint/2010/main" val="8055056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D21DFD-61CF-4141-A858-2E266AE18B7F}"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24589B-0B5D-4C0F-8949-C6D0183DC966}" type="slidenum">
              <a:rPr lang="en-US" smtClean="0"/>
              <a:t>‹#›</a:t>
            </a:fld>
            <a:endParaRPr lang="en-US"/>
          </a:p>
        </p:txBody>
      </p:sp>
    </p:spTree>
    <p:extLst>
      <p:ext uri="{BB962C8B-B14F-4D97-AF65-F5344CB8AC3E}">
        <p14:creationId xmlns:p14="http://schemas.microsoft.com/office/powerpoint/2010/main" val="16076407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D21DFD-61CF-4141-A858-2E266AE18B7F}" type="datetimeFigureOut">
              <a:rPr lang="en-US" smtClean="0"/>
              <a:t>7/1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024589B-0B5D-4C0F-8949-C6D0183DC966}" type="slidenum">
              <a:rPr lang="en-US" smtClean="0"/>
              <a:t>‹#›</a:t>
            </a:fld>
            <a:endParaRPr lang="en-US"/>
          </a:p>
        </p:txBody>
      </p:sp>
    </p:spTree>
    <p:extLst>
      <p:ext uri="{BB962C8B-B14F-4D97-AF65-F5344CB8AC3E}">
        <p14:creationId xmlns:p14="http://schemas.microsoft.com/office/powerpoint/2010/main" val="2728787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7/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9655653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D21DFD-61CF-4141-A858-2E266AE18B7F}" type="datetimeFigureOut">
              <a:rPr lang="en-US" smtClean="0"/>
              <a:t>7/1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024589B-0B5D-4C0F-8949-C6D0183DC966}" type="slidenum">
              <a:rPr lang="en-US" smtClean="0"/>
              <a:t>‹#›</a:t>
            </a:fld>
            <a:endParaRPr lang="en-US"/>
          </a:p>
        </p:txBody>
      </p:sp>
    </p:spTree>
    <p:extLst>
      <p:ext uri="{BB962C8B-B14F-4D97-AF65-F5344CB8AC3E}">
        <p14:creationId xmlns:p14="http://schemas.microsoft.com/office/powerpoint/2010/main" val="41768321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D21DFD-61CF-4141-A858-2E266AE18B7F}" type="datetimeFigureOut">
              <a:rPr lang="en-US" smtClean="0"/>
              <a:t>7/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024589B-0B5D-4C0F-8949-C6D0183DC966}" type="slidenum">
              <a:rPr lang="en-US" smtClean="0"/>
              <a:t>‹#›</a:t>
            </a:fld>
            <a:endParaRPr lang="en-US"/>
          </a:p>
        </p:txBody>
      </p:sp>
    </p:spTree>
    <p:extLst>
      <p:ext uri="{BB962C8B-B14F-4D97-AF65-F5344CB8AC3E}">
        <p14:creationId xmlns:p14="http://schemas.microsoft.com/office/powerpoint/2010/main" val="10376175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4D21DFD-61CF-4141-A858-2E266AE18B7F}"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24589B-0B5D-4C0F-8949-C6D0183DC966}" type="slidenum">
              <a:rPr lang="en-US" smtClean="0"/>
              <a:t>‹#›</a:t>
            </a:fld>
            <a:endParaRPr lang="en-US"/>
          </a:p>
        </p:txBody>
      </p:sp>
    </p:spTree>
    <p:extLst>
      <p:ext uri="{BB962C8B-B14F-4D97-AF65-F5344CB8AC3E}">
        <p14:creationId xmlns:p14="http://schemas.microsoft.com/office/powerpoint/2010/main" val="1143229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4D21DFD-61CF-4141-A858-2E266AE18B7F}"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24589B-0B5D-4C0F-8949-C6D0183DC966}" type="slidenum">
              <a:rPr lang="en-US" smtClean="0"/>
              <a:t>‹#›</a:t>
            </a:fld>
            <a:endParaRPr lang="en-US"/>
          </a:p>
        </p:txBody>
      </p:sp>
    </p:spTree>
    <p:extLst>
      <p:ext uri="{BB962C8B-B14F-4D97-AF65-F5344CB8AC3E}">
        <p14:creationId xmlns:p14="http://schemas.microsoft.com/office/powerpoint/2010/main" val="29839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D21DFD-61CF-4141-A858-2E266AE18B7F}"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24589B-0B5D-4C0F-8949-C6D0183DC966}" type="slidenum">
              <a:rPr lang="en-US" smtClean="0"/>
              <a:t>‹#›</a:t>
            </a:fld>
            <a:endParaRPr lang="en-US"/>
          </a:p>
        </p:txBody>
      </p:sp>
    </p:spTree>
    <p:extLst>
      <p:ext uri="{BB962C8B-B14F-4D97-AF65-F5344CB8AC3E}">
        <p14:creationId xmlns:p14="http://schemas.microsoft.com/office/powerpoint/2010/main" val="36394594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D21DFD-61CF-4141-A858-2E266AE18B7F}"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24589B-0B5D-4C0F-8949-C6D0183DC966}" type="slidenum">
              <a:rPr lang="en-US" smtClean="0"/>
              <a:t>‹#›</a:t>
            </a:fld>
            <a:endParaRPr lang="en-US"/>
          </a:p>
        </p:txBody>
      </p:sp>
    </p:spTree>
    <p:extLst>
      <p:ext uri="{BB962C8B-B14F-4D97-AF65-F5344CB8AC3E}">
        <p14:creationId xmlns:p14="http://schemas.microsoft.com/office/powerpoint/2010/main" val="7379924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BF281-BDFD-4A82-8693-1E1AF0B2C58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57C4E07-3B5E-4C07-9F8E-F9F1E56101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C81352-2693-4A72-90A5-CD3BA61AF9C2}"/>
              </a:ext>
            </a:extLst>
          </p:cNvPr>
          <p:cNvSpPr>
            <a:spLocks noGrp="1"/>
          </p:cNvSpPr>
          <p:nvPr>
            <p:ph type="dt" sz="half" idx="10"/>
          </p:nvPr>
        </p:nvSpPr>
        <p:spPr/>
        <p:txBody>
          <a:bodyPr/>
          <a:lstStyle/>
          <a:p>
            <a:fld id="{5E55F939-5DEC-4100-B3F8-D30CCB0CCEF4}" type="datetimeFigureOut">
              <a:rPr lang="en-US" smtClean="0"/>
              <a:t>7/15/2021</a:t>
            </a:fld>
            <a:endParaRPr lang="en-US"/>
          </a:p>
        </p:txBody>
      </p:sp>
      <p:sp>
        <p:nvSpPr>
          <p:cNvPr id="5" name="Footer Placeholder 4">
            <a:extLst>
              <a:ext uri="{FF2B5EF4-FFF2-40B4-BE49-F238E27FC236}">
                <a16:creationId xmlns:a16="http://schemas.microsoft.com/office/drawing/2014/main" id="{5A380CD1-D9C6-48D7-8EB0-84A991D9F8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533F7A-7CA4-48CC-987B-C14076D514BC}"/>
              </a:ext>
            </a:extLst>
          </p:cNvPr>
          <p:cNvSpPr>
            <a:spLocks noGrp="1"/>
          </p:cNvSpPr>
          <p:nvPr>
            <p:ph type="sldNum" sz="quarter" idx="12"/>
          </p:nvPr>
        </p:nvSpPr>
        <p:spPr/>
        <p:txBody>
          <a:bodyPr/>
          <a:lstStyle/>
          <a:p>
            <a:fld id="{1E92F771-347E-429E-8BA9-5BDFD2E266D1}" type="slidenum">
              <a:rPr lang="en-US" smtClean="0"/>
              <a:t>‹#›</a:t>
            </a:fld>
            <a:endParaRPr lang="en-US"/>
          </a:p>
        </p:txBody>
      </p:sp>
    </p:spTree>
    <p:extLst>
      <p:ext uri="{BB962C8B-B14F-4D97-AF65-F5344CB8AC3E}">
        <p14:creationId xmlns:p14="http://schemas.microsoft.com/office/powerpoint/2010/main" val="22044609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9BB32-6EF0-48B6-A484-C06CC7D995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5E0254-594A-4F25-9F41-EA524F2B786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A4C385-41F6-4179-86D7-BC4D469791C1}"/>
              </a:ext>
            </a:extLst>
          </p:cNvPr>
          <p:cNvSpPr>
            <a:spLocks noGrp="1"/>
          </p:cNvSpPr>
          <p:nvPr>
            <p:ph type="dt" sz="half" idx="10"/>
          </p:nvPr>
        </p:nvSpPr>
        <p:spPr/>
        <p:txBody>
          <a:bodyPr/>
          <a:lstStyle/>
          <a:p>
            <a:fld id="{5E55F939-5DEC-4100-B3F8-D30CCB0CCEF4}" type="datetimeFigureOut">
              <a:rPr lang="en-US" smtClean="0"/>
              <a:t>7/15/2021</a:t>
            </a:fld>
            <a:endParaRPr lang="en-US"/>
          </a:p>
        </p:txBody>
      </p:sp>
      <p:sp>
        <p:nvSpPr>
          <p:cNvPr id="5" name="Footer Placeholder 4">
            <a:extLst>
              <a:ext uri="{FF2B5EF4-FFF2-40B4-BE49-F238E27FC236}">
                <a16:creationId xmlns:a16="http://schemas.microsoft.com/office/drawing/2014/main" id="{96D741DB-2208-4E34-B415-23DD88D456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F772C3-7F26-4A90-B3CE-2745624DD6D4}"/>
              </a:ext>
            </a:extLst>
          </p:cNvPr>
          <p:cNvSpPr>
            <a:spLocks noGrp="1"/>
          </p:cNvSpPr>
          <p:nvPr>
            <p:ph type="sldNum" sz="quarter" idx="12"/>
          </p:nvPr>
        </p:nvSpPr>
        <p:spPr/>
        <p:txBody>
          <a:bodyPr/>
          <a:lstStyle/>
          <a:p>
            <a:fld id="{1E92F771-347E-429E-8BA9-5BDFD2E266D1}" type="slidenum">
              <a:rPr lang="en-US" smtClean="0"/>
              <a:t>‹#›</a:t>
            </a:fld>
            <a:endParaRPr lang="en-US"/>
          </a:p>
        </p:txBody>
      </p:sp>
    </p:spTree>
    <p:extLst>
      <p:ext uri="{BB962C8B-B14F-4D97-AF65-F5344CB8AC3E}">
        <p14:creationId xmlns:p14="http://schemas.microsoft.com/office/powerpoint/2010/main" val="7137797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B9A88-330E-4EDE-B123-A88D9BCE857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E214D88-5659-496E-8C77-C426B6D617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D23EF0-91AF-4514-999E-9A6688EC0DC8}"/>
              </a:ext>
            </a:extLst>
          </p:cNvPr>
          <p:cNvSpPr>
            <a:spLocks noGrp="1"/>
          </p:cNvSpPr>
          <p:nvPr>
            <p:ph type="dt" sz="half" idx="10"/>
          </p:nvPr>
        </p:nvSpPr>
        <p:spPr/>
        <p:txBody>
          <a:bodyPr/>
          <a:lstStyle/>
          <a:p>
            <a:fld id="{5E55F939-5DEC-4100-B3F8-D30CCB0CCEF4}" type="datetimeFigureOut">
              <a:rPr lang="en-US" smtClean="0"/>
              <a:t>7/15/2021</a:t>
            </a:fld>
            <a:endParaRPr lang="en-US"/>
          </a:p>
        </p:txBody>
      </p:sp>
      <p:sp>
        <p:nvSpPr>
          <p:cNvPr id="5" name="Footer Placeholder 4">
            <a:extLst>
              <a:ext uri="{FF2B5EF4-FFF2-40B4-BE49-F238E27FC236}">
                <a16:creationId xmlns:a16="http://schemas.microsoft.com/office/drawing/2014/main" id="{1BC8240C-0FED-4D4B-91B7-6FA224C94A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10D56D-17CD-4EE1-AB09-D8BF07EADBBA}"/>
              </a:ext>
            </a:extLst>
          </p:cNvPr>
          <p:cNvSpPr>
            <a:spLocks noGrp="1"/>
          </p:cNvSpPr>
          <p:nvPr>
            <p:ph type="sldNum" sz="quarter" idx="12"/>
          </p:nvPr>
        </p:nvSpPr>
        <p:spPr/>
        <p:txBody>
          <a:bodyPr/>
          <a:lstStyle/>
          <a:p>
            <a:fld id="{1E92F771-347E-429E-8BA9-5BDFD2E266D1}" type="slidenum">
              <a:rPr lang="en-US" smtClean="0"/>
              <a:t>‹#›</a:t>
            </a:fld>
            <a:endParaRPr lang="en-US"/>
          </a:p>
        </p:txBody>
      </p:sp>
    </p:spTree>
    <p:extLst>
      <p:ext uri="{BB962C8B-B14F-4D97-AF65-F5344CB8AC3E}">
        <p14:creationId xmlns:p14="http://schemas.microsoft.com/office/powerpoint/2010/main" val="3357346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A1C68-811F-4CA1-9388-EDDECBDAD4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93EF43-4418-4BFC-B5C7-86BD558FB62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49261A1-88FD-4ACD-8DB4-6AB7190076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F5363B-E320-4F39-96EE-29921C62E77F}"/>
              </a:ext>
            </a:extLst>
          </p:cNvPr>
          <p:cNvSpPr>
            <a:spLocks noGrp="1"/>
          </p:cNvSpPr>
          <p:nvPr>
            <p:ph type="dt" sz="half" idx="10"/>
          </p:nvPr>
        </p:nvSpPr>
        <p:spPr/>
        <p:txBody>
          <a:bodyPr/>
          <a:lstStyle/>
          <a:p>
            <a:fld id="{5E55F939-5DEC-4100-B3F8-D30CCB0CCEF4}" type="datetimeFigureOut">
              <a:rPr lang="en-US" smtClean="0"/>
              <a:t>7/15/2021</a:t>
            </a:fld>
            <a:endParaRPr lang="en-US"/>
          </a:p>
        </p:txBody>
      </p:sp>
      <p:sp>
        <p:nvSpPr>
          <p:cNvPr id="6" name="Footer Placeholder 5">
            <a:extLst>
              <a:ext uri="{FF2B5EF4-FFF2-40B4-BE49-F238E27FC236}">
                <a16:creationId xmlns:a16="http://schemas.microsoft.com/office/drawing/2014/main" id="{8C248EAC-6C45-486C-90A8-405574A4119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90D737-EC6E-4D4C-85C6-060A6D958519}"/>
              </a:ext>
            </a:extLst>
          </p:cNvPr>
          <p:cNvSpPr>
            <a:spLocks noGrp="1"/>
          </p:cNvSpPr>
          <p:nvPr>
            <p:ph type="sldNum" sz="quarter" idx="12"/>
          </p:nvPr>
        </p:nvSpPr>
        <p:spPr/>
        <p:txBody>
          <a:bodyPr/>
          <a:lstStyle/>
          <a:p>
            <a:fld id="{1E92F771-347E-429E-8BA9-5BDFD2E266D1}" type="slidenum">
              <a:rPr lang="en-US" smtClean="0"/>
              <a:t>‹#›</a:t>
            </a:fld>
            <a:endParaRPr lang="en-US"/>
          </a:p>
        </p:txBody>
      </p:sp>
    </p:spTree>
    <p:extLst>
      <p:ext uri="{BB962C8B-B14F-4D97-AF65-F5344CB8AC3E}">
        <p14:creationId xmlns:p14="http://schemas.microsoft.com/office/powerpoint/2010/main" val="2601959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6"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8"/>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0" y="2057400"/>
            <a:ext cx="3932236" cy="3811588"/>
          </a:xfrm>
        </p:spPr>
        <p:txBody>
          <a:bodyPr/>
          <a:lstStyle>
            <a:lvl1pPr marL="0" indent="0">
              <a:buNone/>
              <a:defRPr sz="1600"/>
            </a:lvl1pPr>
            <a:lvl2pPr marL="457195" indent="0">
              <a:buNone/>
              <a:defRPr sz="1401"/>
            </a:lvl2pPr>
            <a:lvl3pPr marL="914388" indent="0">
              <a:buNone/>
              <a:defRPr sz="1200"/>
            </a:lvl3pPr>
            <a:lvl4pPr marL="1371583" indent="0">
              <a:buNone/>
              <a:defRPr sz="1001"/>
            </a:lvl4pPr>
            <a:lvl5pPr marL="1828777" indent="0">
              <a:buNone/>
              <a:defRPr sz="1001"/>
            </a:lvl5pPr>
            <a:lvl6pPr marL="2285972" indent="0">
              <a:buNone/>
              <a:defRPr sz="1001"/>
            </a:lvl6pPr>
            <a:lvl7pPr marL="2743165" indent="0">
              <a:buNone/>
              <a:defRPr sz="1001"/>
            </a:lvl7pPr>
            <a:lvl8pPr marL="3200360" indent="0">
              <a:buNone/>
              <a:defRPr sz="1001"/>
            </a:lvl8pPr>
            <a:lvl9pPr marL="3657555" indent="0">
              <a:buNone/>
              <a:defRPr sz="1001"/>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43229242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325D6-8900-429E-B2E4-48B6025D37A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7DAA692-FDE0-4F7F-906C-2349598FA8A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B15F6AC-86CF-4A30-876C-BA0FD6F341B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55B5C0-95C7-4C1F-8A91-7A66C15EC3C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B4C08F7-E21B-4BCF-9637-56C46BA74C0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8A828D3-A99A-4B43-A714-CFA52AAA9A1F}"/>
              </a:ext>
            </a:extLst>
          </p:cNvPr>
          <p:cNvSpPr>
            <a:spLocks noGrp="1"/>
          </p:cNvSpPr>
          <p:nvPr>
            <p:ph type="dt" sz="half" idx="10"/>
          </p:nvPr>
        </p:nvSpPr>
        <p:spPr/>
        <p:txBody>
          <a:bodyPr/>
          <a:lstStyle/>
          <a:p>
            <a:fld id="{5E55F939-5DEC-4100-B3F8-D30CCB0CCEF4}" type="datetimeFigureOut">
              <a:rPr lang="en-US" smtClean="0"/>
              <a:t>7/15/2021</a:t>
            </a:fld>
            <a:endParaRPr lang="en-US"/>
          </a:p>
        </p:txBody>
      </p:sp>
      <p:sp>
        <p:nvSpPr>
          <p:cNvPr id="8" name="Footer Placeholder 7">
            <a:extLst>
              <a:ext uri="{FF2B5EF4-FFF2-40B4-BE49-F238E27FC236}">
                <a16:creationId xmlns:a16="http://schemas.microsoft.com/office/drawing/2014/main" id="{B3A8FCDF-791E-4EB7-A756-2E610DC4F91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86FA5CA-CA92-4DED-9DC8-5605DD0C1F61}"/>
              </a:ext>
            </a:extLst>
          </p:cNvPr>
          <p:cNvSpPr>
            <a:spLocks noGrp="1"/>
          </p:cNvSpPr>
          <p:nvPr>
            <p:ph type="sldNum" sz="quarter" idx="12"/>
          </p:nvPr>
        </p:nvSpPr>
        <p:spPr/>
        <p:txBody>
          <a:bodyPr/>
          <a:lstStyle/>
          <a:p>
            <a:fld id="{1E92F771-347E-429E-8BA9-5BDFD2E266D1}" type="slidenum">
              <a:rPr lang="en-US" smtClean="0"/>
              <a:t>‹#›</a:t>
            </a:fld>
            <a:endParaRPr lang="en-US"/>
          </a:p>
        </p:txBody>
      </p:sp>
    </p:spTree>
    <p:extLst>
      <p:ext uri="{BB962C8B-B14F-4D97-AF65-F5344CB8AC3E}">
        <p14:creationId xmlns:p14="http://schemas.microsoft.com/office/powerpoint/2010/main" val="37484640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A7D6A-B6CE-4A20-883B-2526C934E3C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04A3830-86CE-4CAD-8A6E-5B68C807D12C}"/>
              </a:ext>
            </a:extLst>
          </p:cNvPr>
          <p:cNvSpPr>
            <a:spLocks noGrp="1"/>
          </p:cNvSpPr>
          <p:nvPr>
            <p:ph type="dt" sz="half" idx="10"/>
          </p:nvPr>
        </p:nvSpPr>
        <p:spPr/>
        <p:txBody>
          <a:bodyPr/>
          <a:lstStyle/>
          <a:p>
            <a:fld id="{5E55F939-5DEC-4100-B3F8-D30CCB0CCEF4}" type="datetimeFigureOut">
              <a:rPr lang="en-US" smtClean="0"/>
              <a:t>7/15/2021</a:t>
            </a:fld>
            <a:endParaRPr lang="en-US"/>
          </a:p>
        </p:txBody>
      </p:sp>
      <p:sp>
        <p:nvSpPr>
          <p:cNvPr id="4" name="Footer Placeholder 3">
            <a:extLst>
              <a:ext uri="{FF2B5EF4-FFF2-40B4-BE49-F238E27FC236}">
                <a16:creationId xmlns:a16="http://schemas.microsoft.com/office/drawing/2014/main" id="{65E2E3A4-4474-4DC7-B578-B2F4B457F53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62C543D-0759-48CC-9953-26A1965E35AF}"/>
              </a:ext>
            </a:extLst>
          </p:cNvPr>
          <p:cNvSpPr>
            <a:spLocks noGrp="1"/>
          </p:cNvSpPr>
          <p:nvPr>
            <p:ph type="sldNum" sz="quarter" idx="12"/>
          </p:nvPr>
        </p:nvSpPr>
        <p:spPr/>
        <p:txBody>
          <a:bodyPr/>
          <a:lstStyle/>
          <a:p>
            <a:fld id="{1E92F771-347E-429E-8BA9-5BDFD2E266D1}" type="slidenum">
              <a:rPr lang="en-US" smtClean="0"/>
              <a:t>‹#›</a:t>
            </a:fld>
            <a:endParaRPr lang="en-US"/>
          </a:p>
        </p:txBody>
      </p:sp>
    </p:spTree>
    <p:extLst>
      <p:ext uri="{BB962C8B-B14F-4D97-AF65-F5344CB8AC3E}">
        <p14:creationId xmlns:p14="http://schemas.microsoft.com/office/powerpoint/2010/main" val="12344157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BF660B-05EA-41B1-80ED-E1802C8361B5}"/>
              </a:ext>
            </a:extLst>
          </p:cNvPr>
          <p:cNvSpPr>
            <a:spLocks noGrp="1"/>
          </p:cNvSpPr>
          <p:nvPr>
            <p:ph type="dt" sz="half" idx="10"/>
          </p:nvPr>
        </p:nvSpPr>
        <p:spPr/>
        <p:txBody>
          <a:bodyPr/>
          <a:lstStyle/>
          <a:p>
            <a:fld id="{5E55F939-5DEC-4100-B3F8-D30CCB0CCEF4}" type="datetimeFigureOut">
              <a:rPr lang="en-US" smtClean="0"/>
              <a:t>7/15/2021</a:t>
            </a:fld>
            <a:endParaRPr lang="en-US"/>
          </a:p>
        </p:txBody>
      </p:sp>
      <p:sp>
        <p:nvSpPr>
          <p:cNvPr id="3" name="Footer Placeholder 2">
            <a:extLst>
              <a:ext uri="{FF2B5EF4-FFF2-40B4-BE49-F238E27FC236}">
                <a16:creationId xmlns:a16="http://schemas.microsoft.com/office/drawing/2014/main" id="{085FE222-2E53-4456-B11B-F3E733743D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907E9D6-7C3A-4F13-A085-0CBB4C544F0B}"/>
              </a:ext>
            </a:extLst>
          </p:cNvPr>
          <p:cNvSpPr>
            <a:spLocks noGrp="1"/>
          </p:cNvSpPr>
          <p:nvPr>
            <p:ph type="sldNum" sz="quarter" idx="12"/>
          </p:nvPr>
        </p:nvSpPr>
        <p:spPr/>
        <p:txBody>
          <a:bodyPr/>
          <a:lstStyle/>
          <a:p>
            <a:fld id="{1E92F771-347E-429E-8BA9-5BDFD2E266D1}" type="slidenum">
              <a:rPr lang="en-US" smtClean="0"/>
              <a:t>‹#›</a:t>
            </a:fld>
            <a:endParaRPr lang="en-US"/>
          </a:p>
        </p:txBody>
      </p:sp>
    </p:spTree>
    <p:extLst>
      <p:ext uri="{BB962C8B-B14F-4D97-AF65-F5344CB8AC3E}">
        <p14:creationId xmlns:p14="http://schemas.microsoft.com/office/powerpoint/2010/main" val="3146860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EEFA9-8B6B-42AE-9725-C4750D84A4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61711B0-DFF5-452C-808A-1DFC86D157B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94E4F01-E62D-4DA5-A527-3E9F2B54FA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438609-717A-4B17-B235-1A6BF04585D0}"/>
              </a:ext>
            </a:extLst>
          </p:cNvPr>
          <p:cNvSpPr>
            <a:spLocks noGrp="1"/>
          </p:cNvSpPr>
          <p:nvPr>
            <p:ph type="dt" sz="half" idx="10"/>
          </p:nvPr>
        </p:nvSpPr>
        <p:spPr/>
        <p:txBody>
          <a:bodyPr/>
          <a:lstStyle/>
          <a:p>
            <a:fld id="{5E55F939-5DEC-4100-B3F8-D30CCB0CCEF4}" type="datetimeFigureOut">
              <a:rPr lang="en-US" smtClean="0"/>
              <a:t>7/15/2021</a:t>
            </a:fld>
            <a:endParaRPr lang="en-US"/>
          </a:p>
        </p:txBody>
      </p:sp>
      <p:sp>
        <p:nvSpPr>
          <p:cNvPr id="6" name="Footer Placeholder 5">
            <a:extLst>
              <a:ext uri="{FF2B5EF4-FFF2-40B4-BE49-F238E27FC236}">
                <a16:creationId xmlns:a16="http://schemas.microsoft.com/office/drawing/2014/main" id="{0DBCF522-1947-4041-8CCE-68B35680A8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F41680-E4CB-4202-AFE0-779233A8BBB1}"/>
              </a:ext>
            </a:extLst>
          </p:cNvPr>
          <p:cNvSpPr>
            <a:spLocks noGrp="1"/>
          </p:cNvSpPr>
          <p:nvPr>
            <p:ph type="sldNum" sz="quarter" idx="12"/>
          </p:nvPr>
        </p:nvSpPr>
        <p:spPr/>
        <p:txBody>
          <a:bodyPr/>
          <a:lstStyle/>
          <a:p>
            <a:fld id="{1E92F771-347E-429E-8BA9-5BDFD2E266D1}" type="slidenum">
              <a:rPr lang="en-US" smtClean="0"/>
              <a:t>‹#›</a:t>
            </a:fld>
            <a:endParaRPr lang="en-US"/>
          </a:p>
        </p:txBody>
      </p:sp>
    </p:spTree>
    <p:extLst>
      <p:ext uri="{BB962C8B-B14F-4D97-AF65-F5344CB8AC3E}">
        <p14:creationId xmlns:p14="http://schemas.microsoft.com/office/powerpoint/2010/main" val="219271793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93AE0-10AB-4E51-8938-B10484B322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DA9A7B-112A-48D6-8AFC-2E1AEF1294D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B594CEF-FFEA-4E56-948F-1DD3D22971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281B39E-18BB-4A66-B090-84A2F9FB0956}"/>
              </a:ext>
            </a:extLst>
          </p:cNvPr>
          <p:cNvSpPr>
            <a:spLocks noGrp="1"/>
          </p:cNvSpPr>
          <p:nvPr>
            <p:ph type="dt" sz="half" idx="10"/>
          </p:nvPr>
        </p:nvSpPr>
        <p:spPr/>
        <p:txBody>
          <a:bodyPr/>
          <a:lstStyle/>
          <a:p>
            <a:fld id="{5E55F939-5DEC-4100-B3F8-D30CCB0CCEF4}" type="datetimeFigureOut">
              <a:rPr lang="en-US" smtClean="0"/>
              <a:t>7/15/2021</a:t>
            </a:fld>
            <a:endParaRPr lang="en-US"/>
          </a:p>
        </p:txBody>
      </p:sp>
      <p:sp>
        <p:nvSpPr>
          <p:cNvPr id="6" name="Footer Placeholder 5">
            <a:extLst>
              <a:ext uri="{FF2B5EF4-FFF2-40B4-BE49-F238E27FC236}">
                <a16:creationId xmlns:a16="http://schemas.microsoft.com/office/drawing/2014/main" id="{47E6F8BB-60EA-4A37-8451-887C210A3F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AE1121-9B39-40DA-B0ED-48F4E42B4564}"/>
              </a:ext>
            </a:extLst>
          </p:cNvPr>
          <p:cNvSpPr>
            <a:spLocks noGrp="1"/>
          </p:cNvSpPr>
          <p:nvPr>
            <p:ph type="sldNum" sz="quarter" idx="12"/>
          </p:nvPr>
        </p:nvSpPr>
        <p:spPr/>
        <p:txBody>
          <a:bodyPr/>
          <a:lstStyle/>
          <a:p>
            <a:fld id="{1E92F771-347E-429E-8BA9-5BDFD2E266D1}" type="slidenum">
              <a:rPr lang="en-US" smtClean="0"/>
              <a:t>‹#›</a:t>
            </a:fld>
            <a:endParaRPr lang="en-US"/>
          </a:p>
        </p:txBody>
      </p:sp>
    </p:spTree>
    <p:extLst>
      <p:ext uri="{BB962C8B-B14F-4D97-AF65-F5344CB8AC3E}">
        <p14:creationId xmlns:p14="http://schemas.microsoft.com/office/powerpoint/2010/main" val="374123686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AE418-4D0C-44AE-88FA-E025B9F5761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F5203-5A13-4A87-8537-141F366035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2625C7-E055-479F-9826-19E3D14FC91B}"/>
              </a:ext>
            </a:extLst>
          </p:cNvPr>
          <p:cNvSpPr>
            <a:spLocks noGrp="1"/>
          </p:cNvSpPr>
          <p:nvPr>
            <p:ph type="dt" sz="half" idx="10"/>
          </p:nvPr>
        </p:nvSpPr>
        <p:spPr/>
        <p:txBody>
          <a:bodyPr/>
          <a:lstStyle/>
          <a:p>
            <a:fld id="{5E55F939-5DEC-4100-B3F8-D30CCB0CCEF4}" type="datetimeFigureOut">
              <a:rPr lang="en-US" smtClean="0"/>
              <a:t>7/15/2021</a:t>
            </a:fld>
            <a:endParaRPr lang="en-US"/>
          </a:p>
        </p:txBody>
      </p:sp>
      <p:sp>
        <p:nvSpPr>
          <p:cNvPr id="5" name="Footer Placeholder 4">
            <a:extLst>
              <a:ext uri="{FF2B5EF4-FFF2-40B4-BE49-F238E27FC236}">
                <a16:creationId xmlns:a16="http://schemas.microsoft.com/office/drawing/2014/main" id="{0AFF7DC8-029B-4E41-910D-B9C185C4B2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D634F4-668B-4B08-A714-E7088EE6D036}"/>
              </a:ext>
            </a:extLst>
          </p:cNvPr>
          <p:cNvSpPr>
            <a:spLocks noGrp="1"/>
          </p:cNvSpPr>
          <p:nvPr>
            <p:ph type="sldNum" sz="quarter" idx="12"/>
          </p:nvPr>
        </p:nvSpPr>
        <p:spPr/>
        <p:txBody>
          <a:bodyPr/>
          <a:lstStyle/>
          <a:p>
            <a:fld id="{1E92F771-347E-429E-8BA9-5BDFD2E266D1}" type="slidenum">
              <a:rPr lang="en-US" smtClean="0"/>
              <a:t>‹#›</a:t>
            </a:fld>
            <a:endParaRPr lang="en-US"/>
          </a:p>
        </p:txBody>
      </p:sp>
    </p:spTree>
    <p:extLst>
      <p:ext uri="{BB962C8B-B14F-4D97-AF65-F5344CB8AC3E}">
        <p14:creationId xmlns:p14="http://schemas.microsoft.com/office/powerpoint/2010/main" val="19522482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2DD7800-0232-4FE7-919E-4BA396D0E04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4A8427D-C62C-46A0-920C-907D8B9086A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3326CB7-D883-4F2E-A5A4-4EA7207956F7}"/>
              </a:ext>
            </a:extLst>
          </p:cNvPr>
          <p:cNvSpPr>
            <a:spLocks noGrp="1"/>
          </p:cNvSpPr>
          <p:nvPr>
            <p:ph type="dt" sz="half" idx="10"/>
          </p:nvPr>
        </p:nvSpPr>
        <p:spPr/>
        <p:txBody>
          <a:bodyPr/>
          <a:lstStyle/>
          <a:p>
            <a:fld id="{5E55F939-5DEC-4100-B3F8-D30CCB0CCEF4}" type="datetimeFigureOut">
              <a:rPr lang="en-US" smtClean="0"/>
              <a:t>7/15/2021</a:t>
            </a:fld>
            <a:endParaRPr lang="en-US"/>
          </a:p>
        </p:txBody>
      </p:sp>
      <p:sp>
        <p:nvSpPr>
          <p:cNvPr id="5" name="Footer Placeholder 4">
            <a:extLst>
              <a:ext uri="{FF2B5EF4-FFF2-40B4-BE49-F238E27FC236}">
                <a16:creationId xmlns:a16="http://schemas.microsoft.com/office/drawing/2014/main" id="{B92BB4E2-26AE-406C-A88E-55CAD6A5A0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27EC5D-9FC9-41FB-B828-C51E0B615371}"/>
              </a:ext>
            </a:extLst>
          </p:cNvPr>
          <p:cNvSpPr>
            <a:spLocks noGrp="1"/>
          </p:cNvSpPr>
          <p:nvPr>
            <p:ph type="sldNum" sz="quarter" idx="12"/>
          </p:nvPr>
        </p:nvSpPr>
        <p:spPr/>
        <p:txBody>
          <a:bodyPr/>
          <a:lstStyle/>
          <a:p>
            <a:fld id="{1E92F771-347E-429E-8BA9-5BDFD2E266D1}" type="slidenum">
              <a:rPr lang="en-US" smtClean="0"/>
              <a:t>‹#›</a:t>
            </a:fld>
            <a:endParaRPr lang="en-US"/>
          </a:p>
        </p:txBody>
      </p:sp>
    </p:spTree>
    <p:extLst>
      <p:ext uri="{BB962C8B-B14F-4D97-AF65-F5344CB8AC3E}">
        <p14:creationId xmlns:p14="http://schemas.microsoft.com/office/powerpoint/2010/main" val="37390377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bg1"/>
        </a:solid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75201" y="208724"/>
            <a:ext cx="1806181" cy="299276"/>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solidFill>
                  <a:schemeClr val="bg1"/>
                </a:solidFill>
              </a:endParaRPr>
            </a:p>
          </p:txBody>
        </p:sp>
      </p:grpSp>
    </p:spTree>
    <p:extLst>
      <p:ext uri="{BB962C8B-B14F-4D97-AF65-F5344CB8AC3E}">
        <p14:creationId xmlns:p14="http://schemas.microsoft.com/office/powerpoint/2010/main" val="41398449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3038286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041FB17-1715-41EB-9C96-125286CD3609}"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12930280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6"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8"/>
            <a:ext cx="6172201" cy="4873625"/>
          </a:xfrm>
        </p:spPr>
        <p:txBody>
          <a:bodyPr anchor="t"/>
          <a:lstStyle>
            <a:lvl1pPr marL="0" indent="0">
              <a:buNone/>
              <a:defRPr sz="3200"/>
            </a:lvl1pPr>
            <a:lvl2pPr marL="457195" indent="0">
              <a:buNone/>
              <a:defRPr sz="2800"/>
            </a:lvl2pPr>
            <a:lvl3pPr marL="914388" indent="0">
              <a:buNone/>
              <a:defRPr sz="2400"/>
            </a:lvl3pPr>
            <a:lvl4pPr marL="1371583" indent="0">
              <a:buNone/>
              <a:defRPr sz="2000"/>
            </a:lvl4pPr>
            <a:lvl5pPr marL="1828777" indent="0">
              <a:buNone/>
              <a:defRPr sz="2000"/>
            </a:lvl5pPr>
            <a:lvl6pPr marL="2285972" indent="0">
              <a:buNone/>
              <a:defRPr sz="2000"/>
            </a:lvl6pPr>
            <a:lvl7pPr marL="2743165" indent="0">
              <a:buNone/>
              <a:defRPr sz="2000"/>
            </a:lvl7pPr>
            <a:lvl8pPr marL="3200360" indent="0">
              <a:buNone/>
              <a:defRPr sz="2000"/>
            </a:lvl8pPr>
            <a:lvl9pPr marL="3657555" indent="0">
              <a:buNone/>
              <a:defRPr sz="2000"/>
            </a:lvl9pPr>
          </a:lstStyle>
          <a:p>
            <a:endParaRPr lang="en-US"/>
          </a:p>
        </p:txBody>
      </p:sp>
      <p:sp>
        <p:nvSpPr>
          <p:cNvPr id="4" name="Text Placeholder 3"/>
          <p:cNvSpPr>
            <a:spLocks noGrp="1"/>
          </p:cNvSpPr>
          <p:nvPr>
            <p:ph type="body" sz="half" idx="2"/>
          </p:nvPr>
        </p:nvSpPr>
        <p:spPr>
          <a:xfrm>
            <a:off x="839790" y="2057400"/>
            <a:ext cx="3932236" cy="3811588"/>
          </a:xfrm>
        </p:spPr>
        <p:txBody>
          <a:bodyPr/>
          <a:lstStyle>
            <a:lvl1pPr marL="0" indent="0">
              <a:buNone/>
              <a:defRPr sz="1600"/>
            </a:lvl1pPr>
            <a:lvl2pPr marL="457195" indent="0">
              <a:buNone/>
              <a:defRPr sz="1401"/>
            </a:lvl2pPr>
            <a:lvl3pPr marL="914388" indent="0">
              <a:buNone/>
              <a:defRPr sz="1200"/>
            </a:lvl3pPr>
            <a:lvl4pPr marL="1371583" indent="0">
              <a:buNone/>
              <a:defRPr sz="1001"/>
            </a:lvl4pPr>
            <a:lvl5pPr marL="1828777" indent="0">
              <a:buNone/>
              <a:defRPr sz="1001"/>
            </a:lvl5pPr>
            <a:lvl6pPr marL="2285972" indent="0">
              <a:buNone/>
              <a:defRPr sz="1001"/>
            </a:lvl6pPr>
            <a:lvl7pPr marL="2743165" indent="0">
              <a:buNone/>
              <a:defRPr sz="1001"/>
            </a:lvl7pPr>
            <a:lvl8pPr marL="3200360" indent="0">
              <a:buNone/>
              <a:defRPr sz="1001"/>
            </a:lvl8pPr>
            <a:lvl9pPr marL="3657555" indent="0">
              <a:buNone/>
              <a:defRPr sz="1001"/>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5624574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041FB17-1715-41EB-9C96-125286CD3609}"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37545298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041FB17-1715-41EB-9C96-125286CD3609}"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416833304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041FB17-1715-41EB-9C96-125286CD3609}"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18773849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041FB17-1715-41EB-9C96-125286CD3609}" type="datetimeFigureOut">
              <a:rPr lang="en-US" smtClean="0"/>
              <a:t>7/1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275177852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041FB17-1715-41EB-9C96-125286CD3609}" type="datetimeFigureOut">
              <a:rPr lang="en-US" smtClean="0"/>
              <a:t>7/1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13960854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041FB17-1715-41EB-9C96-125286CD3609}" type="datetimeFigureOut">
              <a:rPr lang="en-US" smtClean="0"/>
              <a:t>7/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39430428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041FB17-1715-41EB-9C96-125286CD3609}"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250413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041FB17-1715-41EB-9C96-125286CD3609}" type="datetimeFigureOut">
              <a:rPr lang="en-US" smtClean="0"/>
              <a:t>7/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1712099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041FB17-1715-41EB-9C96-125286CD3609}"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26606753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041FB17-1715-41EB-9C96-125286CD3609}" type="datetimeFigureOut">
              <a:rPr lang="en-US" smtClean="0"/>
              <a:t>7/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2954EB-DB7D-463D-AD19-9C626C3A3150}" type="slidenum">
              <a:rPr lang="en-US" smtClean="0"/>
              <a:t>‹#›</a:t>
            </a:fld>
            <a:endParaRPr lang="en-US"/>
          </a:p>
        </p:txBody>
      </p:sp>
    </p:spTree>
    <p:extLst>
      <p:ext uri="{BB962C8B-B14F-4D97-AF65-F5344CB8AC3E}">
        <p14:creationId xmlns:p14="http://schemas.microsoft.com/office/powerpoint/2010/main" val="1686217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slideLayout" Target="../slideLayouts/slideLayout61.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42" Type="http://schemas.openxmlformats.org/officeDocument/2006/relationships/slideLayout" Target="../slideLayouts/slideLayout64.xml"/><Relationship Id="rId47" Type="http://schemas.openxmlformats.org/officeDocument/2006/relationships/image" Target="../media/image3.emf"/><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slideLayout" Target="../slideLayouts/slideLayout62.xml"/><Relationship Id="rId45" Type="http://schemas.openxmlformats.org/officeDocument/2006/relationships/tags" Target="../tags/tag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4" Type="http://schemas.openxmlformats.org/officeDocument/2006/relationships/vmlDrawing" Target="../drawings/vmlDrawing1.v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43" Type="http://schemas.openxmlformats.org/officeDocument/2006/relationships/theme" Target="../theme/theme2.xml"/><Relationship Id="rId8" Type="http://schemas.openxmlformats.org/officeDocument/2006/relationships/slideLayout" Target="../slideLayouts/slideLayout30.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slideLayout" Target="../slideLayouts/slideLayout60.xml"/><Relationship Id="rId46" Type="http://schemas.openxmlformats.org/officeDocument/2006/relationships/oleObject" Target="../embeddings/oleObject1.bin"/><Relationship Id="rId20" Type="http://schemas.openxmlformats.org/officeDocument/2006/relationships/slideLayout" Target="../slideLayouts/slideLayout42.xml"/><Relationship Id="rId41" Type="http://schemas.openxmlformats.org/officeDocument/2006/relationships/slideLayout" Target="../slideLayouts/slideLayout6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3.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theme" Target="../theme/theme6.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theme" Target="../theme/theme7.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34" Type="http://schemas.openxmlformats.org/officeDocument/2006/relationships/tags" Target="../tags/tag5.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vmlDrawing" Target="../drawings/vmlDrawing4.v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theme" Target="../theme/theme8.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image" Target="../media/image3.emf"/><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oleObject" Target="../embeddings/oleObject4.bin"/><Relationship Id="rId8" Type="http://schemas.openxmlformats.org/officeDocument/2006/relationships/slideLayout" Target="../slideLayouts/slideLayout13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heme" Target="../theme/theme9.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365128"/>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3"/>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7/15/2021</a:t>
            </a:fld>
            <a:endParaRPr lang="en-US"/>
          </a:p>
        </p:txBody>
      </p:sp>
      <p:sp>
        <p:nvSpPr>
          <p:cNvPr id="5" name="Footer Placeholder 4"/>
          <p:cNvSpPr>
            <a:spLocks noGrp="1"/>
          </p:cNvSpPr>
          <p:nvPr>
            <p:ph type="ftr" sz="quarter" idx="3"/>
          </p:nvPr>
        </p:nvSpPr>
        <p:spPr>
          <a:xfrm>
            <a:off x="4038602" y="635635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1" y="6356353"/>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pic>
        <p:nvPicPr>
          <p:cNvPr id="7" name="Picture Placeholder 8">
            <a:extLst>
              <a:ext uri="{FF2B5EF4-FFF2-40B4-BE49-F238E27FC236}">
                <a16:creationId xmlns:a16="http://schemas.microsoft.com/office/drawing/2014/main" id="{7E5C602E-22EA-4114-8226-960EFEBFA145}"/>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11481664" y="40412"/>
            <a:ext cx="649431" cy="649431"/>
          </a:xfrm>
          <a:prstGeom prst="rect">
            <a:avLst/>
          </a:prstGeom>
        </p:spPr>
      </p:pic>
    </p:spTree>
    <p:extLst>
      <p:ext uri="{BB962C8B-B14F-4D97-AF65-F5344CB8AC3E}">
        <p14:creationId xmlns:p14="http://schemas.microsoft.com/office/powerpoint/2010/main" val="958528584"/>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1" r:id="rId14"/>
    <p:sldLayoutId id="2147483984" r:id="rId15"/>
    <p:sldLayoutId id="2147483985" r:id="rId16"/>
    <p:sldLayoutId id="2147483986" r:id="rId17"/>
    <p:sldLayoutId id="2147483987" r:id="rId18"/>
    <p:sldLayoutId id="2147483988" r:id="rId19"/>
    <p:sldLayoutId id="2147483989" r:id="rId20"/>
    <p:sldLayoutId id="2147484032" r:id="rId21"/>
    <p:sldLayoutId id="2147484103" r:id="rId22"/>
  </p:sldLayoutIdLst>
  <p:transition>
    <p:fade/>
  </p:transition>
  <p:txStyles>
    <p:titleStyle>
      <a:lvl1pPr algn="l" defTabSz="91438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7" indent="-228597" algn="l" defTabSz="914388"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792" indent="-228597" algn="l" defTabSz="9143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5" indent="-228597" algn="l" defTabSz="9143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0"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375"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568"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63"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57"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52"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88" rtl="0" eaLnBrk="1" latinLnBrk="0" hangingPunct="1">
        <a:defRPr sz="1801" kern="1200">
          <a:solidFill>
            <a:schemeClr val="tx1"/>
          </a:solidFill>
          <a:latin typeface="+mn-lt"/>
          <a:ea typeface="+mn-ea"/>
          <a:cs typeface="+mn-cs"/>
        </a:defRPr>
      </a:lvl1pPr>
      <a:lvl2pPr marL="457195" algn="l" defTabSz="914388" rtl="0" eaLnBrk="1" latinLnBrk="0" hangingPunct="1">
        <a:defRPr sz="1801" kern="1200">
          <a:solidFill>
            <a:schemeClr val="tx1"/>
          </a:solidFill>
          <a:latin typeface="+mn-lt"/>
          <a:ea typeface="+mn-ea"/>
          <a:cs typeface="+mn-cs"/>
        </a:defRPr>
      </a:lvl2pPr>
      <a:lvl3pPr marL="914388" algn="l" defTabSz="914388" rtl="0" eaLnBrk="1" latinLnBrk="0" hangingPunct="1">
        <a:defRPr sz="1801" kern="1200">
          <a:solidFill>
            <a:schemeClr val="tx1"/>
          </a:solidFill>
          <a:latin typeface="+mn-lt"/>
          <a:ea typeface="+mn-ea"/>
          <a:cs typeface="+mn-cs"/>
        </a:defRPr>
      </a:lvl3pPr>
      <a:lvl4pPr marL="1371583" algn="l" defTabSz="914388" rtl="0" eaLnBrk="1" latinLnBrk="0" hangingPunct="1">
        <a:defRPr sz="1801" kern="1200">
          <a:solidFill>
            <a:schemeClr val="tx1"/>
          </a:solidFill>
          <a:latin typeface="+mn-lt"/>
          <a:ea typeface="+mn-ea"/>
          <a:cs typeface="+mn-cs"/>
        </a:defRPr>
      </a:lvl4pPr>
      <a:lvl5pPr marL="1828777" algn="l" defTabSz="914388" rtl="0" eaLnBrk="1" latinLnBrk="0" hangingPunct="1">
        <a:defRPr sz="1801" kern="1200">
          <a:solidFill>
            <a:schemeClr val="tx1"/>
          </a:solidFill>
          <a:latin typeface="+mn-lt"/>
          <a:ea typeface="+mn-ea"/>
          <a:cs typeface="+mn-cs"/>
        </a:defRPr>
      </a:lvl5pPr>
      <a:lvl6pPr marL="2285972" algn="l" defTabSz="914388" rtl="0" eaLnBrk="1" latinLnBrk="0" hangingPunct="1">
        <a:defRPr sz="1801" kern="1200">
          <a:solidFill>
            <a:schemeClr val="tx1"/>
          </a:solidFill>
          <a:latin typeface="+mn-lt"/>
          <a:ea typeface="+mn-ea"/>
          <a:cs typeface="+mn-cs"/>
        </a:defRPr>
      </a:lvl6pPr>
      <a:lvl7pPr marL="2743165" algn="l" defTabSz="914388" rtl="0" eaLnBrk="1" latinLnBrk="0" hangingPunct="1">
        <a:defRPr sz="1801" kern="1200">
          <a:solidFill>
            <a:schemeClr val="tx1"/>
          </a:solidFill>
          <a:latin typeface="+mn-lt"/>
          <a:ea typeface="+mn-ea"/>
          <a:cs typeface="+mn-cs"/>
        </a:defRPr>
      </a:lvl7pPr>
      <a:lvl8pPr marL="3200360" algn="l" defTabSz="914388" rtl="0" eaLnBrk="1" latinLnBrk="0" hangingPunct="1">
        <a:defRPr sz="1801" kern="1200">
          <a:solidFill>
            <a:schemeClr val="tx1"/>
          </a:solidFill>
          <a:latin typeface="+mn-lt"/>
          <a:ea typeface="+mn-ea"/>
          <a:cs typeface="+mn-cs"/>
        </a:defRPr>
      </a:lvl8pPr>
      <a:lvl9pPr marL="3657555" algn="l" defTabSz="914388"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77"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userDrawn="1"/>
        </p:nvSpPr>
        <p:spPr>
          <a:xfrm>
            <a:off x="501649" y="6477000"/>
            <a:ext cx="5355168"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a:solidFill>
                  <a:schemeClr val="tx1"/>
                </a:solidFill>
                <a:latin typeface="+mn-lt"/>
              </a:rPr>
              <a:t>Copyright © 2020 Deloitte Development LLC. All rights reserve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userDrawn="1"/>
        </p:nvSpPr>
        <p:spPr>
          <a:xfrm>
            <a:off x="11382377" y="6477001"/>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442695915"/>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104" r:id="rId4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D21DFD-61CF-4141-A858-2E266AE18B7F}" type="datetimeFigureOut">
              <a:rPr lang="en-US" smtClean="0"/>
              <a:t>7/15/2021</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24589B-0B5D-4C0F-8949-C6D0183DC966}" type="slidenum">
              <a:rPr lang="en-US" smtClean="0"/>
              <a:t>‹#›</a:t>
            </a:fld>
            <a:endParaRPr lang="en-US"/>
          </a:p>
        </p:txBody>
      </p:sp>
    </p:spTree>
    <p:extLst>
      <p:ext uri="{BB962C8B-B14F-4D97-AF65-F5344CB8AC3E}">
        <p14:creationId xmlns:p14="http://schemas.microsoft.com/office/powerpoint/2010/main" val="32090946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A64560-639D-48F5-BA8F-7A7B3CAC93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AF72A11-7F86-49FB-9C1A-7FFA47F888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093BDB-16ED-43D4-B60C-AF6E4E1711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55F939-5DEC-4100-B3F8-D30CCB0CCEF4}" type="datetimeFigureOut">
              <a:rPr lang="en-US" smtClean="0"/>
              <a:t>7/15/2021</a:t>
            </a:fld>
            <a:endParaRPr lang="en-US"/>
          </a:p>
        </p:txBody>
      </p:sp>
      <p:sp>
        <p:nvSpPr>
          <p:cNvPr id="5" name="Footer Placeholder 4">
            <a:extLst>
              <a:ext uri="{FF2B5EF4-FFF2-40B4-BE49-F238E27FC236}">
                <a16:creationId xmlns:a16="http://schemas.microsoft.com/office/drawing/2014/main" id="{3F67E0B0-C26C-44A3-B3D7-2066000EEB5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7A1F1E0-4616-4CCA-A493-51094D58DEC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92F771-347E-429E-8BA9-5BDFD2E266D1}" type="slidenum">
              <a:rPr lang="en-US" smtClean="0"/>
              <a:t>‹#›</a:t>
            </a:fld>
            <a:endParaRPr lang="en-US"/>
          </a:p>
        </p:txBody>
      </p:sp>
    </p:spTree>
    <p:extLst>
      <p:ext uri="{BB962C8B-B14F-4D97-AF65-F5344CB8AC3E}">
        <p14:creationId xmlns:p14="http://schemas.microsoft.com/office/powerpoint/2010/main" val="2552472250"/>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41FB17-1715-41EB-9C96-125286CD3609}" type="datetimeFigureOut">
              <a:rPr lang="en-US" smtClean="0"/>
              <a:t>7/15/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954EB-DB7D-463D-AD19-9C626C3A3150}" type="slidenum">
              <a:rPr lang="en-US" smtClean="0"/>
              <a:t>‹#›</a:t>
            </a:fld>
            <a:endParaRPr lang="en-US"/>
          </a:p>
        </p:txBody>
      </p:sp>
    </p:spTree>
    <p:extLst>
      <p:ext uri="{BB962C8B-B14F-4D97-AF65-F5344CB8AC3E}">
        <p14:creationId xmlns:p14="http://schemas.microsoft.com/office/powerpoint/2010/main" val="570428675"/>
      </p:ext>
    </p:extLst>
  </p:cSld>
  <p:clrMap bg1="dk1" tx1="lt1" bg2="dk2" tx2="lt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latin typeface="Verdana" panose="020B0604030504040204" pitchFamily="34" charset="0"/>
                <a:ea typeface="Verdana" panose="020B0604030504040204" pitchFamily="34" charset="0"/>
              </a:rPr>
              <a:pPr marL="0" indent="0" algn="r">
                <a:spcBef>
                  <a:spcPts val="800"/>
                </a:spcBef>
                <a:buSzPct val="100000"/>
                <a:buFont typeface="Arial"/>
                <a:buNone/>
              </a:pPr>
              <a:t>‹#›</a:t>
            </a:fld>
            <a:endParaRPr lang="en-GB" sz="650" noProof="0">
              <a:solidFill>
                <a:schemeClr val="tx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317656692"/>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477447701"/>
      </p:ext>
    </p:extLst>
  </p:cSld>
  <p:clrMap bg1="dk1" tx1="lt1" bg2="dk2" tx2="lt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0" r:id="rId12"/>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4145"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72584060"/>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Lst>
  <p:transition>
    <p:fade/>
  </p:transition>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A0D69CD-15A7-4058-8451-75AEA053768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3E621B0-36EA-44B8-9D2E-0E0773BFD57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E9F8E9-111B-49B4-90C2-CDBCA4A44EC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B6FDB2-05A4-456F-9B34-7850E34BBD46}" type="datetimeFigureOut">
              <a:rPr lang="en-US" smtClean="0"/>
              <a:t>7/15/2021</a:t>
            </a:fld>
            <a:endParaRPr lang="en-US"/>
          </a:p>
        </p:txBody>
      </p:sp>
      <p:sp>
        <p:nvSpPr>
          <p:cNvPr id="5" name="Footer Placeholder 4">
            <a:extLst>
              <a:ext uri="{FF2B5EF4-FFF2-40B4-BE49-F238E27FC236}">
                <a16:creationId xmlns:a16="http://schemas.microsoft.com/office/drawing/2014/main" id="{F70C92C0-CD7F-4FF5-B703-C947DC62D7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7144ECE-0818-4F31-9298-FF4E60153CA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5AE4363-2AB4-4A6A-9A55-E5D8ABFBEF9D}" type="slidenum">
              <a:rPr lang="en-US" smtClean="0"/>
              <a:t>‹#›</a:t>
            </a:fld>
            <a:endParaRPr lang="en-US"/>
          </a:p>
        </p:txBody>
      </p:sp>
    </p:spTree>
    <p:extLst>
      <p:ext uri="{BB962C8B-B14F-4D97-AF65-F5344CB8AC3E}">
        <p14:creationId xmlns:p14="http://schemas.microsoft.com/office/powerpoint/2010/main" val="866450703"/>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 id="214748411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9.xml"/></Relationships>
</file>

<file path=ppt/slides/_rels/slide11.xml.rels><?xml version="1.0" encoding="UTF-8" standalone="yes"?>
<Relationships xmlns="http://schemas.openxmlformats.org/package/2006/relationships"><Relationship Id="rId2" Type="http://schemas.openxmlformats.org/officeDocument/2006/relationships/image" Target="../media/image13.gif"/><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6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10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23.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54.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hemeOverride" Target="../theme/themeOverride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14.xml"/><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hyperlink" Target="https://openclipart.org/detail/165163/yellow-star" TargetMode="External"/><Relationship Id="rId2" Type="http://schemas.openxmlformats.org/officeDocument/2006/relationships/image" Target="../media/image26.png"/><Relationship Id="rId1" Type="http://schemas.openxmlformats.org/officeDocument/2006/relationships/slideLayout" Target="../slideLayouts/slideLayout5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4.xml"/><Relationship Id="rId6" Type="http://schemas.openxmlformats.org/officeDocument/2006/relationships/hyperlink" Target="http://englishreadygo.blogspot.com/2014_03_01_archive.html" TargetMode="External"/><Relationship Id="rId5" Type="http://schemas.openxmlformats.org/officeDocument/2006/relationships/image" Target="../media/image29.png"/><Relationship Id="rId4" Type="http://schemas.openxmlformats.org/officeDocument/2006/relationships/hyperlink" Target="https://commons.wikimedia.org/wiki/File:CELstart-rocket.png" TargetMode="External"/></Relationships>
</file>

<file path=ppt/slides/_rels/slide5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4.xml"/></Relationships>
</file>

<file path=ppt/slides/_rels/slide5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64.xml"/><Relationship Id="rId6" Type="http://schemas.openxmlformats.org/officeDocument/2006/relationships/hyperlink" Target="https://commons.wikimedia.org/wiki/File:CELstart-rocket.png" TargetMode="External"/><Relationship Id="rId5" Type="http://schemas.openxmlformats.org/officeDocument/2006/relationships/image" Target="../media/image28.png"/><Relationship Id="rId4" Type="http://schemas.openxmlformats.org/officeDocument/2006/relationships/hyperlink" Target="https://en.wikipedia.org/wiki/File:Stop_hand.svg" TargetMode="Externa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34.gif"/><Relationship Id="rId2" Type="http://schemas.openxmlformats.org/officeDocument/2006/relationships/image" Target="../media/image33.png"/><Relationship Id="rId1" Type="http://schemas.openxmlformats.org/officeDocument/2006/relationships/slideLayout" Target="../slideLayouts/slideLayout64.xml"/><Relationship Id="rId6" Type="http://schemas.openxmlformats.org/officeDocument/2006/relationships/hyperlink" Target="https://en.wikipedia.org/wiki/File:Stop_hand.svg" TargetMode="External"/><Relationship Id="rId5" Type="http://schemas.openxmlformats.org/officeDocument/2006/relationships/image" Target="../media/image32.png"/><Relationship Id="rId4" Type="http://schemas.openxmlformats.org/officeDocument/2006/relationships/hyperlink" Target="http://ipkitten.blogspot.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5.png"/><Relationship Id="rId1" Type="http://schemas.openxmlformats.org/officeDocument/2006/relationships/slideLayout" Target="../slideLayouts/slideLayout64.xml"/><Relationship Id="rId6" Type="http://schemas.openxmlformats.org/officeDocument/2006/relationships/hyperlink" Target="http://englishreadygo.blogspot.com/2014_03_01_archive.html" TargetMode="External"/><Relationship Id="rId5" Type="http://schemas.openxmlformats.org/officeDocument/2006/relationships/image" Target="../media/image29.png"/><Relationship Id="rId4" Type="http://schemas.openxmlformats.org/officeDocument/2006/relationships/hyperlink" Target="https://commons.wikimedia.org/wiki/File:CELstart-rocket.png" TargetMode="External"/></Relationships>
</file>

<file path=ppt/slides/_rels/slide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4.xml"/></Relationships>
</file>

<file path=ppt/slides/_rels/slide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7.png"/><Relationship Id="rId1" Type="http://schemas.openxmlformats.org/officeDocument/2006/relationships/slideLayout" Target="../slideLayouts/slideLayout64.xml"/><Relationship Id="rId4" Type="http://schemas.openxmlformats.org/officeDocument/2006/relationships/hyperlink" Target="https://en.wikipedia.org/wiki/File:Stop_hand.svg"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8.png"/><Relationship Id="rId1" Type="http://schemas.openxmlformats.org/officeDocument/2006/relationships/slideLayout" Target="../slideLayouts/slideLayout62.xml"/><Relationship Id="rId4" Type="http://schemas.openxmlformats.org/officeDocument/2006/relationships/hyperlink" Target="https://en.wikipedia.org/wiki/File:Stop_hand.svg" TargetMode="External"/></Relationships>
</file>

<file path=ppt/slides/_rels/slide65.xml.rels><?xml version="1.0" encoding="UTF-8" standalone="yes"?>
<Relationships xmlns="http://schemas.openxmlformats.org/package/2006/relationships"><Relationship Id="rId8" Type="http://schemas.openxmlformats.org/officeDocument/2006/relationships/hyperlink" Target="http://englishreadygo.blogspot.com/2014_03_01_archive.html" TargetMode="External"/><Relationship Id="rId3" Type="http://schemas.openxmlformats.org/officeDocument/2006/relationships/image" Target="../media/image34.gif"/><Relationship Id="rId7" Type="http://schemas.openxmlformats.org/officeDocument/2006/relationships/image" Target="../media/image29.png"/><Relationship Id="rId2" Type="http://schemas.openxmlformats.org/officeDocument/2006/relationships/image" Target="../media/image39.png"/><Relationship Id="rId1" Type="http://schemas.openxmlformats.org/officeDocument/2006/relationships/slideLayout" Target="../slideLayouts/slideLayout62.xml"/><Relationship Id="rId6" Type="http://schemas.openxmlformats.org/officeDocument/2006/relationships/hyperlink" Target="https://commons.wikimedia.org/wiki/File:CELstart-rocket.png" TargetMode="External"/><Relationship Id="rId5" Type="http://schemas.openxmlformats.org/officeDocument/2006/relationships/image" Target="../media/image28.png"/><Relationship Id="rId4" Type="http://schemas.openxmlformats.org/officeDocument/2006/relationships/hyperlink" Target="http://ipkitten.blogspot.com/" TargetMode="External"/></Relationships>
</file>

<file path=ppt/slides/_rels/slide6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2.xml"/></Relationships>
</file>

<file path=ppt/slides/_rels/slide6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2.xml"/></Relationships>
</file>

<file path=ppt/slides/_rels/slide6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2.xml"/></Relationships>
</file>

<file path=ppt/slides/_rels/slide6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4.png"/><Relationship Id="rId1" Type="http://schemas.openxmlformats.org/officeDocument/2006/relationships/slideLayout" Target="../slideLayouts/slideLayout62.xml"/><Relationship Id="rId4" Type="http://schemas.openxmlformats.org/officeDocument/2006/relationships/hyperlink" Target="https://en.wikipedia.org/wiki/File:Stop_hand.svg" TargetMode="External"/></Relationships>
</file>

<file path=ppt/slides/_rels/slide7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46.png"/><Relationship Id="rId7" Type="http://schemas.openxmlformats.org/officeDocument/2006/relationships/hyperlink" Target="http://ipkitten.blogspot.com/" TargetMode="External"/><Relationship Id="rId2" Type="http://schemas.openxmlformats.org/officeDocument/2006/relationships/image" Target="../media/image45.png"/><Relationship Id="rId1" Type="http://schemas.openxmlformats.org/officeDocument/2006/relationships/slideLayout" Target="../slideLayouts/slideLayout62.xml"/><Relationship Id="rId6" Type="http://schemas.openxmlformats.org/officeDocument/2006/relationships/image" Target="../media/image34.gif"/><Relationship Id="rId5" Type="http://schemas.openxmlformats.org/officeDocument/2006/relationships/hyperlink" Target="http://englishreadygo.blogspot.com/2014_03_01_archive.html" TargetMode="External"/><Relationship Id="rId4" Type="http://schemas.openxmlformats.org/officeDocument/2006/relationships/image" Target="../media/image29.png"/><Relationship Id="rId9" Type="http://schemas.openxmlformats.org/officeDocument/2006/relationships/hyperlink" Target="https://en.wikipedia.org/wiki/File:Stop_hand.svg" TargetMode="External"/></Relationships>
</file>

<file path=ppt/slides/_rels/slide7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2.xml"/></Relationships>
</file>

<file path=ppt/slides/_rels/slide7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2.xml"/></Relationships>
</file>

<file path=ppt/slides/_rels/slide7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2.xml"/></Relationships>
</file>

<file path=ppt/slides/_rels/slide7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2.xml"/></Relationships>
</file>

<file path=ppt/slides/_rels/slide7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1.png"/><Relationship Id="rId1" Type="http://schemas.openxmlformats.org/officeDocument/2006/relationships/slideLayout" Target="../slideLayouts/slideLayout62.xml"/><Relationship Id="rId4" Type="http://schemas.openxmlformats.org/officeDocument/2006/relationships/hyperlink" Target="https://en.wikipedia.org/wiki/File:Stop_hand.svg" TargetMode="External"/></Relationships>
</file>

<file path=ppt/slides/_rels/slide77.xml.rels><?xml version="1.0" encoding="UTF-8" standalone="yes"?>
<Relationships xmlns="http://schemas.openxmlformats.org/package/2006/relationships"><Relationship Id="rId8" Type="http://schemas.openxmlformats.org/officeDocument/2006/relationships/hyperlink" Target="http://ipkitten.blogspot.com/" TargetMode="External"/><Relationship Id="rId3" Type="http://schemas.openxmlformats.org/officeDocument/2006/relationships/image" Target="../media/image28.png"/><Relationship Id="rId7" Type="http://schemas.openxmlformats.org/officeDocument/2006/relationships/image" Target="../media/image34.gif"/><Relationship Id="rId2" Type="http://schemas.openxmlformats.org/officeDocument/2006/relationships/image" Target="../media/image52.png"/><Relationship Id="rId1" Type="http://schemas.openxmlformats.org/officeDocument/2006/relationships/slideLayout" Target="../slideLayouts/slideLayout62.xml"/><Relationship Id="rId6" Type="http://schemas.openxmlformats.org/officeDocument/2006/relationships/hyperlink" Target="https://en.wikipedia.org/wiki/File:Stop_hand.svg" TargetMode="External"/><Relationship Id="rId5" Type="http://schemas.openxmlformats.org/officeDocument/2006/relationships/image" Target="../media/image32.png"/><Relationship Id="rId4" Type="http://schemas.openxmlformats.org/officeDocument/2006/relationships/hyperlink" Target="https://commons.wikimedia.org/wiki/File:CELstart-rocket.png"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3.png"/><Relationship Id="rId1" Type="http://schemas.openxmlformats.org/officeDocument/2006/relationships/slideLayout" Target="../slideLayouts/slideLayout62.xml"/><Relationship Id="rId4" Type="http://schemas.openxmlformats.org/officeDocument/2006/relationships/hyperlink" Target="http://englishreadygo.blogspot.com/2014_03_01_archive.html" TargetMode="Externa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9.xml"/><Relationship Id="rId5" Type="http://schemas.openxmlformats.org/officeDocument/2006/relationships/image" Target="../media/image11.png"/><Relationship Id="rId4"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6565273" y="3212019"/>
            <a:ext cx="3764903" cy="2018957"/>
          </a:xfrm>
        </p:spPr>
        <p:txBody>
          <a:bodyPr vert="horz" lIns="68580" tIns="34292" rIns="68580" bIns="34292" rtlCol="0" anchor="b" anchorCtr="0">
            <a:noAutofit/>
          </a:bodyPr>
          <a:lstStyle/>
          <a:p>
            <a:pPr marL="0" indent="0">
              <a:spcBef>
                <a:spcPts val="0"/>
              </a:spcBef>
              <a:buNone/>
            </a:pPr>
            <a:r>
              <a:rPr lang="en-US" sz="2000" b="1">
                <a:solidFill>
                  <a:srgbClr val="000000"/>
                </a:solidFill>
                <a:latin typeface="Open Sans"/>
                <a:ea typeface="Open Sans" panose="020B0606030504020204" pitchFamily="34" charset="0"/>
                <a:cs typeface="Open Sans" panose="020B0606030504020204" pitchFamily="34" charset="0"/>
              </a:rPr>
              <a:t>Audit Transformations</a:t>
            </a:r>
          </a:p>
          <a:p>
            <a:pPr marL="0" indent="0">
              <a:spcBef>
                <a:spcPts val="0"/>
              </a:spcBef>
              <a:buNone/>
            </a:pPr>
            <a:endParaRPr lang="en-US" sz="20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indent="0">
              <a:lnSpc>
                <a:spcPct val="150000"/>
              </a:lnSpc>
              <a:spcBef>
                <a:spcPts val="0"/>
              </a:spcBef>
              <a:buNone/>
            </a:pPr>
            <a:r>
              <a:rPr lang="en-US" sz="1800" b="1">
                <a:solidFill>
                  <a:schemeClr val="tx1">
                    <a:lumMod val="50000"/>
                    <a:lumOff val="50000"/>
                  </a:schemeClr>
                </a:solidFill>
                <a:latin typeface="Open Sans"/>
                <a:ea typeface="Open Sans" panose="020B0606030504020204" pitchFamily="34" charset="0"/>
                <a:cs typeface="Open Sans" panose="020B0606030504020204" pitchFamily="34" charset="0"/>
              </a:rPr>
              <a:t>GRA|RADC|EMS|CMS Diagnostics| AQMM</a:t>
            </a:r>
            <a:endParaRPr lang="en-US" sz="1800">
              <a:solidFill>
                <a:schemeClr val="tx1">
                  <a:lumMod val="50000"/>
                  <a:lumOff val="50000"/>
                </a:schemeClr>
              </a:solidFill>
            </a:endParaRPr>
          </a:p>
          <a:p>
            <a:pPr marL="0" indent="0">
              <a:spcBef>
                <a:spcPts val="0"/>
              </a:spcBef>
              <a:buNone/>
            </a:pPr>
            <a:endParaRPr lang="en-US" sz="20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indent="0">
              <a:spcBef>
                <a:spcPts val="0"/>
              </a:spcBef>
              <a:buNone/>
            </a:pPr>
            <a:endParaRPr lang="en-US" sz="2000" b="1">
              <a:latin typeface="Open Sans" panose="020B0606030504020204" pitchFamily="34" charset="0"/>
              <a:ea typeface="Open Sans" panose="020B0606030504020204" pitchFamily="34" charset="0"/>
              <a:cs typeface="Open Sans" panose="020B0606030504020204" pitchFamily="34" charset="0"/>
            </a:endParaRPr>
          </a:p>
          <a:p>
            <a:pPr marL="0" indent="0">
              <a:spcBef>
                <a:spcPts val="0"/>
              </a:spcBef>
              <a:buNone/>
            </a:pPr>
            <a:r>
              <a:rPr lang="en-US" sz="2000" b="1" err="1">
                <a:latin typeface="Open Sans"/>
                <a:ea typeface="Open Sans" panose="020B0606030504020204" pitchFamily="34" charset="0"/>
                <a:cs typeface="Open Sans" panose="020B0606030504020204" pitchFamily="34" charset="0"/>
              </a:rPr>
              <a:t>SAFe</a:t>
            </a:r>
            <a:r>
              <a:rPr lang="en-US" sz="2000" b="1">
                <a:latin typeface="Open Sans"/>
                <a:ea typeface="Open Sans" panose="020B0606030504020204" pitchFamily="34" charset="0"/>
                <a:cs typeface="Open Sans" panose="020B0606030504020204" pitchFamily="34" charset="0"/>
              </a:rPr>
              <a:t> PI Planning</a:t>
            </a:r>
            <a:endParaRPr lang="en-US" sz="1400" baseline="30000">
              <a:solidFill>
                <a:schemeClr val="tx1">
                  <a:lumMod val="50000"/>
                  <a:lumOff val="50000"/>
                </a:schemeClr>
              </a:solidFill>
              <a:latin typeface="Open Sans"/>
              <a:ea typeface="Open Sans" panose="020B0606030504020204" pitchFamily="34" charset="0"/>
              <a:cs typeface="Open Sans" panose="020B0606030504020204" pitchFamily="34" charset="0"/>
            </a:endParaRPr>
          </a:p>
          <a:p>
            <a:pPr marL="0" indent="0">
              <a:buNone/>
            </a:pPr>
            <a:r>
              <a:rPr lang="en-US" sz="1400">
                <a:solidFill>
                  <a:schemeClr val="tx1">
                    <a:lumMod val="50000"/>
                    <a:lumOff val="50000"/>
                  </a:schemeClr>
                </a:solidFill>
                <a:latin typeface="Open Sans"/>
                <a:ea typeface="Open Sans" panose="020B0606030504020204" pitchFamily="34" charset="0"/>
                <a:cs typeface="Open Sans" panose="020B0606030504020204" pitchFamily="34" charset="0"/>
              </a:rPr>
              <a:t>13 July – 15 July, 2021</a:t>
            </a:r>
            <a:endParaRPr lang="en-US" sz="1400" baseline="30000">
              <a:solidFill>
                <a:schemeClr val="tx1">
                  <a:lumMod val="50000"/>
                  <a:lumOff val="50000"/>
                </a:schemeClr>
              </a:solidFill>
              <a:latin typeface="Open Sans"/>
              <a:ea typeface="Open Sans" panose="020B0606030504020204" pitchFamily="34" charset="0"/>
              <a:cs typeface="Open Sans" panose="020B0606030504020204" pitchFamily="34" charset="0"/>
            </a:endParaRPr>
          </a:p>
        </p:txBody>
      </p:sp>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8096" y="916946"/>
            <a:ext cx="5278632" cy="5278632"/>
          </a:xfrm>
          <a:prstGeom prst="rect">
            <a:avLst/>
          </a:prstGeom>
        </p:spPr>
      </p:pic>
    </p:spTree>
    <p:extLst>
      <p:ext uri="{BB962C8B-B14F-4D97-AF65-F5344CB8AC3E}">
        <p14:creationId xmlns:p14="http://schemas.microsoft.com/office/powerpoint/2010/main" val="366156426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E54B7D9-2279-40AF-B392-293E41F44EAF}"/>
              </a:ext>
            </a:extLst>
          </p:cNvPr>
          <p:cNvPicPr>
            <a:picLocks noChangeAspect="1"/>
          </p:cNvPicPr>
          <p:nvPr/>
        </p:nvPicPr>
        <p:blipFill>
          <a:blip r:embed="rId2"/>
          <a:stretch>
            <a:fillRect/>
          </a:stretch>
        </p:blipFill>
        <p:spPr>
          <a:xfrm>
            <a:off x="2610525" y="816864"/>
            <a:ext cx="7171840" cy="5693473"/>
          </a:xfrm>
          <a:prstGeom prst="rect">
            <a:avLst/>
          </a:prstGeom>
        </p:spPr>
      </p:pic>
      <p:sp>
        <p:nvSpPr>
          <p:cNvPr id="7" name="TextBox 6">
            <a:extLst>
              <a:ext uri="{FF2B5EF4-FFF2-40B4-BE49-F238E27FC236}">
                <a16:creationId xmlns:a16="http://schemas.microsoft.com/office/drawing/2014/main" id="{F208416F-4F12-489C-BE86-57CF758805DA}"/>
              </a:ext>
            </a:extLst>
          </p:cNvPr>
          <p:cNvSpPr txBox="1"/>
          <p:nvPr/>
        </p:nvSpPr>
        <p:spPr>
          <a:xfrm>
            <a:off x="280416" y="207264"/>
            <a:ext cx="4779264" cy="369332"/>
          </a:xfrm>
          <a:prstGeom prst="rect">
            <a:avLst/>
          </a:prstGeom>
          <a:noFill/>
        </p:spPr>
        <p:txBody>
          <a:bodyPr wrap="square" rtlCol="0">
            <a:spAutoFit/>
          </a:bodyPr>
          <a:lstStyle/>
          <a:p>
            <a:r>
              <a:rPr lang="en-US" sz="1800">
                <a:solidFill>
                  <a:schemeClr val="bg1"/>
                </a:solidFill>
              </a:rPr>
              <a:t>The Bottom Line</a:t>
            </a:r>
          </a:p>
        </p:txBody>
      </p:sp>
      <p:sp>
        <p:nvSpPr>
          <p:cNvPr id="8" name="Rectangle 7">
            <a:extLst>
              <a:ext uri="{FF2B5EF4-FFF2-40B4-BE49-F238E27FC236}">
                <a16:creationId xmlns:a16="http://schemas.microsoft.com/office/drawing/2014/main" id="{5D5215CA-5B97-4940-BBFD-63552076D64B}"/>
              </a:ext>
            </a:extLst>
          </p:cNvPr>
          <p:cNvSpPr/>
          <p:nvPr/>
        </p:nvSpPr>
        <p:spPr>
          <a:xfrm>
            <a:off x="2304288" y="4852416"/>
            <a:ext cx="7973568" cy="165792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2C514C91-6389-4263-B6DE-E51A107B176E}"/>
              </a:ext>
            </a:extLst>
          </p:cNvPr>
          <p:cNvSpPr/>
          <p:nvPr/>
        </p:nvSpPr>
        <p:spPr>
          <a:xfrm>
            <a:off x="2109216" y="1335024"/>
            <a:ext cx="7973568" cy="189585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16224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9">
            <a:extLst>
              <a:ext uri="{FF2B5EF4-FFF2-40B4-BE49-F238E27FC236}">
                <a16:creationId xmlns:a16="http://schemas.microsoft.com/office/drawing/2014/main" id="{C519EE7E-040A-4E65-B989-406716283141}"/>
              </a:ext>
            </a:extLst>
          </p:cNvPr>
          <p:cNvSpPr/>
          <p:nvPr/>
        </p:nvSpPr>
        <p:spPr bwMode="gray">
          <a:xfrm>
            <a:off x="843003" y="1638970"/>
            <a:ext cx="2178873" cy="372714"/>
          </a:xfrm>
          <a:prstGeom prst="roundRect">
            <a:avLst/>
          </a:prstGeom>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Content System (CMS)</a:t>
            </a:r>
          </a:p>
          <a:p>
            <a:pPr algn="ctr" defTabSz="685792">
              <a:lnSpc>
                <a:spcPct val="106000"/>
              </a:lnSpc>
              <a:defRPr/>
            </a:pPr>
            <a:r>
              <a:rPr lang="en-US" sz="700">
                <a:solidFill>
                  <a:prstClr val="black"/>
                </a:solidFill>
                <a:latin typeface="Open Sans" panose="020B0606030504020204" pitchFamily="34" charset="0"/>
                <a:ea typeface="Open Sans" panose="020B0606030504020204" pitchFamily="34" charset="0"/>
                <a:cs typeface="Open Sans" panose="020B0606030504020204" pitchFamily="34" charset="0"/>
              </a:rPr>
              <a:t>Author, Tag, Link, Publish, and Maintain Content</a:t>
            </a: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Rounded Rectangle 15">
            <a:extLst>
              <a:ext uri="{FF2B5EF4-FFF2-40B4-BE49-F238E27FC236}">
                <a16:creationId xmlns:a16="http://schemas.microsoft.com/office/drawing/2014/main" id="{BF14C75C-92AF-471D-B853-E5437DBB85D3}"/>
              </a:ext>
            </a:extLst>
          </p:cNvPr>
          <p:cNvSpPr/>
          <p:nvPr/>
        </p:nvSpPr>
        <p:spPr bwMode="gray">
          <a:xfrm>
            <a:off x="843003" y="2443381"/>
            <a:ext cx="2178873" cy="587206"/>
          </a:xfrm>
          <a:prstGeom prst="roundRect">
            <a:avLst/>
          </a:prstGeom>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Engagement Management System (EMS)</a:t>
            </a:r>
          </a:p>
          <a:p>
            <a:pPr algn="ctr" defTabSz="685792">
              <a:lnSpc>
                <a:spcPct val="106000"/>
              </a:lnSpc>
              <a:defRPr/>
            </a:pPr>
            <a:r>
              <a:rPr lang="en-US" sz="700">
                <a:solidFill>
                  <a:prstClr val="black"/>
                </a:solidFill>
                <a:latin typeface="Open Sans" panose="020B0606030504020204" pitchFamily="34" charset="0"/>
                <a:ea typeface="Open Sans" panose="020B0606030504020204" pitchFamily="34" charset="0"/>
                <a:cs typeface="Open Sans" panose="020B0606030504020204" pitchFamily="34" charset="0"/>
              </a:rPr>
              <a:t>Phase-&gt;Risks-&gt;Controls-&gt;Procedures</a:t>
            </a:r>
          </a:p>
        </p:txBody>
      </p:sp>
      <p:grpSp>
        <p:nvGrpSpPr>
          <p:cNvPr id="22" name="Group 21">
            <a:extLst>
              <a:ext uri="{FF2B5EF4-FFF2-40B4-BE49-F238E27FC236}">
                <a16:creationId xmlns:a16="http://schemas.microsoft.com/office/drawing/2014/main" id="{1B2C3C93-C6E3-4AF1-A5F4-0EF227C1D95C}"/>
              </a:ext>
            </a:extLst>
          </p:cNvPr>
          <p:cNvGrpSpPr/>
          <p:nvPr/>
        </p:nvGrpSpPr>
        <p:grpSpPr>
          <a:xfrm>
            <a:off x="843003" y="5017549"/>
            <a:ext cx="2414141" cy="1337861"/>
            <a:chOff x="381447" y="4407945"/>
            <a:chExt cx="2414141" cy="1337861"/>
          </a:xfrm>
        </p:grpSpPr>
        <p:sp>
          <p:nvSpPr>
            <p:cNvPr id="41" name="Rounded Rectangle 6">
              <a:extLst>
                <a:ext uri="{FF2B5EF4-FFF2-40B4-BE49-F238E27FC236}">
                  <a16:creationId xmlns:a16="http://schemas.microsoft.com/office/drawing/2014/main" id="{CB515BDA-5243-4B6C-9082-C25B631E292D}"/>
                </a:ext>
              </a:extLst>
            </p:cNvPr>
            <p:cNvSpPr/>
            <p:nvPr/>
          </p:nvSpPr>
          <p:spPr bwMode="gray">
            <a:xfrm>
              <a:off x="381447" y="4407945"/>
              <a:ext cx="2414141" cy="1337861"/>
            </a:xfrm>
            <a:prstGeom prst="roundRect">
              <a:avLst>
                <a:gd name="adj" fmla="val 8856"/>
              </a:avLst>
            </a:prstGeom>
            <a:solidFill>
              <a:schemeClr val="bg1"/>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t"/>
            <a:lstStyle/>
            <a:p>
              <a:pPr algn="ctr" defTabSz="685792">
                <a:lnSpc>
                  <a:spcPct val="106000"/>
                </a:lnSpc>
                <a:defRPr/>
              </a:pPr>
              <a:r>
                <a:rPr lang="en-US" sz="800" b="1">
                  <a:latin typeface="Open Sans Semibold" panose="020B0706030804020204" pitchFamily="34" charset="0"/>
                  <a:ea typeface="Open Sans Semibold" panose="020B0706030804020204" pitchFamily="34" charset="0"/>
                  <a:cs typeface="Open Sans Semibold" panose="020B0706030804020204" pitchFamily="34" charset="0"/>
                </a:rPr>
                <a:t>Diagnostics</a:t>
              </a:r>
              <a:endParaRPr lang="en-US" sz="600">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42" name="Rounded Rectangle 6">
              <a:extLst>
                <a:ext uri="{FF2B5EF4-FFF2-40B4-BE49-F238E27FC236}">
                  <a16:creationId xmlns:a16="http://schemas.microsoft.com/office/drawing/2014/main" id="{407676CC-F3B3-4560-A9B7-921A76B7736B}"/>
                </a:ext>
              </a:extLst>
            </p:cNvPr>
            <p:cNvSpPr/>
            <p:nvPr/>
          </p:nvSpPr>
          <p:spPr bwMode="gray">
            <a:xfrm>
              <a:off x="502416" y="4783416"/>
              <a:ext cx="922000" cy="420686"/>
            </a:xfrm>
            <a:prstGeom prst="roundRect">
              <a:avLst/>
            </a:prstGeom>
            <a:solidFill>
              <a:schemeClr val="bg1">
                <a:lumMod val="95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QlikView (QV)</a:t>
              </a:r>
            </a:p>
            <a:p>
              <a:pPr algn="ctr" defTabSz="685792">
                <a:lnSpc>
                  <a:spcPct val="106000"/>
                </a:lnSpc>
                <a:defRPr/>
              </a:pPr>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Monitor Adoption by MF National Office</a:t>
              </a:r>
              <a:endParaRPr lang="en-US" sz="8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Rounded Rectangle 6">
              <a:extLst>
                <a:ext uri="{FF2B5EF4-FFF2-40B4-BE49-F238E27FC236}">
                  <a16:creationId xmlns:a16="http://schemas.microsoft.com/office/drawing/2014/main" id="{0F076B0A-7E3A-4A1E-95F9-A7A648247C63}"/>
                </a:ext>
              </a:extLst>
            </p:cNvPr>
            <p:cNvSpPr/>
            <p:nvPr/>
          </p:nvSpPr>
          <p:spPr bwMode="gray">
            <a:xfrm>
              <a:off x="1533817" y="4744772"/>
              <a:ext cx="1152370" cy="497975"/>
            </a:xfrm>
            <a:prstGeom prst="roundRect">
              <a:avLst/>
            </a:prstGeom>
            <a:solidFill>
              <a:srgbClr val="A6A6A6"/>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Quality Dashboards (DQD)</a:t>
              </a:r>
            </a:p>
            <a:p>
              <a:pPr algn="ctr" defTabSz="685792">
                <a:lnSpc>
                  <a:spcPct val="106000"/>
                </a:lnSpc>
                <a:defRPr/>
              </a:pPr>
              <a:r>
                <a:rPr lang="en-US" sz="600">
                  <a:latin typeface="Open Sans"/>
                  <a:ea typeface="Open Sans" panose="020B0606030504020204" pitchFamily="34" charset="0"/>
                  <a:cs typeface="Open Sans" panose="020B0606030504020204" pitchFamily="34" charset="0"/>
                </a:rPr>
                <a:t>Quality and Milestone indicators for practitioner</a:t>
              </a:r>
            </a:p>
          </p:txBody>
        </p:sp>
        <p:sp>
          <p:nvSpPr>
            <p:cNvPr id="44" name="Rounded Rectangle 6">
              <a:extLst>
                <a:ext uri="{FF2B5EF4-FFF2-40B4-BE49-F238E27FC236}">
                  <a16:creationId xmlns:a16="http://schemas.microsoft.com/office/drawing/2014/main" id="{BEFAF09D-4EE7-4469-9E7D-99C896BF5F3D}"/>
                </a:ext>
              </a:extLst>
            </p:cNvPr>
            <p:cNvSpPr/>
            <p:nvPr/>
          </p:nvSpPr>
          <p:spPr bwMode="gray">
            <a:xfrm>
              <a:off x="502416" y="5355835"/>
              <a:ext cx="2183771" cy="262593"/>
            </a:xfrm>
            <a:prstGeom prst="roundRect">
              <a:avLst/>
            </a:prstGeom>
            <a:solidFill>
              <a:srgbClr val="D9D9D9"/>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Automated Data Push (ADP)</a:t>
              </a:r>
            </a:p>
            <a:p>
              <a:pPr algn="ctr" defTabSz="685792">
                <a:lnSpc>
                  <a:spcPct val="106000"/>
                </a:lnSpc>
                <a:defRPr/>
              </a:pPr>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Share EMS Diagnostics data with ER</a:t>
              </a:r>
            </a:p>
          </p:txBody>
        </p:sp>
      </p:grpSp>
      <p:grpSp>
        <p:nvGrpSpPr>
          <p:cNvPr id="23" name="Group 22">
            <a:extLst>
              <a:ext uri="{FF2B5EF4-FFF2-40B4-BE49-F238E27FC236}">
                <a16:creationId xmlns:a16="http://schemas.microsoft.com/office/drawing/2014/main" id="{D4A46CA9-9DEB-4B21-9F1A-92F31E2B5160}"/>
              </a:ext>
            </a:extLst>
          </p:cNvPr>
          <p:cNvGrpSpPr/>
          <p:nvPr/>
        </p:nvGrpSpPr>
        <p:grpSpPr>
          <a:xfrm>
            <a:off x="4035518" y="1860396"/>
            <a:ext cx="2949991" cy="782800"/>
            <a:chOff x="3573962" y="1250792"/>
            <a:chExt cx="2949991" cy="782800"/>
          </a:xfrm>
        </p:grpSpPr>
        <p:sp>
          <p:nvSpPr>
            <p:cNvPr id="48" name="Rounded Rectangle 19">
              <a:extLst>
                <a:ext uri="{FF2B5EF4-FFF2-40B4-BE49-F238E27FC236}">
                  <a16:creationId xmlns:a16="http://schemas.microsoft.com/office/drawing/2014/main" id="{5F82D795-9517-485C-81B8-5EB2DF7CB84C}"/>
                </a:ext>
              </a:extLst>
            </p:cNvPr>
            <p:cNvSpPr/>
            <p:nvPr/>
          </p:nvSpPr>
          <p:spPr bwMode="gray">
            <a:xfrm>
              <a:off x="3573962" y="1250792"/>
              <a:ext cx="2949991" cy="782800"/>
            </a:xfrm>
            <a:prstGeom prst="roundRect">
              <a:avLst/>
            </a:prstGeom>
            <a:solidFill>
              <a:srgbClr val="A6A6A6"/>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endParaRPr lang="en-US" sz="900" b="1">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Rounded Rectangle 6">
              <a:extLst>
                <a:ext uri="{FF2B5EF4-FFF2-40B4-BE49-F238E27FC236}">
                  <a16:creationId xmlns:a16="http://schemas.microsoft.com/office/drawing/2014/main" id="{1A1A0092-D50D-4C36-A45D-3905E88FBE67}"/>
                </a:ext>
              </a:extLst>
            </p:cNvPr>
            <p:cNvSpPr/>
            <p:nvPr/>
          </p:nvSpPr>
          <p:spPr bwMode="gray">
            <a:xfrm>
              <a:off x="3651616" y="1517396"/>
              <a:ext cx="1318045" cy="302812"/>
            </a:xfrm>
            <a:prstGeom prst="roundRect">
              <a:avLst/>
            </a:prstGeom>
            <a:solidFill>
              <a:schemeClr val="bg1">
                <a:lumMod val="95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GRA – for EMS Files</a:t>
              </a:r>
            </a:p>
          </p:txBody>
        </p:sp>
        <p:sp>
          <p:nvSpPr>
            <p:cNvPr id="52" name="TextBox 51">
              <a:extLst>
                <a:ext uri="{FF2B5EF4-FFF2-40B4-BE49-F238E27FC236}">
                  <a16:creationId xmlns:a16="http://schemas.microsoft.com/office/drawing/2014/main" id="{B3DE7A63-2DF7-49F7-AB05-7214E6CE7ADF}"/>
                </a:ext>
              </a:extLst>
            </p:cNvPr>
            <p:cNvSpPr txBox="1"/>
            <p:nvPr/>
          </p:nvSpPr>
          <p:spPr>
            <a:xfrm>
              <a:off x="3573962" y="1310309"/>
              <a:ext cx="1802996" cy="123111"/>
            </a:xfrm>
            <a:prstGeom prst="rect">
              <a:avLst/>
            </a:prstGeom>
            <a:noFill/>
            <a:ln w="6350">
              <a:noFill/>
            </a:ln>
          </p:spPr>
          <p:txBody>
            <a:bodyPr wrap="square" lIns="0" tIns="0" rIns="0" bIns="0" rtlCol="0">
              <a:spAutoFit/>
            </a:bodyPr>
            <a:lstStyle/>
            <a:p>
              <a:pPr algn="ctr" defTabSz="685792">
                <a:spcBef>
                  <a:spcPts val="452"/>
                </a:spcBef>
                <a:buSzPct val="100000"/>
                <a:defRPr/>
              </a:pPr>
              <a:r>
                <a:rPr lang="en-US" sz="800" b="1">
                  <a:solidFill>
                    <a:srgbClr val="313131"/>
                  </a:solidFill>
                  <a:latin typeface="Open Sans Semibold" panose="020B0706030804020204" pitchFamily="34" charset="0"/>
                  <a:ea typeface="Open Sans Semibold" panose="020B0706030804020204" pitchFamily="34" charset="0"/>
                  <a:cs typeface="Open Sans Semibold" panose="020B0706030804020204" pitchFamily="34" charset="0"/>
                </a:rPr>
                <a:t>Guided Risk Assessment (GRA)</a:t>
              </a:r>
            </a:p>
          </p:txBody>
        </p:sp>
        <p:sp>
          <p:nvSpPr>
            <p:cNvPr id="53" name="Rounded Rectangle 6">
              <a:extLst>
                <a:ext uri="{FF2B5EF4-FFF2-40B4-BE49-F238E27FC236}">
                  <a16:creationId xmlns:a16="http://schemas.microsoft.com/office/drawing/2014/main" id="{C1CDF428-FAFD-424D-9ECB-70135617BE44}"/>
                </a:ext>
              </a:extLst>
            </p:cNvPr>
            <p:cNvSpPr/>
            <p:nvPr/>
          </p:nvSpPr>
          <p:spPr bwMode="gray">
            <a:xfrm>
              <a:off x="5140781" y="1517396"/>
              <a:ext cx="1318045" cy="302812"/>
            </a:xfrm>
            <a:prstGeom prst="roundRect">
              <a:avLst/>
            </a:prstGeom>
            <a:solidFill>
              <a:schemeClr val="bg1">
                <a:lumMod val="95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GRA – for Projects (AS/2 users)</a:t>
              </a:r>
              <a:endParaRPr lang="en-US" sz="5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54" name="Rounded Rectangle 6">
              <a:extLst>
                <a:ext uri="{FF2B5EF4-FFF2-40B4-BE49-F238E27FC236}">
                  <a16:creationId xmlns:a16="http://schemas.microsoft.com/office/drawing/2014/main" id="{7655D1F1-F85C-4622-93BB-D8B44EB60A81}"/>
                </a:ext>
              </a:extLst>
            </p:cNvPr>
            <p:cNvSpPr/>
            <p:nvPr/>
          </p:nvSpPr>
          <p:spPr bwMode="gray">
            <a:xfrm>
              <a:off x="4428262" y="1750700"/>
              <a:ext cx="649417" cy="234972"/>
            </a:xfrm>
            <a:prstGeom prst="roundRect">
              <a:avLst/>
            </a:prstGeom>
            <a:solidFill>
              <a:schemeClr val="accent1">
                <a:lumMod val="20000"/>
                <a:lumOff val="80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GRAPA</a:t>
              </a:r>
            </a:p>
          </p:txBody>
        </p:sp>
      </p:grpSp>
      <p:grpSp>
        <p:nvGrpSpPr>
          <p:cNvPr id="24" name="Group 23">
            <a:extLst>
              <a:ext uri="{FF2B5EF4-FFF2-40B4-BE49-F238E27FC236}">
                <a16:creationId xmlns:a16="http://schemas.microsoft.com/office/drawing/2014/main" id="{F5DA257D-A9CF-4C25-9828-565481D0121E}"/>
              </a:ext>
            </a:extLst>
          </p:cNvPr>
          <p:cNvGrpSpPr/>
          <p:nvPr/>
        </p:nvGrpSpPr>
        <p:grpSpPr>
          <a:xfrm>
            <a:off x="7614102" y="1631876"/>
            <a:ext cx="2949991" cy="1170680"/>
            <a:chOff x="7152546" y="1022272"/>
            <a:chExt cx="2949991" cy="1170680"/>
          </a:xfrm>
        </p:grpSpPr>
        <p:sp>
          <p:nvSpPr>
            <p:cNvPr id="56" name="Rounded Rectangle 19">
              <a:extLst>
                <a:ext uri="{FF2B5EF4-FFF2-40B4-BE49-F238E27FC236}">
                  <a16:creationId xmlns:a16="http://schemas.microsoft.com/office/drawing/2014/main" id="{BF50C290-C49E-4698-8FDD-63FE6DE105DF}"/>
                </a:ext>
              </a:extLst>
            </p:cNvPr>
            <p:cNvSpPr/>
            <p:nvPr/>
          </p:nvSpPr>
          <p:spPr bwMode="gray">
            <a:xfrm>
              <a:off x="7152546" y="1022272"/>
              <a:ext cx="2949991" cy="1170680"/>
            </a:xfrm>
            <a:prstGeom prst="roundRect">
              <a:avLst>
                <a:gd name="adj" fmla="val 8531"/>
              </a:avLst>
            </a:prstGeom>
            <a:solidFill>
              <a:schemeClr val="bg1">
                <a:lumMod val="65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endParaRPr lang="en-US" sz="900" b="1">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Rounded Rectangle 6">
              <a:extLst>
                <a:ext uri="{FF2B5EF4-FFF2-40B4-BE49-F238E27FC236}">
                  <a16:creationId xmlns:a16="http://schemas.microsoft.com/office/drawing/2014/main" id="{653EA323-CAF1-4B2A-BCAB-308ECF4E8C4A}"/>
                </a:ext>
              </a:extLst>
            </p:cNvPr>
            <p:cNvSpPr/>
            <p:nvPr/>
          </p:nvSpPr>
          <p:spPr bwMode="gray">
            <a:xfrm>
              <a:off x="7230201" y="1288876"/>
              <a:ext cx="952442" cy="302812"/>
            </a:xfrm>
            <a:prstGeom prst="roundRect">
              <a:avLst/>
            </a:prstGeom>
            <a:solidFill>
              <a:schemeClr val="bg1">
                <a:lumMod val="95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RADC Execution Plan</a:t>
              </a:r>
            </a:p>
          </p:txBody>
        </p:sp>
        <p:sp>
          <p:nvSpPr>
            <p:cNvPr id="58" name="TextBox 57">
              <a:extLst>
                <a:ext uri="{FF2B5EF4-FFF2-40B4-BE49-F238E27FC236}">
                  <a16:creationId xmlns:a16="http://schemas.microsoft.com/office/drawing/2014/main" id="{5003B8AF-8D25-4362-80CA-25B475B534CB}"/>
                </a:ext>
              </a:extLst>
            </p:cNvPr>
            <p:cNvSpPr txBox="1"/>
            <p:nvPr/>
          </p:nvSpPr>
          <p:spPr>
            <a:xfrm>
              <a:off x="7248345" y="1081789"/>
              <a:ext cx="1802996" cy="123111"/>
            </a:xfrm>
            <a:prstGeom prst="rect">
              <a:avLst/>
            </a:prstGeom>
            <a:noFill/>
          </p:spPr>
          <p:txBody>
            <a:bodyPr wrap="square" lIns="0" tIns="0" rIns="0" bIns="0" rtlCol="0">
              <a:spAutoFit/>
            </a:bodyPr>
            <a:lstStyle/>
            <a:p>
              <a:pPr defTabSz="685792">
                <a:spcBef>
                  <a:spcPts val="452"/>
                </a:spcBef>
                <a:buSzPct val="100000"/>
                <a:defRPr/>
              </a:pPr>
              <a:r>
                <a:rPr lang="en-US" sz="800" b="1">
                  <a:solidFill>
                    <a:srgbClr val="313131"/>
                  </a:solidFill>
                  <a:latin typeface="Open Sans Semibold" panose="020B0706030804020204" pitchFamily="34" charset="0"/>
                  <a:ea typeface="Open Sans Semibold" panose="020B0706030804020204" pitchFamily="34" charset="0"/>
                  <a:cs typeface="Open Sans Semibold" panose="020B0706030804020204" pitchFamily="34" charset="0"/>
                </a:rPr>
                <a:t>RADC Portal</a:t>
              </a:r>
            </a:p>
          </p:txBody>
        </p:sp>
        <p:sp>
          <p:nvSpPr>
            <p:cNvPr id="59" name="Rounded Rectangle 6">
              <a:extLst>
                <a:ext uri="{FF2B5EF4-FFF2-40B4-BE49-F238E27FC236}">
                  <a16:creationId xmlns:a16="http://schemas.microsoft.com/office/drawing/2014/main" id="{55A89BCC-C0E1-4054-AFA1-480D796D29E8}"/>
                </a:ext>
              </a:extLst>
            </p:cNvPr>
            <p:cNvSpPr/>
            <p:nvPr/>
          </p:nvSpPr>
          <p:spPr bwMode="gray">
            <a:xfrm>
              <a:off x="8411243" y="1208512"/>
              <a:ext cx="1624164" cy="468276"/>
            </a:xfrm>
            <a:prstGeom prst="roundRect">
              <a:avLst/>
            </a:prstGeom>
            <a:solidFill>
              <a:schemeClr val="bg1">
                <a:lumMod val="95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RADC Onsite Portal</a:t>
              </a:r>
            </a:p>
            <a:p>
              <a:pPr algn="ctr" defTabSz="685792">
                <a:lnSpc>
                  <a:spcPct val="106000"/>
                </a:lnSpc>
                <a:defRPr/>
              </a:pPr>
              <a:r>
                <a:rPr lang="en-US" sz="800">
                  <a:solidFill>
                    <a:prstClr val="black"/>
                  </a:solidFill>
                  <a:latin typeface="Open Sans" panose="020B0606030504020204" pitchFamily="34" charset="0"/>
                  <a:ea typeface="Open Sans" panose="020B0606030504020204" pitchFamily="34" charset="0"/>
                  <a:cs typeface="Open Sans" panose="020B0606030504020204" pitchFamily="34" charset="0"/>
                </a:rPr>
                <a:t>(Omnia, Levvia, EMS and projects)</a:t>
              </a:r>
            </a:p>
          </p:txBody>
        </p:sp>
        <p:sp>
          <p:nvSpPr>
            <p:cNvPr id="61" name="Rounded Rectangle 6">
              <a:extLst>
                <a:ext uri="{FF2B5EF4-FFF2-40B4-BE49-F238E27FC236}">
                  <a16:creationId xmlns:a16="http://schemas.microsoft.com/office/drawing/2014/main" id="{10380C05-C0D6-4223-AE0E-362FF51A1320}"/>
                </a:ext>
              </a:extLst>
            </p:cNvPr>
            <p:cNvSpPr/>
            <p:nvPr/>
          </p:nvSpPr>
          <p:spPr bwMode="gray">
            <a:xfrm>
              <a:off x="8222016" y="1828794"/>
              <a:ext cx="1813391" cy="302812"/>
            </a:xfrm>
            <a:prstGeom prst="roundRect">
              <a:avLst/>
            </a:prstGeom>
            <a:solidFill>
              <a:schemeClr val="bg1">
                <a:lumMod val="95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latin typeface="Open Sans Semibold" panose="020B0706030804020204" pitchFamily="34" charset="0"/>
                  <a:ea typeface="Open Sans Semibold" panose="020B0706030804020204" pitchFamily="34" charset="0"/>
                  <a:cs typeface="Open Sans Semibold" panose="020B0706030804020204" pitchFamily="34" charset="0"/>
                </a:rPr>
                <a:t>ADC Portal</a:t>
              </a:r>
              <a:endPar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endParaRPr>
            </a:p>
            <a:p>
              <a:pPr algn="ctr" defTabSz="685792">
                <a:lnSpc>
                  <a:spcPct val="106000"/>
                </a:lnSpc>
                <a:defRPr/>
              </a:pPr>
              <a:r>
                <a:rPr lang="en-US" sz="700">
                  <a:latin typeface="Open Sans"/>
                  <a:ea typeface="Open Sans" panose="020B0606030504020204" pitchFamily="34" charset="0"/>
                  <a:cs typeface="Open Sans" panose="020B0606030504020204" pitchFamily="34" charset="0"/>
                </a:rPr>
                <a:t>Where ADC Operations are managed</a:t>
              </a:r>
            </a:p>
          </p:txBody>
        </p:sp>
        <p:sp>
          <p:nvSpPr>
            <p:cNvPr id="2" name="Arrow: Right 1">
              <a:extLst>
                <a:ext uri="{FF2B5EF4-FFF2-40B4-BE49-F238E27FC236}">
                  <a16:creationId xmlns:a16="http://schemas.microsoft.com/office/drawing/2014/main" id="{FFCA1616-B293-4A59-A26A-F222F79B0529}"/>
                </a:ext>
              </a:extLst>
            </p:cNvPr>
            <p:cNvSpPr/>
            <p:nvPr/>
          </p:nvSpPr>
          <p:spPr>
            <a:xfrm>
              <a:off x="8182643" y="1402438"/>
              <a:ext cx="228600" cy="109728"/>
            </a:xfrm>
            <a:prstGeom prst="right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Arrow: Right 61">
              <a:extLst>
                <a:ext uri="{FF2B5EF4-FFF2-40B4-BE49-F238E27FC236}">
                  <a16:creationId xmlns:a16="http://schemas.microsoft.com/office/drawing/2014/main" id="{C497E7CE-2FF3-4423-8158-F55773991333}"/>
                </a:ext>
              </a:extLst>
            </p:cNvPr>
            <p:cNvSpPr/>
            <p:nvPr/>
          </p:nvSpPr>
          <p:spPr>
            <a:xfrm rot="5400000">
              <a:off x="9095170" y="1697927"/>
              <a:ext cx="152006" cy="109728"/>
            </a:xfrm>
            <a:prstGeom prst="right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4" name="Picture 63" descr="ci5003sum11 - WIKI 2 Middle School Plastics Curriculum">
            <a:extLst>
              <a:ext uri="{FF2B5EF4-FFF2-40B4-BE49-F238E27FC236}">
                <a16:creationId xmlns:a16="http://schemas.microsoft.com/office/drawing/2014/main" id="{91D1F2F8-68ED-4710-93D5-A76B9D5F8B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3003" y="879748"/>
            <a:ext cx="516877" cy="481379"/>
          </a:xfrm>
          <a:prstGeom prst="rect">
            <a:avLst/>
          </a:prstGeom>
        </p:spPr>
      </p:pic>
      <p:cxnSp>
        <p:nvCxnSpPr>
          <p:cNvPr id="7" name="Connector: Elbow 6">
            <a:extLst>
              <a:ext uri="{FF2B5EF4-FFF2-40B4-BE49-F238E27FC236}">
                <a16:creationId xmlns:a16="http://schemas.microsoft.com/office/drawing/2014/main" id="{5FBCCDDA-096A-4A40-A460-B22A1491C811}"/>
              </a:ext>
            </a:extLst>
          </p:cNvPr>
          <p:cNvCxnSpPr>
            <a:stCxn id="64" idx="3"/>
            <a:endCxn id="38" idx="0"/>
          </p:cNvCxnSpPr>
          <p:nvPr/>
        </p:nvCxnSpPr>
        <p:spPr>
          <a:xfrm>
            <a:off x="1359880" y="1120438"/>
            <a:ext cx="572560" cy="518532"/>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A78940F-5C05-452A-9E22-C443688BE0D5}"/>
              </a:ext>
            </a:extLst>
          </p:cNvPr>
          <p:cNvSpPr txBox="1"/>
          <p:nvPr/>
        </p:nvSpPr>
        <p:spPr>
          <a:xfrm>
            <a:off x="758232" y="1350643"/>
            <a:ext cx="998991" cy="215444"/>
          </a:xfrm>
          <a:prstGeom prst="rect">
            <a:avLst/>
          </a:prstGeom>
          <a:noFill/>
        </p:spPr>
        <p:txBody>
          <a:bodyPr wrap="none" rtlCol="0">
            <a:spAutoFit/>
          </a:bodyPr>
          <a:lstStyle/>
          <a:p>
            <a:r>
              <a:rPr lang="en-US" sz="800">
                <a:latin typeface="Open Sans Semibold" panose="020B0706030804020204" pitchFamily="34" charset="0"/>
                <a:ea typeface="Open Sans Semibold" panose="020B0706030804020204" pitchFamily="34" charset="0"/>
                <a:cs typeface="Open Sans Semibold" panose="020B0706030804020204" pitchFamily="34" charset="0"/>
              </a:rPr>
              <a:t>Content authors</a:t>
            </a:r>
          </a:p>
        </p:txBody>
      </p:sp>
      <p:cxnSp>
        <p:nvCxnSpPr>
          <p:cNvPr id="32" name="Straight Arrow Connector 31">
            <a:extLst>
              <a:ext uri="{FF2B5EF4-FFF2-40B4-BE49-F238E27FC236}">
                <a16:creationId xmlns:a16="http://schemas.microsoft.com/office/drawing/2014/main" id="{9628DAED-DF27-4074-9A5A-59728AD9FC88}"/>
              </a:ext>
            </a:extLst>
          </p:cNvPr>
          <p:cNvCxnSpPr>
            <a:stCxn id="38" idx="2"/>
            <a:endCxn id="40" idx="0"/>
          </p:cNvCxnSpPr>
          <p:nvPr/>
        </p:nvCxnSpPr>
        <p:spPr>
          <a:xfrm>
            <a:off x="1932440" y="2011684"/>
            <a:ext cx="0" cy="431697"/>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B8AE75BB-8C0C-49BE-8E6D-ABFBDD40D712}"/>
              </a:ext>
            </a:extLst>
          </p:cNvPr>
          <p:cNvSpPr txBox="1"/>
          <p:nvPr/>
        </p:nvSpPr>
        <p:spPr>
          <a:xfrm>
            <a:off x="758232" y="2046895"/>
            <a:ext cx="1107078" cy="369332"/>
          </a:xfrm>
          <a:prstGeom prst="rect">
            <a:avLst/>
          </a:prstGeom>
          <a:noFill/>
        </p:spPr>
        <p:txBody>
          <a:bodyPr wrap="square" rtlCol="0">
            <a:spAutoFit/>
          </a:bodyPr>
          <a:lstStyle/>
          <a:p>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Policies, Guidance, Questions, Procedures, Templates</a:t>
            </a: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TextBox 69">
            <a:extLst>
              <a:ext uri="{FF2B5EF4-FFF2-40B4-BE49-F238E27FC236}">
                <a16:creationId xmlns:a16="http://schemas.microsoft.com/office/drawing/2014/main" id="{E8010D61-3FB6-4F6A-8A07-641895FA76C5}"/>
              </a:ext>
            </a:extLst>
          </p:cNvPr>
          <p:cNvSpPr txBox="1"/>
          <p:nvPr/>
        </p:nvSpPr>
        <p:spPr>
          <a:xfrm>
            <a:off x="3147743" y="2770715"/>
            <a:ext cx="865589" cy="276999"/>
          </a:xfrm>
          <a:prstGeom prst="rect">
            <a:avLst/>
          </a:prstGeom>
          <a:noFill/>
        </p:spPr>
        <p:txBody>
          <a:bodyPr wrap="square" rtlCol="0">
            <a:spAutoFit/>
          </a:bodyPr>
          <a:lstStyle/>
          <a:p>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Risks, Controls, Procedures</a:t>
            </a: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7" name="Connector: Elbow 36">
            <a:extLst>
              <a:ext uri="{FF2B5EF4-FFF2-40B4-BE49-F238E27FC236}">
                <a16:creationId xmlns:a16="http://schemas.microsoft.com/office/drawing/2014/main" id="{A1B8DA11-70D1-42CA-BA13-67BDA87684DC}"/>
              </a:ext>
            </a:extLst>
          </p:cNvPr>
          <p:cNvCxnSpPr>
            <a:cxnSpLocks/>
            <a:stCxn id="38" idx="3"/>
          </p:cNvCxnSpPr>
          <p:nvPr/>
        </p:nvCxnSpPr>
        <p:spPr>
          <a:xfrm>
            <a:off x="3021876" y="1825327"/>
            <a:ext cx="1013642" cy="287125"/>
          </a:xfrm>
          <a:prstGeom prst="bentConnector3">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BAEFA3C8-2E89-41C4-98FE-06087C9F136F}"/>
              </a:ext>
            </a:extLst>
          </p:cNvPr>
          <p:cNvSpPr txBox="1"/>
          <p:nvPr/>
        </p:nvSpPr>
        <p:spPr>
          <a:xfrm>
            <a:off x="3248435" y="1606135"/>
            <a:ext cx="1130572" cy="184666"/>
          </a:xfrm>
          <a:prstGeom prst="rect">
            <a:avLst/>
          </a:prstGeom>
          <a:noFill/>
        </p:spPr>
        <p:txBody>
          <a:bodyPr wrap="square" lIns="0" tIns="0" rIns="0" bIns="0" rtlCol="0">
            <a:spAutoFit/>
          </a:bodyPr>
          <a:lstStyle/>
          <a:p>
            <a:pPr defTabSz="685792">
              <a:spcBef>
                <a:spcPts val="452"/>
              </a:spcBef>
              <a:buSzPct val="100000"/>
              <a:defRPr/>
            </a:pPr>
            <a:r>
              <a:rPr lang="en-US" sz="600">
                <a:solidFill>
                  <a:srgbClr val="313131"/>
                </a:solidFill>
                <a:latin typeface="Open Sans" panose="020B0606030504020204" pitchFamily="34" charset="0"/>
                <a:ea typeface="Open Sans" panose="020B0606030504020204" pitchFamily="34" charset="0"/>
                <a:cs typeface="Open Sans" panose="020B0606030504020204" pitchFamily="34" charset="0"/>
              </a:rPr>
              <a:t>Risk Assessment Questions, Risks, Controls, Procedures</a:t>
            </a:r>
          </a:p>
        </p:txBody>
      </p:sp>
      <p:sp>
        <p:nvSpPr>
          <p:cNvPr id="76" name="Rounded Rectangle 6">
            <a:extLst>
              <a:ext uri="{FF2B5EF4-FFF2-40B4-BE49-F238E27FC236}">
                <a16:creationId xmlns:a16="http://schemas.microsoft.com/office/drawing/2014/main" id="{FA9D14B7-6FBA-4479-8356-274FAFB58F06}"/>
              </a:ext>
            </a:extLst>
          </p:cNvPr>
          <p:cNvSpPr/>
          <p:nvPr/>
        </p:nvSpPr>
        <p:spPr bwMode="gray">
          <a:xfrm>
            <a:off x="1531048" y="3871327"/>
            <a:ext cx="1490827" cy="311557"/>
          </a:xfrm>
          <a:prstGeom prst="roundRect">
            <a:avLst/>
          </a:prstGeom>
          <a:solidFill>
            <a:srgbClr val="A6A6A6"/>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t"/>
          <a:lstStyle/>
          <a:p>
            <a:pPr algn="ctr" defTabSz="685792">
              <a:lnSpc>
                <a:spcPct val="106000"/>
              </a:lnSpc>
              <a:defRPr/>
            </a:pPr>
            <a:r>
              <a:rPr lang="en-US" sz="800" b="1">
                <a:latin typeface="Open Sans Semibold" panose="020B0706030804020204" pitchFamily="34" charset="0"/>
                <a:ea typeface="Open Sans Semibold" panose="020B0706030804020204" pitchFamily="34" charset="0"/>
                <a:cs typeface="Open Sans Semibold" panose="020B0706030804020204" pitchFamily="34" charset="0"/>
              </a:rPr>
              <a:t>Working Paper Transfer</a:t>
            </a:r>
            <a:endParaRPr lang="en-US" sz="600">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77" name="Rounded Rectangle 6">
            <a:extLst>
              <a:ext uri="{FF2B5EF4-FFF2-40B4-BE49-F238E27FC236}">
                <a16:creationId xmlns:a16="http://schemas.microsoft.com/office/drawing/2014/main" id="{1E713689-386C-47DB-8B44-DF9C1D4CC258}"/>
              </a:ext>
            </a:extLst>
          </p:cNvPr>
          <p:cNvSpPr/>
          <p:nvPr/>
        </p:nvSpPr>
        <p:spPr bwMode="gray">
          <a:xfrm>
            <a:off x="1531049" y="3373317"/>
            <a:ext cx="1490827" cy="311557"/>
          </a:xfrm>
          <a:prstGeom prst="roundRect">
            <a:avLst/>
          </a:prstGeom>
          <a:solidFill>
            <a:srgbClr val="A6A6A6"/>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t"/>
          <a:lstStyle/>
          <a:p>
            <a:pPr algn="ctr" defTabSz="685792">
              <a:lnSpc>
                <a:spcPct val="106000"/>
              </a:lnSpc>
              <a:defRPr/>
            </a:pPr>
            <a:r>
              <a:rPr lang="en-US" sz="800" b="1">
                <a:latin typeface="Open Sans Semibold" panose="020B0706030804020204" pitchFamily="34" charset="0"/>
                <a:ea typeface="Open Sans Semibold" panose="020B0706030804020204" pitchFamily="34" charset="0"/>
                <a:cs typeface="Open Sans Semibold" panose="020B0706030804020204" pitchFamily="34" charset="0"/>
              </a:rPr>
              <a:t>Document Extract/TB</a:t>
            </a:r>
            <a:endParaRPr lang="en-US" sz="600">
              <a:latin typeface="Open Sans Semibold" panose="020B0706030804020204" pitchFamily="34" charset="0"/>
              <a:ea typeface="Open Sans Semibold" panose="020B0706030804020204" pitchFamily="34" charset="0"/>
              <a:cs typeface="Open Sans Semibold" panose="020B0706030804020204" pitchFamily="34" charset="0"/>
            </a:endParaRPr>
          </a:p>
        </p:txBody>
      </p:sp>
      <p:cxnSp>
        <p:nvCxnSpPr>
          <p:cNvPr id="72" name="Connector: Elbow 71">
            <a:extLst>
              <a:ext uri="{FF2B5EF4-FFF2-40B4-BE49-F238E27FC236}">
                <a16:creationId xmlns:a16="http://schemas.microsoft.com/office/drawing/2014/main" id="{8DB981D9-6E82-41EF-BF88-79E6A78E1FC0}"/>
              </a:ext>
            </a:extLst>
          </p:cNvPr>
          <p:cNvCxnSpPr>
            <a:cxnSpLocks/>
            <a:endCxn id="77" idx="1"/>
          </p:cNvCxnSpPr>
          <p:nvPr/>
        </p:nvCxnSpPr>
        <p:spPr>
          <a:xfrm rot="16200000" flipH="1">
            <a:off x="1072389" y="3070436"/>
            <a:ext cx="487712" cy="429608"/>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D11C438C-DEEA-45EF-BF00-7FD5F8223419}"/>
              </a:ext>
            </a:extLst>
          </p:cNvPr>
          <p:cNvCxnSpPr>
            <a:cxnSpLocks/>
            <a:endCxn id="76" idx="1"/>
          </p:cNvCxnSpPr>
          <p:nvPr/>
        </p:nvCxnSpPr>
        <p:spPr>
          <a:xfrm rot="16200000" flipH="1">
            <a:off x="784086" y="3280144"/>
            <a:ext cx="996520" cy="497404"/>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4" name="Rounded Rectangle 6">
            <a:extLst>
              <a:ext uri="{FF2B5EF4-FFF2-40B4-BE49-F238E27FC236}">
                <a16:creationId xmlns:a16="http://schemas.microsoft.com/office/drawing/2014/main" id="{657755F4-FA90-4DC9-B158-73491255CA31}"/>
              </a:ext>
            </a:extLst>
          </p:cNvPr>
          <p:cNvSpPr/>
          <p:nvPr/>
        </p:nvSpPr>
        <p:spPr bwMode="gray">
          <a:xfrm>
            <a:off x="1531047" y="4366549"/>
            <a:ext cx="1490827" cy="311557"/>
          </a:xfrm>
          <a:prstGeom prst="roundRect">
            <a:avLst/>
          </a:prstGeom>
          <a:solidFill>
            <a:srgbClr val="A6A6A6"/>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t"/>
          <a:lstStyle/>
          <a:p>
            <a:pPr algn="ctr" defTabSz="685792">
              <a:lnSpc>
                <a:spcPct val="106000"/>
              </a:lnSpc>
              <a:defRPr/>
            </a:pPr>
            <a:r>
              <a:rPr lang="en-US" sz="800" b="1">
                <a:latin typeface="Open Sans Semibold" panose="020B0706030804020204" pitchFamily="34" charset="0"/>
                <a:ea typeface="Open Sans Semibold" panose="020B0706030804020204" pitchFamily="34" charset="0"/>
                <a:cs typeface="Open Sans Semibold" panose="020B0706030804020204" pitchFamily="34" charset="0"/>
              </a:rPr>
              <a:t>Audit Archive Tool (AAT)</a:t>
            </a:r>
            <a:endParaRPr lang="en-US" sz="600">
              <a:latin typeface="Open Sans Semibold" panose="020B0706030804020204" pitchFamily="34" charset="0"/>
              <a:ea typeface="Open Sans Semibold" panose="020B0706030804020204" pitchFamily="34" charset="0"/>
              <a:cs typeface="Open Sans Semibold" panose="020B0706030804020204" pitchFamily="34" charset="0"/>
            </a:endParaRPr>
          </a:p>
        </p:txBody>
      </p:sp>
      <p:cxnSp>
        <p:nvCxnSpPr>
          <p:cNvPr id="86" name="Connector: Elbow 85">
            <a:extLst>
              <a:ext uri="{FF2B5EF4-FFF2-40B4-BE49-F238E27FC236}">
                <a16:creationId xmlns:a16="http://schemas.microsoft.com/office/drawing/2014/main" id="{087AF9D0-4F31-438E-B22E-F9B2C719CA86}"/>
              </a:ext>
            </a:extLst>
          </p:cNvPr>
          <p:cNvCxnSpPr>
            <a:endCxn id="84" idx="1"/>
          </p:cNvCxnSpPr>
          <p:nvPr/>
        </p:nvCxnSpPr>
        <p:spPr>
          <a:xfrm rot="16200000" flipH="1">
            <a:off x="500251" y="3491532"/>
            <a:ext cx="1494516" cy="567075"/>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EA99844B-1DF8-4CDF-B417-BF739916039F}"/>
              </a:ext>
            </a:extLst>
          </p:cNvPr>
          <p:cNvCxnSpPr>
            <a:stCxn id="40" idx="1"/>
            <a:endCxn id="41" idx="1"/>
          </p:cNvCxnSpPr>
          <p:nvPr/>
        </p:nvCxnSpPr>
        <p:spPr>
          <a:xfrm rot="10800000" flipV="1">
            <a:off x="843003" y="2736984"/>
            <a:ext cx="12700" cy="2949496"/>
          </a:xfrm>
          <a:prstGeom prst="bentConnector3">
            <a:avLst>
              <a:gd name="adj1" fmla="val 1800000"/>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91" name="Rounded Rectangle 15">
            <a:extLst>
              <a:ext uri="{FF2B5EF4-FFF2-40B4-BE49-F238E27FC236}">
                <a16:creationId xmlns:a16="http://schemas.microsoft.com/office/drawing/2014/main" id="{E6D309C8-B426-4636-9A67-EF1C27EFD534}"/>
              </a:ext>
            </a:extLst>
          </p:cNvPr>
          <p:cNvSpPr/>
          <p:nvPr/>
        </p:nvSpPr>
        <p:spPr bwMode="gray">
          <a:xfrm>
            <a:off x="4529719" y="3635705"/>
            <a:ext cx="1802996" cy="782800"/>
          </a:xfrm>
          <a:prstGeom prst="roundRect">
            <a:avLst>
              <a:gd name="adj" fmla="val 8880"/>
            </a:avLst>
          </a:prstGeom>
          <a:solidFill>
            <a:schemeClr val="accent6">
              <a:lumMod val="20000"/>
              <a:lumOff val="80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105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OMNIA</a:t>
            </a:r>
            <a:endParaRPr lang="en-US" sz="90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92" name="Rounded Rectangle 15">
            <a:extLst>
              <a:ext uri="{FF2B5EF4-FFF2-40B4-BE49-F238E27FC236}">
                <a16:creationId xmlns:a16="http://schemas.microsoft.com/office/drawing/2014/main" id="{3A441175-6BFC-44D6-B2C0-BD1580B6E05E}"/>
              </a:ext>
            </a:extLst>
          </p:cNvPr>
          <p:cNvSpPr/>
          <p:nvPr/>
        </p:nvSpPr>
        <p:spPr bwMode="gray">
          <a:xfrm>
            <a:off x="6808403" y="3635705"/>
            <a:ext cx="1802996" cy="782800"/>
          </a:xfrm>
          <a:prstGeom prst="roundRect">
            <a:avLst/>
          </a:prstGeom>
          <a:solidFill>
            <a:schemeClr val="accent6">
              <a:lumMod val="20000"/>
              <a:lumOff val="80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105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LEVVIA</a:t>
            </a:r>
            <a:endParaRPr lang="en-US" sz="90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cxnSp>
        <p:nvCxnSpPr>
          <p:cNvPr id="96" name="Connector: Elbow 95">
            <a:extLst>
              <a:ext uri="{FF2B5EF4-FFF2-40B4-BE49-F238E27FC236}">
                <a16:creationId xmlns:a16="http://schemas.microsoft.com/office/drawing/2014/main" id="{813BECDF-C4ED-4845-810C-ECF4C8CCA76B}"/>
              </a:ext>
            </a:extLst>
          </p:cNvPr>
          <p:cNvCxnSpPr>
            <a:stCxn id="76" idx="3"/>
            <a:endCxn id="91" idx="1"/>
          </p:cNvCxnSpPr>
          <p:nvPr/>
        </p:nvCxnSpPr>
        <p:spPr>
          <a:xfrm flipV="1">
            <a:off x="3021875" y="4027105"/>
            <a:ext cx="1507844" cy="1"/>
          </a:xfrm>
          <a:prstGeom prst="bentConnector3">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641346A-3175-42CD-9D94-6F46A553C1FC}"/>
              </a:ext>
            </a:extLst>
          </p:cNvPr>
          <p:cNvSpPr txBox="1"/>
          <p:nvPr/>
        </p:nvSpPr>
        <p:spPr>
          <a:xfrm>
            <a:off x="3055103" y="3854540"/>
            <a:ext cx="1490827" cy="184666"/>
          </a:xfrm>
          <a:prstGeom prst="rect">
            <a:avLst/>
          </a:prstGeom>
          <a:noFill/>
        </p:spPr>
        <p:txBody>
          <a:bodyPr wrap="square" rtlCol="0">
            <a:spAutoFit/>
          </a:bodyPr>
          <a:lstStyle/>
          <a:p>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Working Paper transfer to Omnia</a:t>
            </a: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99" name="Connector: Elbow 98">
            <a:extLst>
              <a:ext uri="{FF2B5EF4-FFF2-40B4-BE49-F238E27FC236}">
                <a16:creationId xmlns:a16="http://schemas.microsoft.com/office/drawing/2014/main" id="{83C52099-76D3-403E-AF98-0CD565AE40AA}"/>
              </a:ext>
            </a:extLst>
          </p:cNvPr>
          <p:cNvCxnSpPr>
            <a:stCxn id="91" idx="2"/>
            <a:endCxn id="84" idx="3"/>
          </p:cNvCxnSpPr>
          <p:nvPr/>
        </p:nvCxnSpPr>
        <p:spPr>
          <a:xfrm rot="5400000">
            <a:off x="4174635" y="3265745"/>
            <a:ext cx="103823" cy="2409343"/>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9CD1B7FE-63A5-4679-9AE0-679CF9243097}"/>
              </a:ext>
            </a:extLst>
          </p:cNvPr>
          <p:cNvSpPr txBox="1"/>
          <p:nvPr/>
        </p:nvSpPr>
        <p:spPr>
          <a:xfrm>
            <a:off x="3367758" y="4353190"/>
            <a:ext cx="1490827" cy="184666"/>
          </a:xfrm>
          <a:prstGeom prst="rect">
            <a:avLst/>
          </a:prstGeom>
          <a:noFill/>
        </p:spPr>
        <p:txBody>
          <a:bodyPr wrap="square" rtlCol="0">
            <a:spAutoFit/>
          </a:bodyPr>
          <a:lstStyle/>
          <a:p>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Omnia archive downloader</a:t>
            </a: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02" name="Connector: Elbow 101">
            <a:extLst>
              <a:ext uri="{FF2B5EF4-FFF2-40B4-BE49-F238E27FC236}">
                <a16:creationId xmlns:a16="http://schemas.microsoft.com/office/drawing/2014/main" id="{51047354-C667-4FDB-B843-EB8E55622E4A}"/>
              </a:ext>
            </a:extLst>
          </p:cNvPr>
          <p:cNvCxnSpPr>
            <a:cxnSpLocks/>
            <a:stCxn id="92" idx="2"/>
          </p:cNvCxnSpPr>
          <p:nvPr/>
        </p:nvCxnSpPr>
        <p:spPr>
          <a:xfrm rot="5400000">
            <a:off x="5257861" y="2182521"/>
            <a:ext cx="216057" cy="4688024"/>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46128DED-9F00-4EA3-B678-71E88E62A62B}"/>
              </a:ext>
            </a:extLst>
          </p:cNvPr>
          <p:cNvSpPr txBox="1"/>
          <p:nvPr/>
        </p:nvSpPr>
        <p:spPr>
          <a:xfrm>
            <a:off x="6505391" y="4458306"/>
            <a:ext cx="1490827" cy="184666"/>
          </a:xfrm>
          <a:prstGeom prst="rect">
            <a:avLst/>
          </a:prstGeom>
          <a:noFill/>
        </p:spPr>
        <p:txBody>
          <a:bodyPr wrap="square" rtlCol="0">
            <a:spAutoFit/>
          </a:bodyPr>
          <a:lstStyle/>
          <a:p>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Levvia archive downloader</a:t>
            </a: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9" name="TextBox 108">
            <a:extLst>
              <a:ext uri="{FF2B5EF4-FFF2-40B4-BE49-F238E27FC236}">
                <a16:creationId xmlns:a16="http://schemas.microsoft.com/office/drawing/2014/main" id="{0039BE57-9532-44F5-87EF-37AA656CC2B9}"/>
              </a:ext>
            </a:extLst>
          </p:cNvPr>
          <p:cNvSpPr txBox="1"/>
          <p:nvPr/>
        </p:nvSpPr>
        <p:spPr>
          <a:xfrm>
            <a:off x="5365889" y="3041384"/>
            <a:ext cx="1490827" cy="184666"/>
          </a:xfrm>
          <a:prstGeom prst="rect">
            <a:avLst/>
          </a:prstGeom>
          <a:noFill/>
        </p:spPr>
        <p:txBody>
          <a:bodyPr wrap="square" rtlCol="0">
            <a:spAutoFit/>
          </a:bodyPr>
          <a:lstStyle/>
          <a:p>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Engagement File metadata</a:t>
            </a: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17" name="Connector: Elbow 116">
            <a:extLst>
              <a:ext uri="{FF2B5EF4-FFF2-40B4-BE49-F238E27FC236}">
                <a16:creationId xmlns:a16="http://schemas.microsoft.com/office/drawing/2014/main" id="{317FC250-8BC4-478C-A762-9BC553A18790}"/>
              </a:ext>
            </a:extLst>
          </p:cNvPr>
          <p:cNvCxnSpPr>
            <a:stCxn id="91" idx="0"/>
            <a:endCxn id="56" idx="2"/>
          </p:cNvCxnSpPr>
          <p:nvPr/>
        </p:nvCxnSpPr>
        <p:spPr>
          <a:xfrm rot="5400000" flipH="1" flipV="1">
            <a:off x="6843583" y="1390191"/>
            <a:ext cx="833149" cy="3657881"/>
          </a:xfrm>
          <a:prstGeom prst="bentConnector3">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D1672765-38B8-4E4B-82F8-F5E35CD638F9}"/>
              </a:ext>
            </a:extLst>
          </p:cNvPr>
          <p:cNvCxnSpPr>
            <a:cxnSpLocks/>
            <a:stCxn id="92" idx="3"/>
          </p:cNvCxnSpPr>
          <p:nvPr/>
        </p:nvCxnSpPr>
        <p:spPr>
          <a:xfrm flipV="1">
            <a:off x="8611399" y="2793165"/>
            <a:ext cx="563225" cy="1233940"/>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CC04816B-8285-4F33-9DC6-880613E96BFD}"/>
              </a:ext>
            </a:extLst>
          </p:cNvPr>
          <p:cNvSpPr txBox="1"/>
          <p:nvPr/>
        </p:nvSpPr>
        <p:spPr>
          <a:xfrm rot="16200000">
            <a:off x="8497898" y="3251593"/>
            <a:ext cx="1490827" cy="184666"/>
          </a:xfrm>
          <a:prstGeom prst="rect">
            <a:avLst/>
          </a:prstGeom>
          <a:noFill/>
        </p:spPr>
        <p:txBody>
          <a:bodyPr wrap="square" rtlCol="0">
            <a:spAutoFit/>
          </a:bodyPr>
          <a:lstStyle/>
          <a:p>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Engagement File metadata</a:t>
            </a: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5" name="Connector: Elbow 4">
            <a:extLst>
              <a:ext uri="{FF2B5EF4-FFF2-40B4-BE49-F238E27FC236}">
                <a16:creationId xmlns:a16="http://schemas.microsoft.com/office/drawing/2014/main" id="{84EB26CF-8457-4166-82F8-A5F351F6AFC8}"/>
              </a:ext>
            </a:extLst>
          </p:cNvPr>
          <p:cNvCxnSpPr>
            <a:cxnSpLocks/>
            <a:endCxn id="124" idx="1"/>
          </p:cNvCxnSpPr>
          <p:nvPr/>
        </p:nvCxnSpPr>
        <p:spPr>
          <a:xfrm flipV="1">
            <a:off x="3147743" y="5882149"/>
            <a:ext cx="1381976" cy="248690"/>
          </a:xfrm>
          <a:prstGeom prst="bentConnector3">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66EE827D-EBC4-40DB-83DB-0996EFA3B871}"/>
              </a:ext>
            </a:extLst>
          </p:cNvPr>
          <p:cNvCxnSpPr>
            <a:cxnSpLocks/>
          </p:cNvCxnSpPr>
          <p:nvPr/>
        </p:nvCxnSpPr>
        <p:spPr>
          <a:xfrm rot="5400000">
            <a:off x="6874553" y="3012342"/>
            <a:ext cx="2913108" cy="2493534"/>
          </a:xfrm>
          <a:prstGeom prst="bentConnector3">
            <a:avLst>
              <a:gd name="adj1" fmla="val 99924"/>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D6209D12-3573-46F8-95A9-86BD274DCCAB}"/>
              </a:ext>
            </a:extLst>
          </p:cNvPr>
          <p:cNvCxnSpPr>
            <a:cxnSpLocks/>
            <a:endCxn id="124" idx="0"/>
          </p:cNvCxnSpPr>
          <p:nvPr/>
        </p:nvCxnSpPr>
        <p:spPr>
          <a:xfrm rot="16200000" flipH="1">
            <a:off x="5286163" y="4734676"/>
            <a:ext cx="832046" cy="199699"/>
          </a:xfrm>
          <a:prstGeom prst="bentConnector3">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A5D5938A-AD21-4C16-B692-C2C4A79BFAAD}"/>
              </a:ext>
            </a:extLst>
          </p:cNvPr>
          <p:cNvCxnSpPr/>
          <p:nvPr/>
        </p:nvCxnSpPr>
        <p:spPr>
          <a:xfrm rot="5400000">
            <a:off x="6917730" y="4575126"/>
            <a:ext cx="1102734" cy="789490"/>
          </a:xfrm>
          <a:prstGeom prst="bentConnector3">
            <a:avLst>
              <a:gd name="adj1" fmla="val 99753"/>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39E5E76B-3436-40BB-B311-DF5D23BE328F}"/>
              </a:ext>
            </a:extLst>
          </p:cNvPr>
          <p:cNvCxnSpPr>
            <a:cxnSpLocks/>
          </p:cNvCxnSpPr>
          <p:nvPr/>
        </p:nvCxnSpPr>
        <p:spPr>
          <a:xfrm rot="16200000" flipH="1">
            <a:off x="2750894" y="3744861"/>
            <a:ext cx="3051745" cy="501012"/>
          </a:xfrm>
          <a:prstGeom prst="bentConnector3">
            <a:avLst>
              <a:gd name="adj1" fmla="val 100107"/>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D41C9C0A-0B53-4378-A8B6-EB1B139D824A}"/>
              </a:ext>
            </a:extLst>
          </p:cNvPr>
          <p:cNvGrpSpPr/>
          <p:nvPr/>
        </p:nvGrpSpPr>
        <p:grpSpPr>
          <a:xfrm>
            <a:off x="4529719" y="5250549"/>
            <a:ext cx="2544633" cy="1263199"/>
            <a:chOff x="4068163" y="4640945"/>
            <a:chExt cx="2544633" cy="1263199"/>
          </a:xfrm>
        </p:grpSpPr>
        <p:sp>
          <p:nvSpPr>
            <p:cNvPr id="124" name="Rounded Rectangle 15">
              <a:extLst>
                <a:ext uri="{FF2B5EF4-FFF2-40B4-BE49-F238E27FC236}">
                  <a16:creationId xmlns:a16="http://schemas.microsoft.com/office/drawing/2014/main" id="{26090AFB-BFD3-43AF-964A-029CC51F0E82}"/>
                </a:ext>
              </a:extLst>
            </p:cNvPr>
            <p:cNvSpPr/>
            <p:nvPr/>
          </p:nvSpPr>
          <p:spPr bwMode="gray">
            <a:xfrm>
              <a:off x="4068163" y="4640945"/>
              <a:ext cx="2544633" cy="1263199"/>
            </a:xfrm>
            <a:prstGeom prst="roundRect">
              <a:avLst>
                <a:gd name="adj" fmla="val 6456"/>
              </a:avLst>
            </a:prstGeom>
            <a:solidFill>
              <a:srgbClr val="D9D9D9"/>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9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Extended Reporting</a:t>
              </a:r>
            </a:p>
            <a:p>
              <a:pPr algn="ctr" defTabSz="685792">
                <a:lnSpc>
                  <a:spcPct val="106000"/>
                </a:lnSpc>
                <a:defRPr/>
              </a:pPr>
              <a:r>
                <a:rPr lang="en-US" sz="600">
                  <a:latin typeface="Open Sans"/>
                  <a:ea typeface="Open Sans" panose="020B0606030504020204" pitchFamily="34" charset="0"/>
                  <a:cs typeface="Open Sans" panose="020B0606030504020204" pitchFamily="34" charset="0"/>
                </a:rPr>
                <a:t>Audit Transformation Reporting for Global Leaders, MF Transformation Leaders, Deployment &amp; Adoption Leaders, and RADC Leaders</a:t>
              </a:r>
              <a:r>
                <a:rPr lang="en-US" sz="600">
                  <a:latin typeface="Open Sans" panose="020B0606030504020204" pitchFamily="34" charset="0"/>
                  <a:ea typeface="Open Sans" panose="020B0606030504020204" pitchFamily="34" charset="0"/>
                  <a:cs typeface="Open Sans" panose="020B0606030504020204" pitchFamily="34" charset="0"/>
                </a:rPr>
                <a:t>. </a:t>
              </a:r>
              <a:r>
                <a:rPr lang="en-US" sz="600">
                  <a:latin typeface="Open Sans"/>
                  <a:ea typeface="Open Sans" panose="020B0606030504020204" pitchFamily="34" charset="0"/>
                  <a:cs typeface="Open Sans" panose="020B0606030504020204" pitchFamily="34" charset="0"/>
                </a:rPr>
                <a:t>Monitoring adoption of Omnia, Levvia, GRA, RADC, and Azure tools</a:t>
              </a:r>
            </a:p>
            <a:p>
              <a:pPr algn="ctr" defTabSz="685792">
                <a:lnSpc>
                  <a:spcPct val="106000"/>
                </a:lnSpc>
                <a:defRPr/>
              </a:pPr>
              <a:endParaRPr lang="en-US" sz="600">
                <a:latin typeface="Open Sans"/>
                <a:ea typeface="Open Sans" panose="020B0606030504020204" pitchFamily="34" charset="0"/>
                <a:cs typeface="Open Sans" panose="020B0606030504020204" pitchFamily="34" charset="0"/>
              </a:endParaRPr>
            </a:p>
            <a:p>
              <a:pPr algn="ctr" defTabSz="685792">
                <a:lnSpc>
                  <a:spcPct val="106000"/>
                </a:lnSpc>
                <a:defRPr/>
              </a:pPr>
              <a:endParaRPr lang="en-US" sz="600">
                <a:latin typeface="Open Sans"/>
                <a:ea typeface="Open Sans" panose="020B0606030504020204" pitchFamily="34" charset="0"/>
                <a:cs typeface="Open Sans" panose="020B0606030504020204" pitchFamily="34" charset="0"/>
              </a:endParaRPr>
            </a:p>
            <a:p>
              <a:pPr algn="ctr" defTabSz="685792">
                <a:lnSpc>
                  <a:spcPct val="106000"/>
                </a:lnSpc>
                <a:defRPr/>
              </a:pPr>
              <a:endParaRPr lang="en-US" sz="600">
                <a:latin typeface="Open Sans"/>
                <a:ea typeface="Open Sans" panose="020B0606030504020204" pitchFamily="34" charset="0"/>
                <a:cs typeface="Open Sans" panose="020B0606030504020204" pitchFamily="34" charset="0"/>
              </a:endParaRPr>
            </a:p>
            <a:p>
              <a:pPr algn="ctr" defTabSz="685792">
                <a:lnSpc>
                  <a:spcPct val="106000"/>
                </a:lnSpc>
                <a:defRPr/>
              </a:pPr>
              <a:endParaRPr lang="en-US" sz="600">
                <a:latin typeface="Open Sans"/>
                <a:ea typeface="Open Sans" panose="020B0606030504020204" pitchFamily="34" charset="0"/>
                <a:cs typeface="Open Sans" panose="020B0606030504020204" pitchFamily="34" charset="0"/>
              </a:endParaRPr>
            </a:p>
            <a:p>
              <a:pPr algn="ctr" defTabSz="685792">
                <a:lnSpc>
                  <a:spcPct val="106000"/>
                </a:lnSpc>
                <a:defRPr/>
              </a:pPr>
              <a:endParaRPr lang="en-US" sz="600">
                <a:latin typeface="Open Sans"/>
                <a:ea typeface="Open Sans" panose="020B0606030504020204" pitchFamily="34" charset="0"/>
                <a:cs typeface="Open Sans" panose="020B0606030504020204" pitchFamily="34" charset="0"/>
              </a:endParaRPr>
            </a:p>
            <a:p>
              <a:pPr algn="ctr" defTabSz="685792">
                <a:lnSpc>
                  <a:spcPct val="106000"/>
                </a:lnSpc>
                <a:defRPr/>
              </a:pPr>
              <a:endParaRPr lang="en-US" sz="600">
                <a:latin typeface="Open Sans"/>
                <a:ea typeface="Open Sans" panose="020B0606030504020204" pitchFamily="34" charset="0"/>
                <a:cs typeface="Open Sans" panose="020B0606030504020204" pitchFamily="34" charset="0"/>
              </a:endParaRPr>
            </a:p>
          </p:txBody>
        </p:sp>
        <p:sp>
          <p:nvSpPr>
            <p:cNvPr id="82" name="Rounded Rectangle 6">
              <a:extLst>
                <a:ext uri="{FF2B5EF4-FFF2-40B4-BE49-F238E27FC236}">
                  <a16:creationId xmlns:a16="http://schemas.microsoft.com/office/drawing/2014/main" id="{DBD692ED-1D6B-4E97-BCB1-41189FEEB98C}"/>
                </a:ext>
              </a:extLst>
            </p:cNvPr>
            <p:cNvSpPr/>
            <p:nvPr/>
          </p:nvSpPr>
          <p:spPr bwMode="gray">
            <a:xfrm>
              <a:off x="4218779" y="5310892"/>
              <a:ext cx="1014047" cy="420686"/>
            </a:xfrm>
            <a:prstGeom prst="roundRect">
              <a:avLst/>
            </a:prstGeom>
            <a:solidFill>
              <a:schemeClr val="bg1">
                <a:lumMod val="95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Standard Reports (UI)</a:t>
              </a:r>
            </a:p>
          </p:txBody>
        </p:sp>
        <p:sp>
          <p:nvSpPr>
            <p:cNvPr id="83" name="Rounded Rectangle 6">
              <a:extLst>
                <a:ext uri="{FF2B5EF4-FFF2-40B4-BE49-F238E27FC236}">
                  <a16:creationId xmlns:a16="http://schemas.microsoft.com/office/drawing/2014/main" id="{0174B642-CB4B-40FF-AEC3-37218D305EEA}"/>
                </a:ext>
              </a:extLst>
            </p:cNvPr>
            <p:cNvSpPr/>
            <p:nvPr/>
          </p:nvSpPr>
          <p:spPr bwMode="gray">
            <a:xfrm>
              <a:off x="5444779" y="5310892"/>
              <a:ext cx="1014047" cy="420686"/>
            </a:xfrm>
            <a:prstGeom prst="roundRect">
              <a:avLst/>
            </a:prstGeom>
            <a:solidFill>
              <a:schemeClr val="bg1">
                <a:lumMod val="95000"/>
              </a:schemeClr>
            </a:solidFill>
            <a:ln w="6350">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8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Custom Reports (Power BI)</a:t>
              </a:r>
            </a:p>
          </p:txBody>
        </p:sp>
      </p:grpSp>
      <p:sp>
        <p:nvSpPr>
          <p:cNvPr id="85" name="TextBox 84">
            <a:extLst>
              <a:ext uri="{FF2B5EF4-FFF2-40B4-BE49-F238E27FC236}">
                <a16:creationId xmlns:a16="http://schemas.microsoft.com/office/drawing/2014/main" id="{28D6B401-8908-40FE-87A8-86D32E1E3959}"/>
              </a:ext>
            </a:extLst>
          </p:cNvPr>
          <p:cNvSpPr txBox="1"/>
          <p:nvPr/>
        </p:nvSpPr>
        <p:spPr>
          <a:xfrm rot="16200000">
            <a:off x="3223095" y="2889916"/>
            <a:ext cx="1490827" cy="184666"/>
          </a:xfrm>
          <a:prstGeom prst="rect">
            <a:avLst/>
          </a:prstGeom>
          <a:noFill/>
        </p:spPr>
        <p:txBody>
          <a:bodyPr wrap="square" rtlCol="0">
            <a:spAutoFit/>
          </a:bodyPr>
          <a:lstStyle/>
          <a:p>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GRA Counts</a:t>
            </a: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7" name="TextBox 86">
            <a:extLst>
              <a:ext uri="{FF2B5EF4-FFF2-40B4-BE49-F238E27FC236}">
                <a16:creationId xmlns:a16="http://schemas.microsoft.com/office/drawing/2014/main" id="{03F4472B-49B4-4663-842F-FD9A631CFDFD}"/>
              </a:ext>
            </a:extLst>
          </p:cNvPr>
          <p:cNvSpPr txBox="1"/>
          <p:nvPr/>
        </p:nvSpPr>
        <p:spPr>
          <a:xfrm rot="16200000">
            <a:off x="8752521" y="4337954"/>
            <a:ext cx="1490827" cy="184666"/>
          </a:xfrm>
          <a:prstGeom prst="rect">
            <a:avLst/>
          </a:prstGeom>
          <a:noFill/>
        </p:spPr>
        <p:txBody>
          <a:bodyPr wrap="square" rtlCol="0">
            <a:spAutoFit/>
          </a:bodyPr>
          <a:lstStyle/>
          <a:p>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RADC Operational Data</a:t>
            </a: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TextBox 87">
            <a:extLst>
              <a:ext uri="{FF2B5EF4-FFF2-40B4-BE49-F238E27FC236}">
                <a16:creationId xmlns:a16="http://schemas.microsoft.com/office/drawing/2014/main" id="{9CFFF0D1-C763-4799-A1EC-1F49B679B892}"/>
              </a:ext>
            </a:extLst>
          </p:cNvPr>
          <p:cNvSpPr txBox="1"/>
          <p:nvPr/>
        </p:nvSpPr>
        <p:spPr>
          <a:xfrm>
            <a:off x="3383097" y="5715661"/>
            <a:ext cx="1490827" cy="184666"/>
          </a:xfrm>
          <a:prstGeom prst="rect">
            <a:avLst/>
          </a:prstGeom>
          <a:noFill/>
        </p:spPr>
        <p:txBody>
          <a:bodyPr wrap="square" rtlCol="0">
            <a:spAutoFit/>
          </a:bodyPr>
          <a:lstStyle/>
          <a:p>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EMS Engagement Counts</a:t>
            </a: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 name="Hexagon 88">
            <a:extLst>
              <a:ext uri="{FF2B5EF4-FFF2-40B4-BE49-F238E27FC236}">
                <a16:creationId xmlns:a16="http://schemas.microsoft.com/office/drawing/2014/main" id="{F9EA3062-A0FC-4C1A-8222-077FB1141299}"/>
              </a:ext>
            </a:extLst>
          </p:cNvPr>
          <p:cNvSpPr/>
          <p:nvPr/>
        </p:nvSpPr>
        <p:spPr>
          <a:xfrm>
            <a:off x="10328683" y="2982249"/>
            <a:ext cx="1168123" cy="335074"/>
          </a:xfrm>
          <a:prstGeom prst="hexagon">
            <a:avLst>
              <a:gd name="adj" fmla="val 43056"/>
              <a:gd name="vf" fmla="val 115470"/>
            </a:avLst>
          </a:prstGeom>
          <a:solidFill>
            <a:schemeClr val="accent5">
              <a:lumMod val="20000"/>
              <a:lumOff val="80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2">
              <a:spcBef>
                <a:spcPts val="452"/>
              </a:spcBef>
              <a:buSzPct val="100000"/>
              <a:defRPr/>
            </a:pPr>
            <a:r>
              <a:rPr lang="en-US" sz="800" b="1">
                <a:solidFill>
                  <a:srgbClr val="313131"/>
                </a:solidFill>
                <a:latin typeface="Open Sans Semibold" panose="020B0706030804020204" pitchFamily="34" charset="0"/>
                <a:ea typeface="Open Sans Semibold" panose="020B0706030804020204" pitchFamily="34" charset="0"/>
                <a:cs typeface="Open Sans Semibold" panose="020B0706030804020204" pitchFamily="34" charset="0"/>
              </a:rPr>
              <a:t>Iconfirm</a:t>
            </a:r>
          </a:p>
        </p:txBody>
      </p:sp>
      <p:grpSp>
        <p:nvGrpSpPr>
          <p:cNvPr id="93" name="Group 92">
            <a:extLst>
              <a:ext uri="{FF2B5EF4-FFF2-40B4-BE49-F238E27FC236}">
                <a16:creationId xmlns:a16="http://schemas.microsoft.com/office/drawing/2014/main" id="{4CF0142F-50AD-4C88-AC31-9743E3531658}"/>
              </a:ext>
            </a:extLst>
          </p:cNvPr>
          <p:cNvGrpSpPr/>
          <p:nvPr/>
        </p:nvGrpSpPr>
        <p:grpSpPr>
          <a:xfrm>
            <a:off x="10302824" y="2704910"/>
            <a:ext cx="388277" cy="376612"/>
            <a:chOff x="5082207" y="4229928"/>
            <a:chExt cx="788503" cy="748748"/>
          </a:xfrm>
        </p:grpSpPr>
        <p:sp>
          <p:nvSpPr>
            <p:cNvPr id="94" name="Curved Left Arrow 20">
              <a:extLst>
                <a:ext uri="{FF2B5EF4-FFF2-40B4-BE49-F238E27FC236}">
                  <a16:creationId xmlns:a16="http://schemas.microsoft.com/office/drawing/2014/main" id="{9BFC4911-97DD-4E6C-89CB-6B5D01114DAB}"/>
                </a:ext>
              </a:extLst>
            </p:cNvPr>
            <p:cNvSpPr/>
            <p:nvPr/>
          </p:nvSpPr>
          <p:spPr bwMode="gray">
            <a:xfrm>
              <a:off x="5519528" y="4277967"/>
              <a:ext cx="351182" cy="700709"/>
            </a:xfrm>
            <a:prstGeom prst="curvedLeftArrow">
              <a:avLst/>
            </a:prstGeom>
            <a:ln>
              <a:headEnd/>
              <a:tailEnd/>
            </a:ln>
          </p:spPr>
          <p:style>
            <a:lnRef idx="2">
              <a:schemeClr val="accent1"/>
            </a:lnRef>
            <a:fillRef idx="1">
              <a:schemeClr val="lt1"/>
            </a:fillRef>
            <a:effectRef idx="0">
              <a:schemeClr val="accent1"/>
            </a:effectRef>
            <a:fontRef idx="minor">
              <a:schemeClr val="dk1"/>
            </a:fontRef>
          </p:style>
          <p:txBody>
            <a:bodyPr wrap="square" lIns="66676" tIns="66676" rIns="66676" bIns="66676" rtlCol="0" anchor="ctr"/>
            <a:lstStyle/>
            <a:p>
              <a:pPr algn="ctr" defTabSz="914367">
                <a:lnSpc>
                  <a:spcPct val="106000"/>
                </a:lnSpc>
                <a:defRPr/>
              </a:pPr>
              <a:endParaRPr lang="en-US" sz="1200">
                <a:ln w="0"/>
                <a:solidFill>
                  <a:prstClr val="black"/>
                </a:solidFill>
                <a:effectLst>
                  <a:outerShdw blurRad="38100" dist="19050" dir="2700000" algn="tl" rotWithShape="0">
                    <a:prstClr val="black">
                      <a:alpha val="40000"/>
                    </a:prstClr>
                  </a:outerShdw>
                </a:effectLst>
                <a:latin typeface="Open Sans" panose="020B0606030504020204" pitchFamily="34" charset="0"/>
                <a:ea typeface="Open Sans" panose="020B0606030504020204" pitchFamily="34" charset="0"/>
                <a:cs typeface="Open Sans" panose="020B0606030504020204" pitchFamily="34" charset="0"/>
              </a:endParaRPr>
            </a:p>
          </p:txBody>
        </p:sp>
        <p:sp>
          <p:nvSpPr>
            <p:cNvPr id="95" name="Curved Left Arrow 21">
              <a:extLst>
                <a:ext uri="{FF2B5EF4-FFF2-40B4-BE49-F238E27FC236}">
                  <a16:creationId xmlns:a16="http://schemas.microsoft.com/office/drawing/2014/main" id="{94A31F90-803B-4544-B071-FB995AA3620A}"/>
                </a:ext>
              </a:extLst>
            </p:cNvPr>
            <p:cNvSpPr/>
            <p:nvPr/>
          </p:nvSpPr>
          <p:spPr bwMode="gray">
            <a:xfrm rot="10800000">
              <a:off x="5082207" y="4229928"/>
              <a:ext cx="351182" cy="700709"/>
            </a:xfrm>
            <a:prstGeom prst="curvedLeftArrow">
              <a:avLst/>
            </a:prstGeom>
            <a:ln>
              <a:headEnd/>
              <a:tailEnd/>
            </a:ln>
          </p:spPr>
          <p:style>
            <a:lnRef idx="2">
              <a:schemeClr val="accent1"/>
            </a:lnRef>
            <a:fillRef idx="1">
              <a:schemeClr val="lt1"/>
            </a:fillRef>
            <a:effectRef idx="0">
              <a:schemeClr val="accent1"/>
            </a:effectRef>
            <a:fontRef idx="minor">
              <a:schemeClr val="dk1"/>
            </a:fontRef>
          </p:style>
          <p:txBody>
            <a:bodyPr wrap="square" lIns="66676" tIns="66676" rIns="66676" bIns="66676" rtlCol="0" anchor="ctr"/>
            <a:lstStyle/>
            <a:p>
              <a:pPr algn="ctr" defTabSz="914367">
                <a:lnSpc>
                  <a:spcPct val="106000"/>
                </a:lnSpc>
                <a:defRPr/>
              </a:pPr>
              <a:endParaRPr lang="en-US" sz="1200">
                <a:ln w="0"/>
                <a:solidFill>
                  <a:prstClr val="black"/>
                </a:solidFill>
                <a:effectLst>
                  <a:outerShdw blurRad="38100" dist="19050" dir="2700000" algn="tl" rotWithShape="0">
                    <a:prstClr val="black">
                      <a:alpha val="40000"/>
                    </a:prstClr>
                  </a:outerShdw>
                </a:effectLst>
                <a:latin typeface="Open Sans" panose="020B0606030504020204" pitchFamily="34" charset="0"/>
                <a:ea typeface="Open Sans" panose="020B0606030504020204" pitchFamily="34" charset="0"/>
                <a:cs typeface="Open Sans" panose="020B0606030504020204" pitchFamily="34" charset="0"/>
              </a:endParaRPr>
            </a:p>
          </p:txBody>
        </p:sp>
      </p:grpSp>
      <p:sp>
        <p:nvSpPr>
          <p:cNvPr id="98" name="Hexagon 97">
            <a:extLst>
              <a:ext uri="{FF2B5EF4-FFF2-40B4-BE49-F238E27FC236}">
                <a16:creationId xmlns:a16="http://schemas.microsoft.com/office/drawing/2014/main" id="{7B6FD7BA-39A3-4BAB-A422-73444244A208}"/>
              </a:ext>
            </a:extLst>
          </p:cNvPr>
          <p:cNvSpPr/>
          <p:nvPr/>
        </p:nvSpPr>
        <p:spPr>
          <a:xfrm>
            <a:off x="10328683" y="3415010"/>
            <a:ext cx="1168123" cy="335074"/>
          </a:xfrm>
          <a:prstGeom prst="hexagon">
            <a:avLst>
              <a:gd name="adj" fmla="val 43056"/>
              <a:gd name="vf" fmla="val 115470"/>
            </a:avLst>
          </a:prstGeom>
          <a:solidFill>
            <a:schemeClr val="accent5">
              <a:lumMod val="20000"/>
              <a:lumOff val="80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2">
              <a:spcBef>
                <a:spcPts val="452"/>
              </a:spcBef>
              <a:buSzPct val="100000"/>
              <a:defRPr/>
            </a:pPr>
            <a:r>
              <a:rPr lang="en-US" sz="800" b="1">
                <a:solidFill>
                  <a:srgbClr val="313131"/>
                </a:solidFill>
                <a:latin typeface="Open Sans Semibold" panose="020B0706030804020204" pitchFamily="34" charset="0"/>
                <a:ea typeface="Open Sans Semibold" panose="020B0706030804020204" pitchFamily="34" charset="0"/>
                <a:cs typeface="Open Sans Semibold" panose="020B0706030804020204" pitchFamily="34" charset="0"/>
              </a:rPr>
              <a:t>Reveal</a:t>
            </a:r>
          </a:p>
        </p:txBody>
      </p:sp>
      <p:sp>
        <p:nvSpPr>
          <p:cNvPr id="101" name="Hexagon 100">
            <a:extLst>
              <a:ext uri="{FF2B5EF4-FFF2-40B4-BE49-F238E27FC236}">
                <a16:creationId xmlns:a16="http://schemas.microsoft.com/office/drawing/2014/main" id="{720C5F07-DE4E-4ED5-ABFE-5AE157956EC7}"/>
              </a:ext>
            </a:extLst>
          </p:cNvPr>
          <p:cNvSpPr/>
          <p:nvPr/>
        </p:nvSpPr>
        <p:spPr>
          <a:xfrm>
            <a:off x="10323291" y="3845425"/>
            <a:ext cx="1168123" cy="335074"/>
          </a:xfrm>
          <a:prstGeom prst="hexagon">
            <a:avLst>
              <a:gd name="adj" fmla="val 43056"/>
              <a:gd name="vf" fmla="val 115470"/>
            </a:avLst>
          </a:prstGeom>
          <a:solidFill>
            <a:schemeClr val="accent5">
              <a:lumMod val="20000"/>
              <a:lumOff val="80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2">
              <a:spcBef>
                <a:spcPts val="452"/>
              </a:spcBef>
              <a:buSzPct val="100000"/>
              <a:defRPr/>
            </a:pPr>
            <a:r>
              <a:rPr lang="en-US" sz="800" b="1">
                <a:solidFill>
                  <a:srgbClr val="313131"/>
                </a:solidFill>
                <a:latin typeface="Open Sans Semibold" panose="020B0706030804020204" pitchFamily="34" charset="0"/>
                <a:ea typeface="Open Sans Semibold" panose="020B0706030804020204" pitchFamily="34" charset="0"/>
                <a:cs typeface="Open Sans Semibold" panose="020B0706030804020204" pitchFamily="34" charset="0"/>
              </a:rPr>
              <a:t>Scribe</a:t>
            </a:r>
          </a:p>
        </p:txBody>
      </p:sp>
      <p:sp>
        <p:nvSpPr>
          <p:cNvPr id="104" name="TextBox 103">
            <a:extLst>
              <a:ext uri="{FF2B5EF4-FFF2-40B4-BE49-F238E27FC236}">
                <a16:creationId xmlns:a16="http://schemas.microsoft.com/office/drawing/2014/main" id="{B07C6224-258D-4F02-8950-CF758D19B5CC}"/>
              </a:ext>
            </a:extLst>
          </p:cNvPr>
          <p:cNvSpPr txBox="1"/>
          <p:nvPr/>
        </p:nvSpPr>
        <p:spPr>
          <a:xfrm>
            <a:off x="10665242" y="2708536"/>
            <a:ext cx="670702" cy="276999"/>
          </a:xfrm>
          <a:prstGeom prst="rect">
            <a:avLst/>
          </a:prstGeom>
          <a:noFill/>
        </p:spPr>
        <p:txBody>
          <a:bodyPr wrap="square" rtlCol="0">
            <a:spAutoFit/>
          </a:bodyPr>
          <a:lstStyle/>
          <a:p>
            <a:r>
              <a:rPr lang="en-US" sz="600">
                <a:solidFill>
                  <a:prstClr val="black"/>
                </a:solidFill>
                <a:latin typeface="Open Sans" panose="020B0606030504020204" pitchFamily="34" charset="0"/>
                <a:ea typeface="Open Sans" panose="020B0606030504020204" pitchFamily="34" charset="0"/>
                <a:cs typeface="Open Sans" panose="020B0606030504020204" pitchFamily="34" charset="0"/>
              </a:rPr>
              <a:t>Confirmation status</a:t>
            </a:r>
            <a:endParaRPr lang="en-US" sz="2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5" name="Connector: Elbow 64">
            <a:extLst>
              <a:ext uri="{FF2B5EF4-FFF2-40B4-BE49-F238E27FC236}">
                <a16:creationId xmlns:a16="http://schemas.microsoft.com/office/drawing/2014/main" id="{BFCFA873-803D-4ECD-9DD7-592116D1226D}"/>
              </a:ext>
            </a:extLst>
          </p:cNvPr>
          <p:cNvCxnSpPr>
            <a:stCxn id="89" idx="3"/>
            <a:endCxn id="124" idx="3"/>
          </p:cNvCxnSpPr>
          <p:nvPr/>
        </p:nvCxnSpPr>
        <p:spPr>
          <a:xfrm rot="10800000" flipV="1">
            <a:off x="7074353" y="3149785"/>
            <a:ext cx="3254331" cy="2732363"/>
          </a:xfrm>
          <a:prstGeom prst="bentConnector3">
            <a:avLst>
              <a:gd name="adj1" fmla="val 17353"/>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DFA6E516-E7FC-4ECE-B16A-B116D8BA3BCB}"/>
              </a:ext>
            </a:extLst>
          </p:cNvPr>
          <p:cNvCxnSpPr>
            <a:stCxn id="98" idx="3"/>
          </p:cNvCxnSpPr>
          <p:nvPr/>
        </p:nvCxnSpPr>
        <p:spPr>
          <a:xfrm rot="10800000" flipV="1">
            <a:off x="7073745" y="3582546"/>
            <a:ext cx="3254939" cy="2482619"/>
          </a:xfrm>
          <a:prstGeom prst="bentConnector3">
            <a:avLst>
              <a:gd name="adj1" fmla="val 14416"/>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9D3B738A-824C-493B-8DC5-7A6092BBA757}"/>
              </a:ext>
            </a:extLst>
          </p:cNvPr>
          <p:cNvCxnSpPr>
            <a:stCxn id="101" idx="3"/>
          </p:cNvCxnSpPr>
          <p:nvPr/>
        </p:nvCxnSpPr>
        <p:spPr>
          <a:xfrm rot="10800000" flipV="1">
            <a:off x="7084341" y="4012962"/>
            <a:ext cx="3238951" cy="2215070"/>
          </a:xfrm>
          <a:prstGeom prst="bentConnector3">
            <a:avLst>
              <a:gd name="adj1" fmla="val 1182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8" name="Rounded Rectangle 15">
            <a:extLst>
              <a:ext uri="{FF2B5EF4-FFF2-40B4-BE49-F238E27FC236}">
                <a16:creationId xmlns:a16="http://schemas.microsoft.com/office/drawing/2014/main" id="{31FFCC33-FAC3-4982-9A54-7E67131C52B7}"/>
              </a:ext>
            </a:extLst>
          </p:cNvPr>
          <p:cNvSpPr/>
          <p:nvPr/>
        </p:nvSpPr>
        <p:spPr bwMode="gray">
          <a:xfrm>
            <a:off x="10258985" y="4479262"/>
            <a:ext cx="1272316" cy="1876148"/>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9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Audit Quality Monitoring &amp; measurement (AQMM)</a:t>
            </a:r>
          </a:p>
          <a:p>
            <a:pPr algn="ctr" defTabSz="685792">
              <a:lnSpc>
                <a:spcPct val="106000"/>
              </a:lnSpc>
              <a:defRPr/>
            </a:pPr>
            <a:endParaRPr lang="en-US" sz="900" b="1">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defTabSz="685792">
              <a:lnSpc>
                <a:spcPct val="106000"/>
              </a:lnSpc>
              <a:spcAft>
                <a:spcPts val="600"/>
              </a:spcAft>
              <a:defRPr/>
            </a:pPr>
            <a:r>
              <a:rPr lang="en-US" sz="600" b="1">
                <a:latin typeface="Open Sans"/>
                <a:ea typeface="Open Sans"/>
                <a:cs typeface="Open Sans"/>
              </a:rPr>
              <a:t>EM</a:t>
            </a:r>
            <a:r>
              <a:rPr lang="en-US" sz="600">
                <a:latin typeface="Open Sans"/>
                <a:ea typeface="Open Sans"/>
                <a:cs typeface="Open Sans"/>
              </a:rPr>
              <a:t> - Engagement monitoring</a:t>
            </a:r>
            <a:endParaRPr lang="en-US" sz="600">
              <a:latin typeface="Open Sans" panose="020B0606030504020204" pitchFamily="34" charset="0"/>
              <a:ea typeface="Open Sans" panose="020B0606030504020204" pitchFamily="34" charset="0"/>
              <a:cs typeface="Open Sans" panose="020B0606030504020204" pitchFamily="34" charset="0"/>
            </a:endParaRPr>
          </a:p>
          <a:p>
            <a:pPr defTabSz="685792">
              <a:lnSpc>
                <a:spcPct val="106000"/>
              </a:lnSpc>
              <a:spcAft>
                <a:spcPts val="600"/>
              </a:spcAft>
              <a:defRPr/>
            </a:pPr>
            <a:r>
              <a:rPr lang="en-US" sz="600" b="1">
                <a:latin typeface="Open Sans"/>
                <a:ea typeface="Open Sans"/>
                <a:cs typeface="Open Sans"/>
              </a:rPr>
              <a:t>CR</a:t>
            </a:r>
            <a:r>
              <a:rPr lang="en-US" sz="600">
                <a:latin typeface="Open Sans"/>
                <a:ea typeface="Open Sans"/>
                <a:cs typeface="Open Sans"/>
              </a:rPr>
              <a:t> – Consolidated reporting</a:t>
            </a:r>
            <a:endParaRPr lang="en-US" sz="600">
              <a:latin typeface="Open Sans" panose="020B0606030504020204" pitchFamily="34" charset="0"/>
              <a:ea typeface="Open Sans" panose="020B0606030504020204" pitchFamily="34" charset="0"/>
              <a:cs typeface="Open Sans" panose="020B0606030504020204" pitchFamily="34" charset="0"/>
            </a:endParaRPr>
          </a:p>
          <a:p>
            <a:pPr defTabSz="685792">
              <a:lnSpc>
                <a:spcPct val="106000"/>
              </a:lnSpc>
              <a:spcAft>
                <a:spcPts val="600"/>
              </a:spcAft>
              <a:defRPr/>
            </a:pPr>
            <a:r>
              <a:rPr lang="en-US" sz="600" b="1">
                <a:latin typeface="Open Sans"/>
                <a:ea typeface="Open Sans"/>
                <a:cs typeface="Open Sans"/>
              </a:rPr>
              <a:t>AQP</a:t>
            </a:r>
            <a:r>
              <a:rPr lang="en-US" sz="600">
                <a:latin typeface="Open Sans"/>
                <a:ea typeface="Open Sans"/>
                <a:cs typeface="Open Sans"/>
              </a:rPr>
              <a:t> – Audit quality plan</a:t>
            </a:r>
            <a:endParaRPr lang="en-US" sz="600">
              <a:latin typeface="Open Sans" panose="020B0606030504020204" pitchFamily="34" charset="0"/>
              <a:ea typeface="Open Sans" panose="020B0606030504020204" pitchFamily="34" charset="0"/>
              <a:cs typeface="Open Sans" panose="020B0606030504020204" pitchFamily="34" charset="0"/>
            </a:endParaRPr>
          </a:p>
          <a:p>
            <a:pPr defTabSz="685792">
              <a:lnSpc>
                <a:spcPct val="106000"/>
              </a:lnSpc>
              <a:spcAft>
                <a:spcPts val="600"/>
              </a:spcAft>
              <a:defRPr/>
            </a:pPr>
            <a:r>
              <a:rPr lang="en-US" sz="600" b="1">
                <a:latin typeface="Open Sans"/>
                <a:ea typeface="Open Sans"/>
                <a:cs typeface="Open Sans"/>
              </a:rPr>
              <a:t>AQI</a:t>
            </a:r>
            <a:r>
              <a:rPr lang="en-US" sz="600">
                <a:latin typeface="Open Sans"/>
                <a:ea typeface="Open Sans"/>
                <a:cs typeface="Open Sans"/>
              </a:rPr>
              <a:t> – Audit quality indicator</a:t>
            </a:r>
            <a:endParaRPr lang="en-US" sz="600">
              <a:latin typeface="Open Sans" panose="020B0606030504020204" pitchFamily="34" charset="0"/>
              <a:ea typeface="Open Sans" panose="020B0606030504020204" pitchFamily="34" charset="0"/>
              <a:cs typeface="Open Sans" panose="020B0606030504020204" pitchFamily="34" charset="0"/>
            </a:endParaRPr>
          </a:p>
          <a:p>
            <a:pPr defTabSz="685792">
              <a:lnSpc>
                <a:spcPct val="106000"/>
              </a:lnSpc>
              <a:spcAft>
                <a:spcPts val="600"/>
              </a:spcAft>
              <a:defRPr/>
            </a:pPr>
            <a:r>
              <a:rPr lang="en-US" sz="600" b="1">
                <a:latin typeface="Open Sans"/>
                <a:ea typeface="Open Sans"/>
                <a:cs typeface="Open Sans"/>
              </a:rPr>
              <a:t>EID</a:t>
            </a:r>
            <a:r>
              <a:rPr lang="en-US" sz="600">
                <a:latin typeface="Open Sans"/>
                <a:ea typeface="Open Sans"/>
                <a:cs typeface="Open Sans"/>
              </a:rPr>
              <a:t> – External inspection database</a:t>
            </a:r>
            <a:r>
              <a:rPr lang="en-US" sz="900" b="1">
                <a:solidFill>
                  <a:prstClr val="black"/>
                </a:solidFill>
                <a:latin typeface="Open Sans" panose="020B0606030504020204" pitchFamily="34" charset="0"/>
                <a:ea typeface="Open Sans" panose="020B0606030504020204" pitchFamily="34" charset="0"/>
                <a:cs typeface="Open Sans" panose="020B0606030504020204" pitchFamily="34" charset="0"/>
              </a:rPr>
              <a:t> </a:t>
            </a:r>
            <a:endParaRPr lang="en-US" sz="7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Rounded Rectangle 15">
            <a:extLst>
              <a:ext uri="{FF2B5EF4-FFF2-40B4-BE49-F238E27FC236}">
                <a16:creationId xmlns:a16="http://schemas.microsoft.com/office/drawing/2014/main" id="{02504A5C-7E88-4F46-A66F-C55E8D794ABF}"/>
              </a:ext>
            </a:extLst>
          </p:cNvPr>
          <p:cNvSpPr/>
          <p:nvPr/>
        </p:nvSpPr>
        <p:spPr bwMode="gray">
          <a:xfrm>
            <a:off x="8171178" y="4860620"/>
            <a:ext cx="1060072" cy="443455"/>
          </a:xfrm>
          <a:prstGeom prst="roundRect">
            <a:avLst/>
          </a:prstGeom>
          <a:solidFill>
            <a:schemeClr val="bg1"/>
          </a:solidFill>
          <a:ln>
            <a:headEnd/>
            <a:tailEnd/>
          </a:ln>
        </p:spPr>
        <p:style>
          <a:lnRef idx="2">
            <a:schemeClr val="dk1"/>
          </a:lnRef>
          <a:fillRef idx="1">
            <a:schemeClr val="lt1"/>
          </a:fillRef>
          <a:effectRef idx="0">
            <a:schemeClr val="dk1"/>
          </a:effectRef>
          <a:fontRef idx="minor">
            <a:schemeClr val="dk1"/>
          </a:fontRef>
        </p:style>
        <p:txBody>
          <a:bodyPr wrap="square" lIns="66676" tIns="66676" rIns="66676" bIns="66676" rtlCol="0" anchor="ctr"/>
          <a:lstStyle/>
          <a:p>
            <a:pPr algn="ctr" defTabSz="685792">
              <a:lnSpc>
                <a:spcPct val="106000"/>
              </a:lnSpc>
              <a:defRPr/>
            </a:pPr>
            <a:r>
              <a:rPr lang="en-US" sz="9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Power BI</a:t>
            </a:r>
          </a:p>
          <a:p>
            <a:pPr algn="ctr" defTabSz="685792">
              <a:lnSpc>
                <a:spcPct val="106000"/>
              </a:lnSpc>
              <a:defRPr/>
            </a:pPr>
            <a:r>
              <a:rPr lang="en-US" sz="9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MI Reporting</a:t>
            </a:r>
          </a:p>
          <a:p>
            <a:pPr algn="ctr" defTabSz="685792">
              <a:lnSpc>
                <a:spcPct val="106000"/>
              </a:lnSpc>
              <a:defRPr/>
            </a:pPr>
            <a:r>
              <a:rPr lang="en-US" sz="900" b="1">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Data Extractor</a:t>
            </a:r>
          </a:p>
        </p:txBody>
      </p:sp>
      <p:cxnSp>
        <p:nvCxnSpPr>
          <p:cNvPr id="110" name="Connector: Elbow 109">
            <a:extLst>
              <a:ext uri="{FF2B5EF4-FFF2-40B4-BE49-F238E27FC236}">
                <a16:creationId xmlns:a16="http://schemas.microsoft.com/office/drawing/2014/main" id="{B31FFB0A-A189-4190-9AD7-1BB736B9B782}"/>
              </a:ext>
            </a:extLst>
          </p:cNvPr>
          <p:cNvCxnSpPr>
            <a:cxnSpLocks/>
            <a:endCxn id="112" idx="0"/>
          </p:cNvCxnSpPr>
          <p:nvPr/>
        </p:nvCxnSpPr>
        <p:spPr>
          <a:xfrm rot="5400000">
            <a:off x="7998251" y="3505519"/>
            <a:ext cx="2058065" cy="652137"/>
          </a:xfrm>
          <a:prstGeom prst="bentConnector3">
            <a:avLst>
              <a:gd name="adj1" fmla="val 75389"/>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562A7C5B-43A9-4898-A096-919967196ADC}"/>
              </a:ext>
            </a:extLst>
          </p:cNvPr>
          <p:cNvCxnSpPr>
            <a:cxnSpLocks/>
            <a:endCxn id="112" idx="2"/>
          </p:cNvCxnSpPr>
          <p:nvPr/>
        </p:nvCxnSpPr>
        <p:spPr>
          <a:xfrm flipV="1">
            <a:off x="7084340" y="5304075"/>
            <a:ext cx="1616874" cy="307998"/>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22" name="Title 1">
            <a:extLst>
              <a:ext uri="{FF2B5EF4-FFF2-40B4-BE49-F238E27FC236}">
                <a16:creationId xmlns:a16="http://schemas.microsoft.com/office/drawing/2014/main" id="{AF49FDC9-738B-414D-AD5E-9F096AEE0C90}"/>
              </a:ext>
            </a:extLst>
          </p:cNvPr>
          <p:cNvSpPr txBox="1">
            <a:spLocks/>
          </p:cNvSpPr>
          <p:nvPr/>
        </p:nvSpPr>
        <p:spPr>
          <a:xfrm>
            <a:off x="186574" y="118866"/>
            <a:ext cx="4063209" cy="461610"/>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0">
                <a:latin typeface="Open Sans Semibold" panose="020B0706030804020204" pitchFamily="34" charset="0"/>
                <a:ea typeface="Open Sans Semibold" panose="020B0706030804020204" pitchFamily="34" charset="0"/>
                <a:cs typeface="Open Sans Semibold" panose="020B0706030804020204" pitchFamily="34" charset="0"/>
              </a:rPr>
              <a:t>Audit Transformation Train</a:t>
            </a:r>
          </a:p>
          <a:p>
            <a:pPr defTabSz="685792"/>
            <a:br>
              <a:rPr lang="en-US" sz="60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Current Ecosystem (as of November 2021)</a:t>
            </a:r>
            <a:endParaRPr lang="en-US" sz="160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21" name="Group 120">
            <a:extLst>
              <a:ext uri="{FF2B5EF4-FFF2-40B4-BE49-F238E27FC236}">
                <a16:creationId xmlns:a16="http://schemas.microsoft.com/office/drawing/2014/main" id="{68EE7233-4392-4AB5-B48C-D058766B05EE}"/>
              </a:ext>
            </a:extLst>
          </p:cNvPr>
          <p:cNvGrpSpPr/>
          <p:nvPr/>
        </p:nvGrpSpPr>
        <p:grpSpPr>
          <a:xfrm>
            <a:off x="7333351" y="258674"/>
            <a:ext cx="4562544" cy="229468"/>
            <a:chOff x="7333351" y="258674"/>
            <a:chExt cx="4562544" cy="229468"/>
          </a:xfrm>
        </p:grpSpPr>
        <p:sp>
          <p:nvSpPr>
            <p:cNvPr id="123" name="Rectangle 122">
              <a:extLst>
                <a:ext uri="{FF2B5EF4-FFF2-40B4-BE49-F238E27FC236}">
                  <a16:creationId xmlns:a16="http://schemas.microsoft.com/office/drawing/2014/main" id="{94E66C4E-D1B9-4877-980E-132F3567BD4D}"/>
                </a:ext>
              </a:extLst>
            </p:cNvPr>
            <p:cNvSpPr/>
            <p:nvPr/>
          </p:nvSpPr>
          <p:spPr>
            <a:xfrm>
              <a:off x="7333351" y="270631"/>
              <a:ext cx="254000" cy="170656"/>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Box 124">
              <a:extLst>
                <a:ext uri="{FF2B5EF4-FFF2-40B4-BE49-F238E27FC236}">
                  <a16:creationId xmlns:a16="http://schemas.microsoft.com/office/drawing/2014/main" id="{6D003291-4B8C-45CB-B774-D6BA26587BC4}"/>
                </a:ext>
              </a:extLst>
            </p:cNvPr>
            <p:cNvSpPr txBox="1"/>
            <p:nvPr/>
          </p:nvSpPr>
          <p:spPr>
            <a:xfrm>
              <a:off x="7548514" y="258674"/>
              <a:ext cx="914087" cy="215444"/>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Audit Online</a:t>
              </a:r>
              <a:endParaRPr lang="en-US" sz="3600">
                <a:latin typeface="Open Sans" panose="020B0606030504020204" pitchFamily="34" charset="0"/>
                <a:ea typeface="Open Sans" panose="020B0606030504020204" pitchFamily="34" charset="0"/>
                <a:cs typeface="Open Sans" panose="020B0606030504020204" pitchFamily="34" charset="0"/>
              </a:endParaRPr>
            </a:p>
          </p:txBody>
        </p:sp>
        <p:sp>
          <p:nvSpPr>
            <p:cNvPr id="126" name="Flowchart: Preparation 125">
              <a:extLst>
                <a:ext uri="{FF2B5EF4-FFF2-40B4-BE49-F238E27FC236}">
                  <a16:creationId xmlns:a16="http://schemas.microsoft.com/office/drawing/2014/main" id="{066E2B8C-AF33-42DF-BEA5-EC62F1248D56}"/>
                </a:ext>
              </a:extLst>
            </p:cNvPr>
            <p:cNvSpPr/>
            <p:nvPr/>
          </p:nvSpPr>
          <p:spPr>
            <a:xfrm>
              <a:off x="9651722" y="268959"/>
              <a:ext cx="328474" cy="196930"/>
            </a:xfrm>
            <a:prstGeom prst="flowChartPreparati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TextBox 126">
              <a:extLst>
                <a:ext uri="{FF2B5EF4-FFF2-40B4-BE49-F238E27FC236}">
                  <a16:creationId xmlns:a16="http://schemas.microsoft.com/office/drawing/2014/main" id="{C078A635-8BD9-458B-B7C5-5315111428A1}"/>
                </a:ext>
              </a:extLst>
            </p:cNvPr>
            <p:cNvSpPr txBox="1"/>
            <p:nvPr/>
          </p:nvSpPr>
          <p:spPr>
            <a:xfrm>
              <a:off x="9949017" y="269996"/>
              <a:ext cx="1014879" cy="215444"/>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External Product</a:t>
              </a:r>
              <a:endParaRPr lang="en-US" sz="3600">
                <a:latin typeface="Open Sans" panose="020B0606030504020204" pitchFamily="34" charset="0"/>
                <a:ea typeface="Open Sans" panose="020B0606030504020204" pitchFamily="34" charset="0"/>
                <a:cs typeface="Open Sans" panose="020B0606030504020204" pitchFamily="34" charset="0"/>
              </a:endParaRPr>
            </a:p>
          </p:txBody>
        </p:sp>
        <p:sp>
          <p:nvSpPr>
            <p:cNvPr id="129" name="Rectangle 128">
              <a:extLst>
                <a:ext uri="{FF2B5EF4-FFF2-40B4-BE49-F238E27FC236}">
                  <a16:creationId xmlns:a16="http://schemas.microsoft.com/office/drawing/2014/main" id="{1B55B089-2102-4667-B0A7-23AC0724E746}"/>
                </a:ext>
              </a:extLst>
            </p:cNvPr>
            <p:cNvSpPr/>
            <p:nvPr/>
          </p:nvSpPr>
          <p:spPr>
            <a:xfrm>
              <a:off x="10963925" y="274227"/>
              <a:ext cx="328474" cy="19693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009F9E2E-AD81-4F67-ABE0-3E22314D5EB4}"/>
                </a:ext>
              </a:extLst>
            </p:cNvPr>
            <p:cNvSpPr txBox="1"/>
            <p:nvPr/>
          </p:nvSpPr>
          <p:spPr>
            <a:xfrm>
              <a:off x="11277748" y="272698"/>
              <a:ext cx="618147" cy="215444"/>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Flagship</a:t>
              </a:r>
              <a:endParaRPr lang="en-US" sz="3600">
                <a:latin typeface="Open Sans" panose="020B0606030504020204" pitchFamily="34" charset="0"/>
                <a:ea typeface="Open Sans" panose="020B0606030504020204" pitchFamily="34" charset="0"/>
                <a:cs typeface="Open Sans" panose="020B0606030504020204" pitchFamily="34" charset="0"/>
              </a:endParaRPr>
            </a:p>
          </p:txBody>
        </p:sp>
        <p:sp>
          <p:nvSpPr>
            <p:cNvPr id="131" name="Rectangle 130">
              <a:extLst>
                <a:ext uri="{FF2B5EF4-FFF2-40B4-BE49-F238E27FC236}">
                  <a16:creationId xmlns:a16="http://schemas.microsoft.com/office/drawing/2014/main" id="{ED5839B5-A64B-4C15-BC28-1832174CFE71}"/>
                </a:ext>
              </a:extLst>
            </p:cNvPr>
            <p:cNvSpPr/>
            <p:nvPr/>
          </p:nvSpPr>
          <p:spPr>
            <a:xfrm>
              <a:off x="8330366" y="269929"/>
              <a:ext cx="254000" cy="17065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TextBox 131">
              <a:extLst>
                <a:ext uri="{FF2B5EF4-FFF2-40B4-BE49-F238E27FC236}">
                  <a16:creationId xmlns:a16="http://schemas.microsoft.com/office/drawing/2014/main" id="{00E91607-D154-4B9D-84A6-D129DB2D270F}"/>
                </a:ext>
              </a:extLst>
            </p:cNvPr>
            <p:cNvSpPr txBox="1"/>
            <p:nvPr/>
          </p:nvSpPr>
          <p:spPr>
            <a:xfrm>
              <a:off x="8546096" y="258674"/>
              <a:ext cx="1199161" cy="215444"/>
            </a:xfrm>
            <a:prstGeom prst="rect">
              <a:avLst/>
            </a:prstGeom>
            <a:noFill/>
          </p:spPr>
          <p:txBody>
            <a:bodyPr wrap="square" rtlCol="0">
              <a:spAutoFit/>
            </a:bodyPr>
            <a:lstStyle/>
            <a:p>
              <a:r>
                <a:rPr lang="en-US" sz="800">
                  <a:latin typeface="Open Sans" panose="020B0606030504020204" pitchFamily="34" charset="0"/>
                  <a:ea typeface="Open Sans" panose="020B0606030504020204" pitchFamily="34" charset="0"/>
                  <a:cs typeface="Open Sans" panose="020B0606030504020204" pitchFamily="34" charset="0"/>
                </a:rPr>
                <a:t>Extended Reporting</a:t>
              </a:r>
              <a:endParaRPr lang="en-US" sz="360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135" name="Connector: Elbow 134">
            <a:extLst>
              <a:ext uri="{FF2B5EF4-FFF2-40B4-BE49-F238E27FC236}">
                <a16:creationId xmlns:a16="http://schemas.microsoft.com/office/drawing/2014/main" id="{2BC218D2-95CA-4840-9A6B-67B068AB3E72}"/>
              </a:ext>
            </a:extLst>
          </p:cNvPr>
          <p:cNvCxnSpPr>
            <a:stCxn id="40" idx="3"/>
            <a:endCxn id="48" idx="1"/>
          </p:cNvCxnSpPr>
          <p:nvPr/>
        </p:nvCxnSpPr>
        <p:spPr>
          <a:xfrm flipV="1">
            <a:off x="3021876" y="2251796"/>
            <a:ext cx="1013642" cy="485188"/>
          </a:xfrm>
          <a:prstGeom prst="bentConnector3">
            <a:avLst/>
          </a:prstGeom>
          <a:ln>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79548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C9740AE0-2FD7-41FA-B612-178B83F9986B}"/>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a:ea typeface="Open Sans" panose="020B0606030504020204" pitchFamily="34" charset="0"/>
                <a:cs typeface="Open Sans" panose="020B0606030504020204" pitchFamily="34" charset="0"/>
              </a:rPr>
              <a:t>Audit Transformations: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PI Planning Objectives – </a:t>
            </a:r>
            <a:r>
              <a:rPr lang="en-US" sz="1801" b="1">
                <a:latin typeface="Open Sans" panose="020B0606030504020204" pitchFamily="34" charset="0"/>
                <a:ea typeface="Open Sans" panose="020B0606030504020204" pitchFamily="34" charset="0"/>
                <a:cs typeface="Open Sans" panose="020B0606030504020204" pitchFamily="34" charset="0"/>
              </a:rPr>
              <a:t>New Normal</a:t>
            </a:r>
          </a:p>
        </p:txBody>
      </p:sp>
      <p:pic>
        <p:nvPicPr>
          <p:cNvPr id="3" name="Picture 2">
            <a:extLst>
              <a:ext uri="{FF2B5EF4-FFF2-40B4-BE49-F238E27FC236}">
                <a16:creationId xmlns:a16="http://schemas.microsoft.com/office/drawing/2014/main" id="{EA73166E-50CA-804E-954A-042CE692742E}"/>
              </a:ext>
            </a:extLst>
          </p:cNvPr>
          <p:cNvPicPr>
            <a:picLocks noChangeAspect="1"/>
          </p:cNvPicPr>
          <p:nvPr/>
        </p:nvPicPr>
        <p:blipFill>
          <a:blip r:embed="rId2"/>
          <a:stretch>
            <a:fillRect/>
          </a:stretch>
        </p:blipFill>
        <p:spPr>
          <a:xfrm>
            <a:off x="381413" y="928187"/>
            <a:ext cx="11681351" cy="5929813"/>
          </a:xfrm>
          <a:prstGeom prst="rect">
            <a:avLst/>
          </a:prstGeom>
        </p:spPr>
      </p:pic>
    </p:spTree>
    <p:extLst>
      <p:ext uri="{BB962C8B-B14F-4D97-AF65-F5344CB8AC3E}">
        <p14:creationId xmlns:p14="http://schemas.microsoft.com/office/powerpoint/2010/main" val="27972259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6499960" y="2419521"/>
            <a:ext cx="3764903" cy="2018957"/>
          </a:xfrm>
        </p:spPr>
        <p:txBody>
          <a:bodyPr vert="horz" lIns="68580" tIns="34292" rIns="68580" bIns="34292" rtlCol="0" anchor="ctr" anchorCtr="0">
            <a:noAutofit/>
          </a:bodyPr>
          <a:lstStyle/>
          <a:p>
            <a:pPr marL="0" indent="0">
              <a:spcBef>
                <a:spcPts val="0"/>
              </a:spcBef>
              <a:buNone/>
            </a:pPr>
            <a:r>
              <a:rPr lang="en-US" sz="2000" b="1">
                <a:solidFill>
                  <a:srgbClr val="000000"/>
                </a:solidFill>
                <a:latin typeface="Open Sans" panose="020B0606030504020204" pitchFamily="34" charset="0"/>
                <a:ea typeface="Open Sans" panose="020B0606030504020204" pitchFamily="34" charset="0"/>
                <a:cs typeface="Open Sans" panose="020B0606030504020204" pitchFamily="34" charset="0"/>
              </a:rPr>
              <a:t>Business </a:t>
            </a:r>
            <a:r>
              <a:rPr lang="en-US" sz="2000" b="1" err="1">
                <a:solidFill>
                  <a:srgbClr val="000000"/>
                </a:solidFill>
                <a:latin typeface="Open Sans" panose="020B0606030504020204" pitchFamily="34" charset="0"/>
                <a:ea typeface="Open Sans" panose="020B0606030504020204" pitchFamily="34" charset="0"/>
                <a:cs typeface="Open Sans" panose="020B0606030504020204" pitchFamily="34" charset="0"/>
              </a:rPr>
              <a:t>Values|Roadmap</a:t>
            </a:r>
            <a:endParaRPr lang="en-US" sz="2000" b="1">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indent="0">
              <a:spcBef>
                <a:spcPts val="0"/>
              </a:spcBef>
              <a:buNone/>
            </a:pPr>
            <a:endParaRPr lang="en-US" sz="20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indent="0">
              <a:spcBef>
                <a:spcPts val="0"/>
              </a:spcBef>
              <a:buNone/>
            </a:pPr>
            <a:r>
              <a:rPr lang="en-US" sz="20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rnold / Ben</a:t>
            </a:r>
          </a:p>
        </p:txBody>
      </p:sp>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8096" y="916946"/>
            <a:ext cx="5278632" cy="5278632"/>
          </a:xfrm>
          <a:prstGeom prst="rect">
            <a:avLst/>
          </a:prstGeom>
        </p:spPr>
      </p:pic>
    </p:spTree>
    <p:extLst>
      <p:ext uri="{BB962C8B-B14F-4D97-AF65-F5344CB8AC3E}">
        <p14:creationId xmlns:p14="http://schemas.microsoft.com/office/powerpoint/2010/main" val="269751123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 name="Group 91">
            <a:extLst>
              <a:ext uri="{FF2B5EF4-FFF2-40B4-BE49-F238E27FC236}">
                <a16:creationId xmlns:a16="http://schemas.microsoft.com/office/drawing/2014/main" id="{F47935A8-E844-44F6-901D-314CEF1F93CB}"/>
              </a:ext>
            </a:extLst>
          </p:cNvPr>
          <p:cNvGrpSpPr/>
          <p:nvPr/>
        </p:nvGrpSpPr>
        <p:grpSpPr>
          <a:xfrm>
            <a:off x="341405" y="3478671"/>
            <a:ext cx="11479865" cy="315655"/>
            <a:chOff x="259949" y="2181827"/>
            <a:chExt cx="12474896" cy="274320"/>
          </a:xfrm>
        </p:grpSpPr>
        <p:sp>
          <p:nvSpPr>
            <p:cNvPr id="93" name="Arrow: Right 92">
              <a:extLst>
                <a:ext uri="{FF2B5EF4-FFF2-40B4-BE49-F238E27FC236}">
                  <a16:creationId xmlns:a16="http://schemas.microsoft.com/office/drawing/2014/main" id="{15F45D1B-C136-4CF9-A6EE-84144832AE97}"/>
                </a:ext>
              </a:extLst>
            </p:cNvPr>
            <p:cNvSpPr/>
            <p:nvPr/>
          </p:nvSpPr>
          <p:spPr bwMode="gray">
            <a:xfrm>
              <a:off x="1307793" y="2216746"/>
              <a:ext cx="11427052" cy="212446"/>
            </a:xfrm>
            <a:prstGeom prst="right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94" name="Pentagon 113">
              <a:extLst>
                <a:ext uri="{FF2B5EF4-FFF2-40B4-BE49-F238E27FC236}">
                  <a16:creationId xmlns:a16="http://schemas.microsoft.com/office/drawing/2014/main" id="{9B9F4B70-15AA-44FA-8184-C0D310887E57}"/>
                </a:ext>
              </a:extLst>
            </p:cNvPr>
            <p:cNvSpPr/>
            <p:nvPr/>
          </p:nvSpPr>
          <p:spPr>
            <a:xfrm>
              <a:off x="259949" y="2181827"/>
              <a:ext cx="1100061" cy="274320"/>
            </a:xfrm>
            <a:prstGeom prst="homePlat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xcel Analytics</a:t>
              </a:r>
            </a:p>
          </p:txBody>
        </p:sp>
      </p:grpSp>
      <p:sp>
        <p:nvSpPr>
          <p:cNvPr id="3" name="Title 2"/>
          <p:cNvSpPr>
            <a:spLocks noGrp="1"/>
          </p:cNvSpPr>
          <p:nvPr>
            <p:ph type="title"/>
          </p:nvPr>
        </p:nvSpPr>
        <p:spPr>
          <a:xfrm>
            <a:off x="220795" y="126225"/>
            <a:ext cx="6306745" cy="465844"/>
          </a:xfrm>
        </p:spPr>
        <p:txBody>
          <a:bodyPr>
            <a:noAutofit/>
          </a:bodyPr>
          <a:lstStyle/>
          <a:p>
            <a:r>
              <a:rPr lang="en-US" sz="1800" b="1">
                <a:latin typeface="Calibri" panose="020F0502020204030204" pitchFamily="34" charset="0"/>
                <a:cs typeface="Calibri" panose="020F0502020204030204" pitchFamily="34" charset="0"/>
              </a:rPr>
              <a:t>Roadmap of Audit Transformation Product Releases </a:t>
            </a:r>
            <a:br>
              <a:rPr lang="en-US" sz="1800" b="1">
                <a:latin typeface="Calibri" panose="020F0502020204030204" pitchFamily="34" charset="0"/>
                <a:cs typeface="Calibri" panose="020F0502020204030204" pitchFamily="34" charset="0"/>
              </a:rPr>
            </a:br>
            <a:r>
              <a:rPr lang="en-US" sz="1800" b="1" i="1">
                <a:latin typeface="Calibri" panose="020F0502020204030204" pitchFamily="34" charset="0"/>
                <a:cs typeface="Calibri" panose="020F0502020204030204" pitchFamily="34" charset="0"/>
              </a:rPr>
              <a:t>July 2021</a:t>
            </a:r>
            <a:endParaRPr lang="en-US" sz="1800" b="1" i="1">
              <a:solidFill>
                <a:schemeClr val="bg1">
                  <a:lumMod val="50000"/>
                </a:schemeClr>
              </a:solidFill>
            </a:endParaRPr>
          </a:p>
        </p:txBody>
      </p:sp>
      <p:grpSp>
        <p:nvGrpSpPr>
          <p:cNvPr id="5" name="Group 4">
            <a:extLst>
              <a:ext uri="{FF2B5EF4-FFF2-40B4-BE49-F238E27FC236}">
                <a16:creationId xmlns:a16="http://schemas.microsoft.com/office/drawing/2014/main" id="{89C9A043-57ED-448A-A453-89B665ACED91}"/>
              </a:ext>
            </a:extLst>
          </p:cNvPr>
          <p:cNvGrpSpPr/>
          <p:nvPr/>
        </p:nvGrpSpPr>
        <p:grpSpPr>
          <a:xfrm>
            <a:off x="351180" y="1255548"/>
            <a:ext cx="11479865" cy="315655"/>
            <a:chOff x="259949" y="1480854"/>
            <a:chExt cx="12474896" cy="274320"/>
          </a:xfrm>
        </p:grpSpPr>
        <p:sp>
          <p:nvSpPr>
            <p:cNvPr id="2" name="Arrow: Right 1">
              <a:extLst>
                <a:ext uri="{FF2B5EF4-FFF2-40B4-BE49-F238E27FC236}">
                  <a16:creationId xmlns:a16="http://schemas.microsoft.com/office/drawing/2014/main" id="{E7718BE4-B58B-4406-83D5-D004222E4F78}"/>
                </a:ext>
              </a:extLst>
            </p:cNvPr>
            <p:cNvSpPr/>
            <p:nvPr/>
          </p:nvSpPr>
          <p:spPr bwMode="gray">
            <a:xfrm>
              <a:off x="1307793" y="1517808"/>
              <a:ext cx="11427052" cy="212446"/>
            </a:xfrm>
            <a:prstGeom prst="right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2" name="Pentagon 43">
              <a:extLst>
                <a:ext uri="{FF2B5EF4-FFF2-40B4-BE49-F238E27FC236}">
                  <a16:creationId xmlns:a16="http://schemas.microsoft.com/office/drawing/2014/main" id="{3DD63D44-9CAF-4E43-B5A2-5CAF0F19ADA7}"/>
                </a:ext>
              </a:extLst>
            </p:cNvPr>
            <p:cNvSpPr/>
            <p:nvPr/>
          </p:nvSpPr>
          <p:spPr>
            <a:xfrm>
              <a:off x="259949" y="1480854"/>
              <a:ext cx="1099618" cy="274320"/>
            </a:xfrm>
            <a:prstGeom prst="homePlat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MS</a:t>
              </a:r>
            </a:p>
          </p:txBody>
        </p:sp>
      </p:grpSp>
      <p:grpSp>
        <p:nvGrpSpPr>
          <p:cNvPr id="8" name="Group 7">
            <a:extLst>
              <a:ext uri="{FF2B5EF4-FFF2-40B4-BE49-F238E27FC236}">
                <a16:creationId xmlns:a16="http://schemas.microsoft.com/office/drawing/2014/main" id="{5C09DFF5-93D5-4591-AEDE-13A8EF64CED3}"/>
              </a:ext>
            </a:extLst>
          </p:cNvPr>
          <p:cNvGrpSpPr/>
          <p:nvPr/>
        </p:nvGrpSpPr>
        <p:grpSpPr>
          <a:xfrm>
            <a:off x="351180" y="4902060"/>
            <a:ext cx="11479865" cy="315655"/>
            <a:chOff x="259949" y="3439389"/>
            <a:chExt cx="12474896" cy="274320"/>
          </a:xfrm>
        </p:grpSpPr>
        <p:sp>
          <p:nvSpPr>
            <p:cNvPr id="44" name="Arrow: Right 43">
              <a:extLst>
                <a:ext uri="{FF2B5EF4-FFF2-40B4-BE49-F238E27FC236}">
                  <a16:creationId xmlns:a16="http://schemas.microsoft.com/office/drawing/2014/main" id="{5C5E3B82-F869-48CE-89D0-8F5D9CD0C4A7}"/>
                </a:ext>
              </a:extLst>
            </p:cNvPr>
            <p:cNvSpPr/>
            <p:nvPr/>
          </p:nvSpPr>
          <p:spPr bwMode="gray">
            <a:xfrm>
              <a:off x="1307793" y="3476254"/>
              <a:ext cx="11427052" cy="212446"/>
            </a:xfrm>
            <a:prstGeom prst="right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4" name="Pentagon 190">
              <a:extLst>
                <a:ext uri="{FF2B5EF4-FFF2-40B4-BE49-F238E27FC236}">
                  <a16:creationId xmlns:a16="http://schemas.microsoft.com/office/drawing/2014/main" id="{926CF3DB-30CF-47E0-88AF-98FA3229F896}"/>
                </a:ext>
              </a:extLst>
            </p:cNvPr>
            <p:cNvSpPr/>
            <p:nvPr/>
          </p:nvSpPr>
          <p:spPr>
            <a:xfrm>
              <a:off x="259949" y="3439389"/>
              <a:ext cx="1100061" cy="274320"/>
            </a:xfrm>
            <a:prstGeom prst="homePlat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QMM</a:t>
              </a:r>
            </a:p>
          </p:txBody>
        </p:sp>
      </p:grpSp>
      <p:grpSp>
        <p:nvGrpSpPr>
          <p:cNvPr id="6" name="Group 5">
            <a:extLst>
              <a:ext uri="{FF2B5EF4-FFF2-40B4-BE49-F238E27FC236}">
                <a16:creationId xmlns:a16="http://schemas.microsoft.com/office/drawing/2014/main" id="{520DAFED-8408-4C4E-A930-D2E93D80CB09}"/>
              </a:ext>
            </a:extLst>
          </p:cNvPr>
          <p:cNvGrpSpPr/>
          <p:nvPr/>
        </p:nvGrpSpPr>
        <p:grpSpPr>
          <a:xfrm>
            <a:off x="351180" y="1935701"/>
            <a:ext cx="11479865" cy="315655"/>
            <a:chOff x="259949" y="2181827"/>
            <a:chExt cx="12474896" cy="274320"/>
          </a:xfrm>
        </p:grpSpPr>
        <p:sp>
          <p:nvSpPr>
            <p:cNvPr id="42" name="Arrow: Right 41">
              <a:extLst>
                <a:ext uri="{FF2B5EF4-FFF2-40B4-BE49-F238E27FC236}">
                  <a16:creationId xmlns:a16="http://schemas.microsoft.com/office/drawing/2014/main" id="{B79DC56C-1CCA-4C69-A0BE-5E7BF09BC52B}"/>
                </a:ext>
              </a:extLst>
            </p:cNvPr>
            <p:cNvSpPr/>
            <p:nvPr/>
          </p:nvSpPr>
          <p:spPr bwMode="gray">
            <a:xfrm>
              <a:off x="1307793" y="2216746"/>
              <a:ext cx="11427052" cy="212446"/>
            </a:xfrm>
            <a:prstGeom prst="right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5" name="Pentagon 113">
              <a:extLst>
                <a:ext uri="{FF2B5EF4-FFF2-40B4-BE49-F238E27FC236}">
                  <a16:creationId xmlns:a16="http://schemas.microsoft.com/office/drawing/2014/main" id="{32FF1968-E21D-4DFA-81DB-B9BC2DC55533}"/>
                </a:ext>
              </a:extLst>
            </p:cNvPr>
            <p:cNvSpPr/>
            <p:nvPr/>
          </p:nvSpPr>
          <p:spPr>
            <a:xfrm>
              <a:off x="259949" y="2181827"/>
              <a:ext cx="1100061" cy="274320"/>
            </a:xfrm>
            <a:prstGeom prst="homePlat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udit Online</a:t>
              </a:r>
            </a:p>
          </p:txBody>
        </p:sp>
      </p:grpSp>
      <p:grpSp>
        <p:nvGrpSpPr>
          <p:cNvPr id="7" name="Group 6">
            <a:extLst>
              <a:ext uri="{FF2B5EF4-FFF2-40B4-BE49-F238E27FC236}">
                <a16:creationId xmlns:a16="http://schemas.microsoft.com/office/drawing/2014/main" id="{D4D1DAE2-F0E8-4634-8ABE-D8399B64E89B}"/>
              </a:ext>
            </a:extLst>
          </p:cNvPr>
          <p:cNvGrpSpPr/>
          <p:nvPr/>
        </p:nvGrpSpPr>
        <p:grpSpPr>
          <a:xfrm>
            <a:off x="341405" y="4217736"/>
            <a:ext cx="11479865" cy="315655"/>
            <a:chOff x="259949" y="2786544"/>
            <a:chExt cx="12474896" cy="274320"/>
          </a:xfrm>
        </p:grpSpPr>
        <p:sp>
          <p:nvSpPr>
            <p:cNvPr id="43" name="Arrow: Right 42">
              <a:extLst>
                <a:ext uri="{FF2B5EF4-FFF2-40B4-BE49-F238E27FC236}">
                  <a16:creationId xmlns:a16="http://schemas.microsoft.com/office/drawing/2014/main" id="{3418E29F-7BD5-4D44-A237-3BBDA22F517B}"/>
                </a:ext>
              </a:extLst>
            </p:cNvPr>
            <p:cNvSpPr/>
            <p:nvPr/>
          </p:nvSpPr>
          <p:spPr bwMode="gray">
            <a:xfrm>
              <a:off x="1307793" y="2825444"/>
              <a:ext cx="11427052" cy="212446"/>
            </a:xfrm>
            <a:prstGeom prst="right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0" name="Pentagon 93">
              <a:extLst>
                <a:ext uri="{FF2B5EF4-FFF2-40B4-BE49-F238E27FC236}">
                  <a16:creationId xmlns:a16="http://schemas.microsoft.com/office/drawing/2014/main" id="{B12F6574-5363-4499-B494-DD5C52328959}"/>
                </a:ext>
              </a:extLst>
            </p:cNvPr>
            <p:cNvSpPr/>
            <p:nvPr/>
          </p:nvSpPr>
          <p:spPr>
            <a:xfrm>
              <a:off x="259949" y="2786544"/>
              <a:ext cx="1099619" cy="274320"/>
            </a:xfrm>
            <a:prstGeom prst="homePlat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AT</a:t>
              </a:r>
            </a:p>
          </p:txBody>
        </p:sp>
      </p:grpSp>
      <p:grpSp>
        <p:nvGrpSpPr>
          <p:cNvPr id="57" name="Group 56">
            <a:extLst>
              <a:ext uri="{FF2B5EF4-FFF2-40B4-BE49-F238E27FC236}">
                <a16:creationId xmlns:a16="http://schemas.microsoft.com/office/drawing/2014/main" id="{789838CE-3BFE-4EA2-A2EB-E979CBD2943C}"/>
              </a:ext>
            </a:extLst>
          </p:cNvPr>
          <p:cNvGrpSpPr/>
          <p:nvPr/>
        </p:nvGrpSpPr>
        <p:grpSpPr>
          <a:xfrm>
            <a:off x="351180" y="5568210"/>
            <a:ext cx="11479865" cy="315655"/>
            <a:chOff x="259949" y="4519358"/>
            <a:chExt cx="12474896" cy="274320"/>
          </a:xfrm>
        </p:grpSpPr>
        <p:sp>
          <p:nvSpPr>
            <p:cNvPr id="58" name="Arrow: Right 57">
              <a:extLst>
                <a:ext uri="{FF2B5EF4-FFF2-40B4-BE49-F238E27FC236}">
                  <a16:creationId xmlns:a16="http://schemas.microsoft.com/office/drawing/2014/main" id="{E7E5ADA5-B5A8-4D91-886F-276E9EB9CF3A}"/>
                </a:ext>
              </a:extLst>
            </p:cNvPr>
            <p:cNvSpPr/>
            <p:nvPr/>
          </p:nvSpPr>
          <p:spPr bwMode="gray">
            <a:xfrm>
              <a:off x="1307793" y="4556223"/>
              <a:ext cx="11427052" cy="212446"/>
            </a:xfrm>
            <a:prstGeom prst="right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9" name="Pentagon 190">
              <a:extLst>
                <a:ext uri="{FF2B5EF4-FFF2-40B4-BE49-F238E27FC236}">
                  <a16:creationId xmlns:a16="http://schemas.microsoft.com/office/drawing/2014/main" id="{23087C0D-B67C-462F-8A6C-B506B5024ECE}"/>
                </a:ext>
              </a:extLst>
            </p:cNvPr>
            <p:cNvSpPr/>
            <p:nvPr/>
          </p:nvSpPr>
          <p:spPr>
            <a:xfrm>
              <a:off x="259949" y="4519358"/>
              <a:ext cx="1099619" cy="274320"/>
            </a:xfrm>
            <a:prstGeom prst="homePlat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iagnostics</a:t>
              </a:r>
            </a:p>
          </p:txBody>
        </p:sp>
      </p:grpSp>
      <p:sp>
        <p:nvSpPr>
          <p:cNvPr id="63" name="TextBox 62">
            <a:extLst>
              <a:ext uri="{FF2B5EF4-FFF2-40B4-BE49-F238E27FC236}">
                <a16:creationId xmlns:a16="http://schemas.microsoft.com/office/drawing/2014/main" id="{8CFC0E37-1874-422B-B1B2-8C8E1F584DFF}"/>
              </a:ext>
            </a:extLst>
          </p:cNvPr>
          <p:cNvSpPr txBox="1"/>
          <p:nvPr/>
        </p:nvSpPr>
        <p:spPr>
          <a:xfrm>
            <a:off x="694131" y="596224"/>
            <a:ext cx="1160470" cy="307777"/>
          </a:xfrm>
          <a:prstGeom prst="rect">
            <a:avLst/>
          </a:prstGeom>
          <a:noFill/>
        </p:spPr>
        <p:txBody>
          <a:bodyPr wrap="square" rtlCol="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Jul 21</a:t>
            </a:r>
          </a:p>
        </p:txBody>
      </p:sp>
      <p:sp>
        <p:nvSpPr>
          <p:cNvPr id="70" name="TextBox 69">
            <a:extLst>
              <a:ext uri="{FF2B5EF4-FFF2-40B4-BE49-F238E27FC236}">
                <a16:creationId xmlns:a16="http://schemas.microsoft.com/office/drawing/2014/main" id="{8CFC0E37-1874-422B-B1B2-8C8E1F584DFF}"/>
              </a:ext>
            </a:extLst>
          </p:cNvPr>
          <p:cNvSpPr txBox="1"/>
          <p:nvPr/>
        </p:nvSpPr>
        <p:spPr>
          <a:xfrm>
            <a:off x="4482624" y="602319"/>
            <a:ext cx="1160470" cy="307777"/>
          </a:xfrm>
          <a:prstGeom prst="rect">
            <a:avLst/>
          </a:prstGeom>
          <a:noFill/>
        </p:spPr>
        <p:txBody>
          <a:bodyPr wrap="square" rtlCol="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Oct 21</a:t>
            </a:r>
          </a:p>
        </p:txBody>
      </p:sp>
      <p:sp>
        <p:nvSpPr>
          <p:cNvPr id="72" name="TextBox 71">
            <a:extLst>
              <a:ext uri="{FF2B5EF4-FFF2-40B4-BE49-F238E27FC236}">
                <a16:creationId xmlns:a16="http://schemas.microsoft.com/office/drawing/2014/main" id="{7ACA3C9F-A570-461D-8465-C2F28E9173A9}"/>
              </a:ext>
            </a:extLst>
          </p:cNvPr>
          <p:cNvSpPr txBox="1"/>
          <p:nvPr/>
        </p:nvSpPr>
        <p:spPr>
          <a:xfrm>
            <a:off x="1978880" y="582924"/>
            <a:ext cx="1160470" cy="307777"/>
          </a:xfrm>
          <a:prstGeom prst="rect">
            <a:avLst/>
          </a:prstGeom>
          <a:noFill/>
        </p:spPr>
        <p:txBody>
          <a:bodyPr wrap="square" rtlCol="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ug 21</a:t>
            </a:r>
          </a:p>
        </p:txBody>
      </p:sp>
      <p:sp>
        <p:nvSpPr>
          <p:cNvPr id="81" name="TextBox 80">
            <a:extLst>
              <a:ext uri="{FF2B5EF4-FFF2-40B4-BE49-F238E27FC236}">
                <a16:creationId xmlns:a16="http://schemas.microsoft.com/office/drawing/2014/main" id="{82C3934C-43A0-4DFE-9682-C9419CEC45E4}"/>
              </a:ext>
            </a:extLst>
          </p:cNvPr>
          <p:cNvSpPr txBox="1"/>
          <p:nvPr/>
        </p:nvSpPr>
        <p:spPr>
          <a:xfrm>
            <a:off x="3211422" y="583446"/>
            <a:ext cx="1160470" cy="307777"/>
          </a:xfrm>
          <a:prstGeom prst="rect">
            <a:avLst/>
          </a:prstGeom>
          <a:noFill/>
        </p:spPr>
        <p:txBody>
          <a:bodyPr wrap="square" rtlCol="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ept 21</a:t>
            </a:r>
          </a:p>
        </p:txBody>
      </p:sp>
      <p:pic>
        <p:nvPicPr>
          <p:cNvPr id="87" name="Freeform 67">
            <a:extLst>
              <a:ext uri="{FF2B5EF4-FFF2-40B4-BE49-F238E27FC236}">
                <a16:creationId xmlns:a16="http://schemas.microsoft.com/office/drawing/2014/main" id="{89EF07C0-60F1-422F-8E61-A0DEB456FF3A}"/>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8913148" y="129837"/>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49" name="Group 48">
            <a:extLst>
              <a:ext uri="{FF2B5EF4-FFF2-40B4-BE49-F238E27FC236}">
                <a16:creationId xmlns:a16="http://schemas.microsoft.com/office/drawing/2014/main" id="{61A862E2-313A-45ED-AB4D-C815800A67CE}"/>
              </a:ext>
            </a:extLst>
          </p:cNvPr>
          <p:cNvGrpSpPr/>
          <p:nvPr/>
        </p:nvGrpSpPr>
        <p:grpSpPr>
          <a:xfrm>
            <a:off x="341405" y="6286180"/>
            <a:ext cx="11478918" cy="317761"/>
            <a:chOff x="259949" y="6122962"/>
            <a:chExt cx="12486100" cy="274320"/>
          </a:xfrm>
        </p:grpSpPr>
        <p:sp>
          <p:nvSpPr>
            <p:cNvPr id="51" name="Arrow: Right 50">
              <a:extLst>
                <a:ext uri="{FF2B5EF4-FFF2-40B4-BE49-F238E27FC236}">
                  <a16:creationId xmlns:a16="http://schemas.microsoft.com/office/drawing/2014/main" id="{D7E700DF-CCA5-429F-9896-8C9BC647AEAD}"/>
                </a:ext>
              </a:extLst>
            </p:cNvPr>
            <p:cNvSpPr/>
            <p:nvPr/>
          </p:nvSpPr>
          <p:spPr bwMode="gray">
            <a:xfrm>
              <a:off x="1307790" y="6153722"/>
              <a:ext cx="11438259" cy="212446"/>
            </a:xfrm>
            <a:prstGeom prst="right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2" name="Pentagon 68">
              <a:extLst>
                <a:ext uri="{FF2B5EF4-FFF2-40B4-BE49-F238E27FC236}">
                  <a16:creationId xmlns:a16="http://schemas.microsoft.com/office/drawing/2014/main" id="{AF9AD002-1666-480A-A97A-D6A7B3F11C10}"/>
                </a:ext>
              </a:extLst>
            </p:cNvPr>
            <p:cNvSpPr/>
            <p:nvPr/>
          </p:nvSpPr>
          <p:spPr>
            <a:xfrm>
              <a:off x="259949" y="6122962"/>
              <a:ext cx="1099619" cy="274320"/>
            </a:xfrm>
            <a:prstGeom prst="homePlat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MS</a:t>
              </a:r>
            </a:p>
          </p:txBody>
        </p:sp>
      </p:grpSp>
      <p:sp>
        <p:nvSpPr>
          <p:cNvPr id="62" name="TextBox 61">
            <a:extLst>
              <a:ext uri="{FF2B5EF4-FFF2-40B4-BE49-F238E27FC236}">
                <a16:creationId xmlns:a16="http://schemas.microsoft.com/office/drawing/2014/main" id="{C6BF230D-2646-45DD-989E-0D2D81FE0CFD}"/>
              </a:ext>
            </a:extLst>
          </p:cNvPr>
          <p:cNvSpPr txBox="1"/>
          <p:nvPr/>
        </p:nvSpPr>
        <p:spPr>
          <a:xfrm>
            <a:off x="5753826" y="595189"/>
            <a:ext cx="1160470" cy="307777"/>
          </a:xfrm>
          <a:prstGeom prst="rect">
            <a:avLst/>
          </a:prstGeom>
          <a:noFill/>
        </p:spPr>
        <p:txBody>
          <a:bodyPr wrap="square" rtlCol="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Nov 21</a:t>
            </a:r>
          </a:p>
        </p:txBody>
      </p:sp>
      <p:sp>
        <p:nvSpPr>
          <p:cNvPr id="90" name="TextBox 89">
            <a:extLst>
              <a:ext uri="{FF2B5EF4-FFF2-40B4-BE49-F238E27FC236}">
                <a16:creationId xmlns:a16="http://schemas.microsoft.com/office/drawing/2014/main" id="{D5E1CAB3-139E-4E06-B09F-88C95CB533D2}"/>
              </a:ext>
            </a:extLst>
          </p:cNvPr>
          <p:cNvSpPr txBox="1"/>
          <p:nvPr/>
        </p:nvSpPr>
        <p:spPr>
          <a:xfrm>
            <a:off x="6986368" y="582923"/>
            <a:ext cx="1160470" cy="307777"/>
          </a:xfrm>
          <a:prstGeom prst="rect">
            <a:avLst/>
          </a:prstGeom>
          <a:noFill/>
        </p:spPr>
        <p:txBody>
          <a:bodyPr wrap="square" rtlCol="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ec 21</a:t>
            </a:r>
          </a:p>
        </p:txBody>
      </p:sp>
      <p:sp>
        <p:nvSpPr>
          <p:cNvPr id="91" name="TextBox 90">
            <a:extLst>
              <a:ext uri="{FF2B5EF4-FFF2-40B4-BE49-F238E27FC236}">
                <a16:creationId xmlns:a16="http://schemas.microsoft.com/office/drawing/2014/main" id="{879CA63B-D794-4BC9-99EF-358F7E61E23A}"/>
              </a:ext>
            </a:extLst>
          </p:cNvPr>
          <p:cNvSpPr txBox="1"/>
          <p:nvPr/>
        </p:nvSpPr>
        <p:spPr>
          <a:xfrm>
            <a:off x="8146838" y="571820"/>
            <a:ext cx="1160470" cy="307777"/>
          </a:xfrm>
          <a:prstGeom prst="rect">
            <a:avLst/>
          </a:prstGeom>
          <a:noFill/>
        </p:spPr>
        <p:txBody>
          <a:bodyPr wrap="square" rtlCol="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Jan 22</a:t>
            </a:r>
          </a:p>
        </p:txBody>
      </p:sp>
      <p:sp>
        <p:nvSpPr>
          <p:cNvPr id="95" name="Rectangle 94">
            <a:extLst>
              <a:ext uri="{FF2B5EF4-FFF2-40B4-BE49-F238E27FC236}">
                <a16:creationId xmlns:a16="http://schemas.microsoft.com/office/drawing/2014/main" id="{80C869A5-C923-413C-86F4-1F729667492C}"/>
              </a:ext>
            </a:extLst>
          </p:cNvPr>
          <p:cNvSpPr/>
          <p:nvPr/>
        </p:nvSpPr>
        <p:spPr>
          <a:xfrm>
            <a:off x="963765" y="2254044"/>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Jul 13-15</a:t>
            </a:r>
          </a:p>
        </p:txBody>
      </p:sp>
      <p:pic>
        <p:nvPicPr>
          <p:cNvPr id="99" name="Freeform 67">
            <a:extLst>
              <a:ext uri="{FF2B5EF4-FFF2-40B4-BE49-F238E27FC236}">
                <a16:creationId xmlns:a16="http://schemas.microsoft.com/office/drawing/2014/main" id="{DFD3C9FC-8F21-4AE2-97A8-E1F107AD0ED0}"/>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1463294" y="2006412"/>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5" name="TextBox 64">
            <a:extLst>
              <a:ext uri="{FF2B5EF4-FFF2-40B4-BE49-F238E27FC236}">
                <a16:creationId xmlns:a16="http://schemas.microsoft.com/office/drawing/2014/main" id="{E1956CD4-7D3A-414C-AB88-805A3731ABD1}"/>
              </a:ext>
            </a:extLst>
          </p:cNvPr>
          <p:cNvSpPr txBox="1"/>
          <p:nvPr/>
        </p:nvSpPr>
        <p:spPr>
          <a:xfrm>
            <a:off x="9363760" y="599107"/>
            <a:ext cx="1160470" cy="307777"/>
          </a:xfrm>
          <a:prstGeom prst="rect">
            <a:avLst/>
          </a:prstGeom>
          <a:noFill/>
        </p:spPr>
        <p:txBody>
          <a:bodyPr wrap="square" rtlCol="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Feb 22</a:t>
            </a:r>
          </a:p>
        </p:txBody>
      </p:sp>
      <p:sp>
        <p:nvSpPr>
          <p:cNvPr id="68" name="TextBox 67">
            <a:extLst>
              <a:ext uri="{FF2B5EF4-FFF2-40B4-BE49-F238E27FC236}">
                <a16:creationId xmlns:a16="http://schemas.microsoft.com/office/drawing/2014/main" id="{664BEA82-B868-463B-8839-3E8610D46CF6}"/>
              </a:ext>
            </a:extLst>
          </p:cNvPr>
          <p:cNvSpPr txBox="1"/>
          <p:nvPr/>
        </p:nvSpPr>
        <p:spPr>
          <a:xfrm>
            <a:off x="10705722" y="582647"/>
            <a:ext cx="1160470" cy="307777"/>
          </a:xfrm>
          <a:prstGeom prst="rect">
            <a:avLst/>
          </a:prstGeom>
          <a:noFill/>
        </p:spPr>
        <p:txBody>
          <a:bodyPr wrap="square" rtlCol="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r 22</a:t>
            </a:r>
          </a:p>
        </p:txBody>
      </p:sp>
      <p:sp>
        <p:nvSpPr>
          <p:cNvPr id="74" name="Rectangle 73">
            <a:extLst>
              <a:ext uri="{FF2B5EF4-FFF2-40B4-BE49-F238E27FC236}">
                <a16:creationId xmlns:a16="http://schemas.microsoft.com/office/drawing/2014/main" id="{7FD5E713-7061-4805-9C1A-07A28FE6FAE8}"/>
              </a:ext>
            </a:extLst>
          </p:cNvPr>
          <p:cNvSpPr/>
          <p:nvPr/>
        </p:nvSpPr>
        <p:spPr>
          <a:xfrm>
            <a:off x="5752586" y="1615548"/>
            <a:ext cx="1404312" cy="338554"/>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udit Online 5.2</a:t>
            </a:r>
          </a:p>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Nov 13</a:t>
            </a:r>
          </a:p>
        </p:txBody>
      </p:sp>
      <p:sp>
        <p:nvSpPr>
          <p:cNvPr id="79" name="Rectangle 78">
            <a:extLst>
              <a:ext uri="{FF2B5EF4-FFF2-40B4-BE49-F238E27FC236}">
                <a16:creationId xmlns:a16="http://schemas.microsoft.com/office/drawing/2014/main" id="{41BE6D5A-3A82-4225-B7A3-27F80082E740}"/>
              </a:ext>
            </a:extLst>
          </p:cNvPr>
          <p:cNvSpPr/>
          <p:nvPr/>
        </p:nvSpPr>
        <p:spPr>
          <a:xfrm>
            <a:off x="8998873" y="186486"/>
            <a:ext cx="610121"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BD</a:t>
            </a:r>
          </a:p>
        </p:txBody>
      </p:sp>
      <p:pic>
        <p:nvPicPr>
          <p:cNvPr id="80" name="Freeform 67">
            <a:extLst>
              <a:ext uri="{FF2B5EF4-FFF2-40B4-BE49-F238E27FC236}">
                <a16:creationId xmlns:a16="http://schemas.microsoft.com/office/drawing/2014/main" id="{1E5F76FA-B064-44FE-93D9-1A9EB37550FF}"/>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7634619" y="126225"/>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2" name="Rectangle 81">
            <a:extLst>
              <a:ext uri="{FF2B5EF4-FFF2-40B4-BE49-F238E27FC236}">
                <a16:creationId xmlns:a16="http://schemas.microsoft.com/office/drawing/2014/main" id="{C5D074AA-7F2C-4A9B-BF19-9FD4A3F63980}"/>
              </a:ext>
            </a:extLst>
          </p:cNvPr>
          <p:cNvSpPr/>
          <p:nvPr/>
        </p:nvSpPr>
        <p:spPr>
          <a:xfrm>
            <a:off x="7891795" y="167326"/>
            <a:ext cx="610121"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eployed</a:t>
            </a:r>
          </a:p>
        </p:txBody>
      </p:sp>
      <p:sp>
        <p:nvSpPr>
          <p:cNvPr id="83" name="Rectangle 82">
            <a:extLst>
              <a:ext uri="{FF2B5EF4-FFF2-40B4-BE49-F238E27FC236}">
                <a16:creationId xmlns:a16="http://schemas.microsoft.com/office/drawing/2014/main" id="{D6C67F1B-8F53-410A-8018-CC21CD4E1135}"/>
              </a:ext>
            </a:extLst>
          </p:cNvPr>
          <p:cNvSpPr/>
          <p:nvPr/>
        </p:nvSpPr>
        <p:spPr>
          <a:xfrm>
            <a:off x="846864" y="5300853"/>
            <a:ext cx="1404312" cy="338554"/>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iagnostics 5.5</a:t>
            </a:r>
          </a:p>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July 16</a:t>
            </a:r>
          </a:p>
        </p:txBody>
      </p:sp>
      <p:pic>
        <p:nvPicPr>
          <p:cNvPr id="85" name="Freeform 67">
            <a:extLst>
              <a:ext uri="{FF2B5EF4-FFF2-40B4-BE49-F238E27FC236}">
                <a16:creationId xmlns:a16="http://schemas.microsoft.com/office/drawing/2014/main" id="{C0E098AE-7DB3-4331-81A8-0F0319DEFBAF}"/>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1417946" y="5655661"/>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8" name="Freeform 67">
            <a:extLst>
              <a:ext uri="{FF2B5EF4-FFF2-40B4-BE49-F238E27FC236}">
                <a16:creationId xmlns:a16="http://schemas.microsoft.com/office/drawing/2014/main" id="{4AEC5650-4491-40D9-BF0E-03C8F0E3CC36}"/>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6340094" y="2017060"/>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9" name="Rectangle 108">
            <a:extLst>
              <a:ext uri="{FF2B5EF4-FFF2-40B4-BE49-F238E27FC236}">
                <a16:creationId xmlns:a16="http://schemas.microsoft.com/office/drawing/2014/main" id="{5ED8C1A9-FD9D-4622-B35E-652BC9D39835}"/>
              </a:ext>
            </a:extLst>
          </p:cNvPr>
          <p:cNvSpPr/>
          <p:nvPr/>
        </p:nvSpPr>
        <p:spPr>
          <a:xfrm>
            <a:off x="5860367" y="5276570"/>
            <a:ext cx="1404312" cy="338554"/>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iagnostics 5.6</a:t>
            </a:r>
          </a:p>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Nov 12</a:t>
            </a:r>
          </a:p>
        </p:txBody>
      </p:sp>
      <p:pic>
        <p:nvPicPr>
          <p:cNvPr id="110" name="Freeform 67">
            <a:extLst>
              <a:ext uri="{FF2B5EF4-FFF2-40B4-BE49-F238E27FC236}">
                <a16:creationId xmlns:a16="http://schemas.microsoft.com/office/drawing/2014/main" id="{345811C2-E634-4B9D-973C-B423DD400A71}"/>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6476797" y="5657544"/>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1" name="Rectangle 110">
            <a:extLst>
              <a:ext uri="{FF2B5EF4-FFF2-40B4-BE49-F238E27FC236}">
                <a16:creationId xmlns:a16="http://schemas.microsoft.com/office/drawing/2014/main" id="{61D680CA-D974-46ED-939A-7FAD01CF9227}"/>
              </a:ext>
            </a:extLst>
          </p:cNvPr>
          <p:cNvSpPr/>
          <p:nvPr/>
        </p:nvSpPr>
        <p:spPr>
          <a:xfrm>
            <a:off x="5826352" y="4640570"/>
            <a:ext cx="1404312" cy="338554"/>
          </a:xfrm>
          <a:prstGeom prst="rect">
            <a:avLst/>
          </a:prstGeom>
        </p:spPr>
        <p:txBody>
          <a:bodyPr wrap="square" lIns="0" tIns="0" rIns="0" bIns="0" anchor="t">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Calibri"/>
                <a:cs typeface="Calibri"/>
              </a:rPr>
              <a:t>AQMM </a:t>
            </a:r>
            <a:r>
              <a:rPr lang="en-US" sz="1100" b="1">
                <a:latin typeface="Calibri"/>
                <a:cs typeface="Calibri"/>
              </a:rPr>
              <a:t>5.0</a:t>
            </a:r>
            <a:endParaRPr kumimoji="0" lang="en-US" sz="1100" b="1"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endParaRPr>
          </a:p>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Nov 16</a:t>
            </a:r>
          </a:p>
        </p:txBody>
      </p:sp>
      <p:pic>
        <p:nvPicPr>
          <p:cNvPr id="112" name="Freeform 67">
            <a:extLst>
              <a:ext uri="{FF2B5EF4-FFF2-40B4-BE49-F238E27FC236}">
                <a16:creationId xmlns:a16="http://schemas.microsoft.com/office/drawing/2014/main" id="{2B52D67A-AEFF-48E6-BB3F-1FCBAE6914B4}"/>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6562522" y="4948899"/>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13" name="Group 112">
            <a:extLst>
              <a:ext uri="{FF2B5EF4-FFF2-40B4-BE49-F238E27FC236}">
                <a16:creationId xmlns:a16="http://schemas.microsoft.com/office/drawing/2014/main" id="{0018CF54-625C-405D-AF00-4362CF344303}"/>
              </a:ext>
            </a:extLst>
          </p:cNvPr>
          <p:cNvGrpSpPr/>
          <p:nvPr/>
        </p:nvGrpSpPr>
        <p:grpSpPr>
          <a:xfrm>
            <a:off x="352361" y="2701485"/>
            <a:ext cx="11478684" cy="315655"/>
            <a:chOff x="261229" y="2182407"/>
            <a:chExt cx="12473616" cy="274320"/>
          </a:xfrm>
        </p:grpSpPr>
        <p:sp>
          <p:nvSpPr>
            <p:cNvPr id="114" name="Arrow: Right 113">
              <a:extLst>
                <a:ext uri="{FF2B5EF4-FFF2-40B4-BE49-F238E27FC236}">
                  <a16:creationId xmlns:a16="http://schemas.microsoft.com/office/drawing/2014/main" id="{0C1FCA18-349D-49D6-BF4B-39B4C1634EA2}"/>
                </a:ext>
              </a:extLst>
            </p:cNvPr>
            <p:cNvSpPr/>
            <p:nvPr/>
          </p:nvSpPr>
          <p:spPr bwMode="gray">
            <a:xfrm>
              <a:off x="1307793" y="2216746"/>
              <a:ext cx="11427052" cy="212446"/>
            </a:xfrm>
            <a:prstGeom prst="right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15" name="Pentagon 113">
              <a:extLst>
                <a:ext uri="{FF2B5EF4-FFF2-40B4-BE49-F238E27FC236}">
                  <a16:creationId xmlns:a16="http://schemas.microsoft.com/office/drawing/2014/main" id="{281A7653-0421-4D34-B291-A6E6730515D9}"/>
                </a:ext>
              </a:extLst>
            </p:cNvPr>
            <p:cNvSpPr/>
            <p:nvPr/>
          </p:nvSpPr>
          <p:spPr>
            <a:xfrm>
              <a:off x="261229" y="2182407"/>
              <a:ext cx="1100061" cy="274320"/>
            </a:xfrm>
            <a:prstGeom prst="homePlat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xtended Reporting</a:t>
              </a:r>
            </a:p>
          </p:txBody>
        </p:sp>
      </p:grpSp>
      <p:sp>
        <p:nvSpPr>
          <p:cNvPr id="120" name="Rectangle 119">
            <a:extLst>
              <a:ext uri="{FF2B5EF4-FFF2-40B4-BE49-F238E27FC236}">
                <a16:creationId xmlns:a16="http://schemas.microsoft.com/office/drawing/2014/main" id="{B63803EC-F991-40EC-89FB-70FC8E98881E}"/>
              </a:ext>
            </a:extLst>
          </p:cNvPr>
          <p:cNvSpPr/>
          <p:nvPr/>
        </p:nvSpPr>
        <p:spPr>
          <a:xfrm>
            <a:off x="10648533" y="1591948"/>
            <a:ext cx="1404312" cy="338554"/>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udit Online 5.2</a:t>
            </a:r>
          </a:p>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rch 19</a:t>
            </a:r>
          </a:p>
        </p:txBody>
      </p:sp>
      <p:pic>
        <p:nvPicPr>
          <p:cNvPr id="121" name="Freeform 67">
            <a:extLst>
              <a:ext uri="{FF2B5EF4-FFF2-40B4-BE49-F238E27FC236}">
                <a16:creationId xmlns:a16="http://schemas.microsoft.com/office/drawing/2014/main" id="{A99CA66C-55B5-4D05-AA92-41665A5F4A5D}"/>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11236041" y="1993460"/>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2" name="Rectangle 121">
            <a:extLst>
              <a:ext uri="{FF2B5EF4-FFF2-40B4-BE49-F238E27FC236}">
                <a16:creationId xmlns:a16="http://schemas.microsoft.com/office/drawing/2014/main" id="{0C82DC79-6F83-4ADF-A8B9-AD0F746168E7}"/>
              </a:ext>
            </a:extLst>
          </p:cNvPr>
          <p:cNvSpPr/>
          <p:nvPr/>
        </p:nvSpPr>
        <p:spPr>
          <a:xfrm>
            <a:off x="10714107" y="4612087"/>
            <a:ext cx="1404312" cy="338554"/>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QMM XX</a:t>
            </a:r>
          </a:p>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rch 18</a:t>
            </a:r>
          </a:p>
        </p:txBody>
      </p:sp>
      <p:pic>
        <p:nvPicPr>
          <p:cNvPr id="123" name="Freeform 67">
            <a:extLst>
              <a:ext uri="{FF2B5EF4-FFF2-40B4-BE49-F238E27FC236}">
                <a16:creationId xmlns:a16="http://schemas.microsoft.com/office/drawing/2014/main" id="{65866217-9E41-4919-92B0-C2B5B8756AD1}"/>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11293230" y="4934903"/>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4" name="Rectangle 123">
            <a:extLst>
              <a:ext uri="{FF2B5EF4-FFF2-40B4-BE49-F238E27FC236}">
                <a16:creationId xmlns:a16="http://schemas.microsoft.com/office/drawing/2014/main" id="{C462EEE8-C91F-48F9-9606-8B2B24608E68}"/>
              </a:ext>
            </a:extLst>
          </p:cNvPr>
          <p:cNvSpPr/>
          <p:nvPr/>
        </p:nvSpPr>
        <p:spPr>
          <a:xfrm>
            <a:off x="3087900" y="2379311"/>
            <a:ext cx="1404312" cy="338554"/>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R 3.1</a:t>
            </a:r>
          </a:p>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ept 18</a:t>
            </a:r>
          </a:p>
        </p:txBody>
      </p:sp>
      <p:pic>
        <p:nvPicPr>
          <p:cNvPr id="125" name="Freeform 67">
            <a:extLst>
              <a:ext uri="{FF2B5EF4-FFF2-40B4-BE49-F238E27FC236}">
                <a16:creationId xmlns:a16="http://schemas.microsoft.com/office/drawing/2014/main" id="{35FE95BB-5D0B-40CF-8DE9-DAE3EE87447B}"/>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3675408" y="2780823"/>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Isosceles Triangle 3">
            <a:extLst>
              <a:ext uri="{FF2B5EF4-FFF2-40B4-BE49-F238E27FC236}">
                <a16:creationId xmlns:a16="http://schemas.microsoft.com/office/drawing/2014/main" id="{5C78AB5E-6859-48B6-BF80-EB2989D56F79}"/>
              </a:ext>
            </a:extLst>
          </p:cNvPr>
          <p:cNvSpPr/>
          <p:nvPr/>
        </p:nvSpPr>
        <p:spPr>
          <a:xfrm>
            <a:off x="1266598" y="2013754"/>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Isosceles Triangle 126">
            <a:extLst>
              <a:ext uri="{FF2B5EF4-FFF2-40B4-BE49-F238E27FC236}">
                <a16:creationId xmlns:a16="http://schemas.microsoft.com/office/drawing/2014/main" id="{E83CE6DB-C13D-4732-A2A2-76B4477EB704}"/>
              </a:ext>
            </a:extLst>
          </p:cNvPr>
          <p:cNvSpPr/>
          <p:nvPr/>
        </p:nvSpPr>
        <p:spPr>
          <a:xfrm>
            <a:off x="1229719" y="5648038"/>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8" name="Isosceles Triangle 127">
            <a:extLst>
              <a:ext uri="{FF2B5EF4-FFF2-40B4-BE49-F238E27FC236}">
                <a16:creationId xmlns:a16="http://schemas.microsoft.com/office/drawing/2014/main" id="{527E9DF8-E41F-4152-B9EB-080B4CD8BC86}"/>
              </a:ext>
            </a:extLst>
          </p:cNvPr>
          <p:cNvSpPr/>
          <p:nvPr/>
        </p:nvSpPr>
        <p:spPr>
          <a:xfrm>
            <a:off x="9943995" y="193304"/>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60A07ACB-AEAF-4524-93EA-9AFCB0F5F61E}"/>
              </a:ext>
            </a:extLst>
          </p:cNvPr>
          <p:cNvSpPr/>
          <p:nvPr/>
        </p:nvSpPr>
        <p:spPr>
          <a:xfrm>
            <a:off x="10095601" y="196390"/>
            <a:ext cx="879241"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I Planning</a:t>
            </a:r>
          </a:p>
        </p:txBody>
      </p:sp>
      <p:sp>
        <p:nvSpPr>
          <p:cNvPr id="130" name="Isosceles Triangle 129">
            <a:extLst>
              <a:ext uri="{FF2B5EF4-FFF2-40B4-BE49-F238E27FC236}">
                <a16:creationId xmlns:a16="http://schemas.microsoft.com/office/drawing/2014/main" id="{B1A075A9-DB1E-4A65-A1B3-0C9B28A9FA61}"/>
              </a:ext>
            </a:extLst>
          </p:cNvPr>
          <p:cNvSpPr/>
          <p:nvPr/>
        </p:nvSpPr>
        <p:spPr>
          <a:xfrm>
            <a:off x="10974842" y="2006934"/>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3017AC7C-E419-4DCE-80D1-7248C1CBACED}"/>
              </a:ext>
            </a:extLst>
          </p:cNvPr>
          <p:cNvSpPr/>
          <p:nvPr/>
        </p:nvSpPr>
        <p:spPr>
          <a:xfrm>
            <a:off x="913732" y="1625180"/>
            <a:ext cx="1404312" cy="338554"/>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udit Online 5.1</a:t>
            </a:r>
          </a:p>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July 17</a:t>
            </a:r>
          </a:p>
        </p:txBody>
      </p:sp>
      <p:sp>
        <p:nvSpPr>
          <p:cNvPr id="132" name="Rectangle 131">
            <a:extLst>
              <a:ext uri="{FF2B5EF4-FFF2-40B4-BE49-F238E27FC236}">
                <a16:creationId xmlns:a16="http://schemas.microsoft.com/office/drawing/2014/main" id="{5CB32B17-A7E5-4210-B820-26328F8F09ED}"/>
              </a:ext>
            </a:extLst>
          </p:cNvPr>
          <p:cNvSpPr/>
          <p:nvPr/>
        </p:nvSpPr>
        <p:spPr>
          <a:xfrm>
            <a:off x="940762" y="5921720"/>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Jul 13-15</a:t>
            </a:r>
          </a:p>
        </p:txBody>
      </p:sp>
      <p:sp>
        <p:nvSpPr>
          <p:cNvPr id="133" name="Rectangle 132">
            <a:extLst>
              <a:ext uri="{FF2B5EF4-FFF2-40B4-BE49-F238E27FC236}">
                <a16:creationId xmlns:a16="http://schemas.microsoft.com/office/drawing/2014/main" id="{A6E82CAA-9C10-4442-A6CD-55D0A13762E9}"/>
              </a:ext>
            </a:extLst>
          </p:cNvPr>
          <p:cNvSpPr/>
          <p:nvPr/>
        </p:nvSpPr>
        <p:spPr>
          <a:xfrm>
            <a:off x="10687566" y="2220385"/>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r 15-17</a:t>
            </a:r>
          </a:p>
        </p:txBody>
      </p:sp>
      <p:sp>
        <p:nvSpPr>
          <p:cNvPr id="134" name="Isosceles Triangle 133">
            <a:extLst>
              <a:ext uri="{FF2B5EF4-FFF2-40B4-BE49-F238E27FC236}">
                <a16:creationId xmlns:a16="http://schemas.microsoft.com/office/drawing/2014/main" id="{BFDE0E54-D224-4DAE-99F3-CB8A21D9AD62}"/>
              </a:ext>
            </a:extLst>
          </p:cNvPr>
          <p:cNvSpPr/>
          <p:nvPr/>
        </p:nvSpPr>
        <p:spPr>
          <a:xfrm>
            <a:off x="10992998" y="2764085"/>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595A92B1-29FD-4D37-BCB9-8C3772C27262}"/>
              </a:ext>
            </a:extLst>
          </p:cNvPr>
          <p:cNvSpPr/>
          <p:nvPr/>
        </p:nvSpPr>
        <p:spPr>
          <a:xfrm>
            <a:off x="10705722" y="2977536"/>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r 15-17</a:t>
            </a:r>
          </a:p>
        </p:txBody>
      </p:sp>
      <p:sp>
        <p:nvSpPr>
          <p:cNvPr id="136" name="Isosceles Triangle 135">
            <a:extLst>
              <a:ext uri="{FF2B5EF4-FFF2-40B4-BE49-F238E27FC236}">
                <a16:creationId xmlns:a16="http://schemas.microsoft.com/office/drawing/2014/main" id="{8C3100FC-8B47-4AF2-A820-140BF67A14F0}"/>
              </a:ext>
            </a:extLst>
          </p:cNvPr>
          <p:cNvSpPr/>
          <p:nvPr/>
        </p:nvSpPr>
        <p:spPr>
          <a:xfrm>
            <a:off x="10966835" y="1306634"/>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31402D16-729A-4DC5-B674-67C1C97399EC}"/>
              </a:ext>
            </a:extLst>
          </p:cNvPr>
          <p:cNvSpPr/>
          <p:nvPr/>
        </p:nvSpPr>
        <p:spPr>
          <a:xfrm>
            <a:off x="10674452" y="1457889"/>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r 15-17</a:t>
            </a:r>
          </a:p>
        </p:txBody>
      </p:sp>
      <p:sp>
        <p:nvSpPr>
          <p:cNvPr id="138" name="Isosceles Triangle 137">
            <a:extLst>
              <a:ext uri="{FF2B5EF4-FFF2-40B4-BE49-F238E27FC236}">
                <a16:creationId xmlns:a16="http://schemas.microsoft.com/office/drawing/2014/main" id="{DEBA8FF4-5A1D-4E5C-93D3-BE60201ABCBA}"/>
              </a:ext>
            </a:extLst>
          </p:cNvPr>
          <p:cNvSpPr/>
          <p:nvPr/>
        </p:nvSpPr>
        <p:spPr>
          <a:xfrm>
            <a:off x="10992998" y="3526884"/>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DFF1B4BC-6597-490C-AFCF-B1076A66B935}"/>
              </a:ext>
            </a:extLst>
          </p:cNvPr>
          <p:cNvSpPr/>
          <p:nvPr/>
        </p:nvSpPr>
        <p:spPr>
          <a:xfrm>
            <a:off x="10705722" y="3740335"/>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r 15-17</a:t>
            </a:r>
          </a:p>
        </p:txBody>
      </p:sp>
      <p:sp>
        <p:nvSpPr>
          <p:cNvPr id="140" name="Isosceles Triangle 139">
            <a:extLst>
              <a:ext uri="{FF2B5EF4-FFF2-40B4-BE49-F238E27FC236}">
                <a16:creationId xmlns:a16="http://schemas.microsoft.com/office/drawing/2014/main" id="{08659382-DA5D-404C-8A08-1DE96F74B579}"/>
              </a:ext>
            </a:extLst>
          </p:cNvPr>
          <p:cNvSpPr/>
          <p:nvPr/>
        </p:nvSpPr>
        <p:spPr>
          <a:xfrm>
            <a:off x="10974842" y="4266619"/>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F781C9DD-C032-4E63-99F6-CAD4AB16F29E}"/>
              </a:ext>
            </a:extLst>
          </p:cNvPr>
          <p:cNvSpPr/>
          <p:nvPr/>
        </p:nvSpPr>
        <p:spPr>
          <a:xfrm>
            <a:off x="10687566" y="4442682"/>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r 15-17</a:t>
            </a:r>
          </a:p>
        </p:txBody>
      </p:sp>
      <p:sp>
        <p:nvSpPr>
          <p:cNvPr id="142" name="Isosceles Triangle 141">
            <a:extLst>
              <a:ext uri="{FF2B5EF4-FFF2-40B4-BE49-F238E27FC236}">
                <a16:creationId xmlns:a16="http://schemas.microsoft.com/office/drawing/2014/main" id="{38E3D651-1405-43E5-808D-57ED4F40FE3F}"/>
              </a:ext>
            </a:extLst>
          </p:cNvPr>
          <p:cNvSpPr/>
          <p:nvPr/>
        </p:nvSpPr>
        <p:spPr>
          <a:xfrm>
            <a:off x="10986632" y="4940296"/>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12F867A9-C4F1-4BBE-A5BA-1ACBE58AD677}"/>
              </a:ext>
            </a:extLst>
          </p:cNvPr>
          <p:cNvSpPr/>
          <p:nvPr/>
        </p:nvSpPr>
        <p:spPr>
          <a:xfrm>
            <a:off x="10699356" y="5116359"/>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r 15-17</a:t>
            </a:r>
          </a:p>
        </p:txBody>
      </p:sp>
      <p:sp>
        <p:nvSpPr>
          <p:cNvPr id="144" name="Isosceles Triangle 143">
            <a:extLst>
              <a:ext uri="{FF2B5EF4-FFF2-40B4-BE49-F238E27FC236}">
                <a16:creationId xmlns:a16="http://schemas.microsoft.com/office/drawing/2014/main" id="{F1CFE2D9-2951-4BB6-9037-9333A8407608}"/>
              </a:ext>
            </a:extLst>
          </p:cNvPr>
          <p:cNvSpPr/>
          <p:nvPr/>
        </p:nvSpPr>
        <p:spPr>
          <a:xfrm>
            <a:off x="10979796" y="5626371"/>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134DFCA3-6D77-4559-9427-0045B54A423F}"/>
              </a:ext>
            </a:extLst>
          </p:cNvPr>
          <p:cNvSpPr/>
          <p:nvPr/>
        </p:nvSpPr>
        <p:spPr>
          <a:xfrm>
            <a:off x="10692520" y="5802434"/>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r 15-17</a:t>
            </a:r>
          </a:p>
        </p:txBody>
      </p:sp>
      <p:sp>
        <p:nvSpPr>
          <p:cNvPr id="146" name="Isosceles Triangle 145">
            <a:extLst>
              <a:ext uri="{FF2B5EF4-FFF2-40B4-BE49-F238E27FC236}">
                <a16:creationId xmlns:a16="http://schemas.microsoft.com/office/drawing/2014/main" id="{A10D9DFB-4356-47EE-A317-DC7821B65334}"/>
              </a:ext>
            </a:extLst>
          </p:cNvPr>
          <p:cNvSpPr/>
          <p:nvPr/>
        </p:nvSpPr>
        <p:spPr>
          <a:xfrm>
            <a:off x="10986632" y="6373590"/>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F9856418-5292-4117-8AAF-C3D1C0D430F8}"/>
              </a:ext>
            </a:extLst>
          </p:cNvPr>
          <p:cNvSpPr/>
          <p:nvPr/>
        </p:nvSpPr>
        <p:spPr>
          <a:xfrm>
            <a:off x="10699356" y="6549653"/>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r 15-17</a:t>
            </a:r>
          </a:p>
        </p:txBody>
      </p:sp>
      <p:sp>
        <p:nvSpPr>
          <p:cNvPr id="148" name="Isosceles Triangle 147">
            <a:extLst>
              <a:ext uri="{FF2B5EF4-FFF2-40B4-BE49-F238E27FC236}">
                <a16:creationId xmlns:a16="http://schemas.microsoft.com/office/drawing/2014/main" id="{B471D2D9-F799-41DA-8517-D785F811D728}"/>
              </a:ext>
            </a:extLst>
          </p:cNvPr>
          <p:cNvSpPr/>
          <p:nvPr/>
        </p:nvSpPr>
        <p:spPr>
          <a:xfrm>
            <a:off x="6037701" y="2026371"/>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9" name="Rectangle 148">
            <a:extLst>
              <a:ext uri="{FF2B5EF4-FFF2-40B4-BE49-F238E27FC236}">
                <a16:creationId xmlns:a16="http://schemas.microsoft.com/office/drawing/2014/main" id="{489F9CF6-26C8-4C27-8578-92D8BD684797}"/>
              </a:ext>
            </a:extLst>
          </p:cNvPr>
          <p:cNvSpPr/>
          <p:nvPr/>
        </p:nvSpPr>
        <p:spPr>
          <a:xfrm>
            <a:off x="5750425" y="2239822"/>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Nov 9-11</a:t>
            </a:r>
          </a:p>
        </p:txBody>
      </p:sp>
      <p:sp>
        <p:nvSpPr>
          <p:cNvPr id="150" name="Isosceles Triangle 149">
            <a:extLst>
              <a:ext uri="{FF2B5EF4-FFF2-40B4-BE49-F238E27FC236}">
                <a16:creationId xmlns:a16="http://schemas.microsoft.com/office/drawing/2014/main" id="{D7C14345-46AA-4EB6-BABC-3112059EC25D}"/>
              </a:ext>
            </a:extLst>
          </p:cNvPr>
          <p:cNvSpPr/>
          <p:nvPr/>
        </p:nvSpPr>
        <p:spPr>
          <a:xfrm>
            <a:off x="6147643" y="5651094"/>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80A68CEF-5E25-427D-86D2-51DF4A86772B}"/>
              </a:ext>
            </a:extLst>
          </p:cNvPr>
          <p:cNvSpPr/>
          <p:nvPr/>
        </p:nvSpPr>
        <p:spPr>
          <a:xfrm>
            <a:off x="5860367" y="5864545"/>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Nov 9-11</a:t>
            </a:r>
          </a:p>
        </p:txBody>
      </p:sp>
      <p:pic>
        <p:nvPicPr>
          <p:cNvPr id="84" name="Freeform 67">
            <a:extLst>
              <a:ext uri="{FF2B5EF4-FFF2-40B4-BE49-F238E27FC236}">
                <a16:creationId xmlns:a16="http://schemas.microsoft.com/office/drawing/2014/main" id="{1D42BE09-C238-424D-84C9-48F9C0AEA986}"/>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3700743" y="4126283"/>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2090CC8B-9024-4EDC-8947-E23A53144DEC}"/>
              </a:ext>
            </a:extLst>
          </p:cNvPr>
          <p:cNvSpPr txBox="1"/>
          <p:nvPr/>
        </p:nvSpPr>
        <p:spPr>
          <a:xfrm>
            <a:off x="3086909" y="3866124"/>
            <a:ext cx="1438073"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Segoe UI"/>
              </a:rPr>
              <a:t>AAT 4.9</a:t>
            </a:r>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pic>
        <p:nvPicPr>
          <p:cNvPr id="86" name="Freeform 67">
            <a:extLst>
              <a:ext uri="{FF2B5EF4-FFF2-40B4-BE49-F238E27FC236}">
                <a16:creationId xmlns:a16="http://schemas.microsoft.com/office/drawing/2014/main" id="{190E8A82-4C00-411B-BAF5-0AB1F10ECCD4}"/>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11231908" y="2701448"/>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8" name="Freeform 67">
            <a:extLst>
              <a:ext uri="{FF2B5EF4-FFF2-40B4-BE49-F238E27FC236}">
                <a16:creationId xmlns:a16="http://schemas.microsoft.com/office/drawing/2014/main" id="{89E01740-3064-4DE2-B5E8-421114EB4A65}"/>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3872329" y="1273946"/>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6" name="Freeform 67">
            <a:extLst>
              <a:ext uri="{FF2B5EF4-FFF2-40B4-BE49-F238E27FC236}">
                <a16:creationId xmlns:a16="http://schemas.microsoft.com/office/drawing/2014/main" id="{862766C5-1695-4AA7-BD38-67D7AA9D6C53}"/>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4129183" y="3474328"/>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08C76220-DABD-48A9-A1E3-C66CF20E0B11}"/>
              </a:ext>
            </a:extLst>
          </p:cNvPr>
          <p:cNvSpPr/>
          <p:nvPr/>
        </p:nvSpPr>
        <p:spPr>
          <a:xfrm>
            <a:off x="3173517" y="1086479"/>
            <a:ext cx="1404312" cy="169277"/>
          </a:xfrm>
          <a:prstGeom prst="rect">
            <a:avLst/>
          </a:prstGeom>
        </p:spPr>
        <p:txBody>
          <a:bodyPr wrap="square" lIns="0" tIns="0" rIns="0" bIns="0" anchor="t">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Calibri"/>
              </a:rPr>
              <a:t>EMS 4.10</a:t>
            </a:r>
          </a:p>
        </p:txBody>
      </p:sp>
      <p:sp>
        <p:nvSpPr>
          <p:cNvPr id="101" name="Rectangle 100">
            <a:extLst>
              <a:ext uri="{FF2B5EF4-FFF2-40B4-BE49-F238E27FC236}">
                <a16:creationId xmlns:a16="http://schemas.microsoft.com/office/drawing/2014/main" id="{F1779B8B-9982-4015-AC00-A9AB8A9EE753}"/>
              </a:ext>
            </a:extLst>
          </p:cNvPr>
          <p:cNvSpPr/>
          <p:nvPr/>
        </p:nvSpPr>
        <p:spPr>
          <a:xfrm>
            <a:off x="3515989" y="3303984"/>
            <a:ext cx="1404312" cy="169277"/>
          </a:xfrm>
          <a:prstGeom prst="rect">
            <a:avLst/>
          </a:prstGeom>
        </p:spPr>
        <p:txBody>
          <a:bodyPr wrap="square" lIns="0" tIns="0" rIns="0" bIns="0" anchor="t">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Calibri"/>
              </a:rPr>
              <a:t>EA 4.3.2</a:t>
            </a:r>
          </a:p>
        </p:txBody>
      </p:sp>
      <p:pic>
        <p:nvPicPr>
          <p:cNvPr id="100" name="Freeform 67">
            <a:extLst>
              <a:ext uri="{FF2B5EF4-FFF2-40B4-BE49-F238E27FC236}">
                <a16:creationId xmlns:a16="http://schemas.microsoft.com/office/drawing/2014/main" id="{6C1C1D8B-B669-4A34-BF79-46BD717122F6}"/>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1526396" y="1308193"/>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2" name="Rectangle 101">
            <a:extLst>
              <a:ext uri="{FF2B5EF4-FFF2-40B4-BE49-F238E27FC236}">
                <a16:creationId xmlns:a16="http://schemas.microsoft.com/office/drawing/2014/main" id="{AF5AC363-EDBD-4118-B4DC-34DF6F7D4007}"/>
              </a:ext>
            </a:extLst>
          </p:cNvPr>
          <p:cNvSpPr/>
          <p:nvPr/>
        </p:nvSpPr>
        <p:spPr>
          <a:xfrm>
            <a:off x="827584" y="1120726"/>
            <a:ext cx="1404312" cy="169277"/>
          </a:xfrm>
          <a:prstGeom prst="rect">
            <a:avLst/>
          </a:prstGeom>
        </p:spPr>
        <p:txBody>
          <a:bodyPr wrap="square" lIns="0" tIns="0" rIns="0" bIns="0" anchor="t">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Calibri"/>
              </a:rPr>
              <a:t>EMS 4.9.2</a:t>
            </a:r>
          </a:p>
        </p:txBody>
      </p:sp>
      <p:pic>
        <p:nvPicPr>
          <p:cNvPr id="103" name="Freeform 67">
            <a:extLst>
              <a:ext uri="{FF2B5EF4-FFF2-40B4-BE49-F238E27FC236}">
                <a16:creationId xmlns:a16="http://schemas.microsoft.com/office/drawing/2014/main" id="{56D5D4F6-EA4A-48BA-9A02-BBFC8053EA0E}"/>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r="-3889"/>
          <a:stretch>
            <a:fillRect/>
          </a:stretch>
        </p:blipFill>
        <p:spPr bwMode="auto">
          <a:xfrm>
            <a:off x="1355101" y="4901517"/>
            <a:ext cx="171451" cy="2743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4" name="Isosceles Triangle 103">
            <a:extLst>
              <a:ext uri="{FF2B5EF4-FFF2-40B4-BE49-F238E27FC236}">
                <a16:creationId xmlns:a16="http://schemas.microsoft.com/office/drawing/2014/main" id="{45489103-67DF-4A47-AE79-F6FB0D3CC8FA}"/>
              </a:ext>
            </a:extLst>
          </p:cNvPr>
          <p:cNvSpPr/>
          <p:nvPr/>
        </p:nvSpPr>
        <p:spPr>
          <a:xfrm>
            <a:off x="1473245" y="5043151"/>
            <a:ext cx="171451" cy="169232"/>
          </a:xfrm>
          <a:prstGeom prst="triangl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Rectangle 104">
            <a:extLst>
              <a:ext uri="{FF2B5EF4-FFF2-40B4-BE49-F238E27FC236}">
                <a16:creationId xmlns:a16="http://schemas.microsoft.com/office/drawing/2014/main" id="{DD2978F0-5BAF-4C1A-8C3D-79C81689E2DC}"/>
              </a:ext>
            </a:extLst>
          </p:cNvPr>
          <p:cNvSpPr/>
          <p:nvPr/>
        </p:nvSpPr>
        <p:spPr>
          <a:xfrm>
            <a:off x="1113587" y="5214710"/>
            <a:ext cx="777115"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Jul 13-15</a:t>
            </a:r>
          </a:p>
        </p:txBody>
      </p:sp>
      <p:sp>
        <p:nvSpPr>
          <p:cNvPr id="106" name="Rectangle 105">
            <a:extLst>
              <a:ext uri="{FF2B5EF4-FFF2-40B4-BE49-F238E27FC236}">
                <a16:creationId xmlns:a16="http://schemas.microsoft.com/office/drawing/2014/main" id="{A00293F5-13C9-40D3-B289-96333E4ADEF7}"/>
              </a:ext>
            </a:extLst>
          </p:cNvPr>
          <p:cNvSpPr/>
          <p:nvPr/>
        </p:nvSpPr>
        <p:spPr>
          <a:xfrm>
            <a:off x="743733" y="4562013"/>
            <a:ext cx="1404312" cy="338554"/>
          </a:xfrm>
          <a:prstGeom prst="rect">
            <a:avLst/>
          </a:prstGeom>
        </p:spPr>
        <p:txBody>
          <a:bodyPr wrap="square" lIns="0" tIns="0" rIns="0" bIns="0" anchor="t">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Calibri"/>
                <a:cs typeface="Calibri"/>
              </a:rPr>
              <a:t>AQMM </a:t>
            </a:r>
            <a:r>
              <a:rPr lang="en-US" sz="1100" b="1">
                <a:latin typeface="Calibri"/>
                <a:cs typeface="Calibri"/>
              </a:rPr>
              <a:t>4.3</a:t>
            </a:r>
            <a:endParaRPr kumimoji="0" lang="en-US" sz="1100" b="1" i="0" u="none" strike="noStrike" kern="1200" cap="none" spc="0" normalizeH="0" baseline="0" noProof="0">
              <a:ln>
                <a:noFill/>
              </a:ln>
              <a:effectLst/>
              <a:uLnTx/>
              <a:uFillTx/>
              <a:latin typeface="Calibri" panose="020F0502020204030204" pitchFamily="34" charset="0"/>
              <a:ea typeface="+mn-ea"/>
              <a:cs typeface="Calibri" panose="020F0502020204030204" pitchFamily="34" charset="0"/>
            </a:endParaRPr>
          </a:p>
          <a:p>
            <a:pPr algn="ctr" defTabSz="914107">
              <a:defRPr/>
            </a:pPr>
            <a:r>
              <a:rPr lang="en-US" sz="1100" b="1">
                <a:latin typeface="Calibri"/>
                <a:cs typeface="Calibri"/>
              </a:rPr>
              <a:t>July 9</a:t>
            </a:r>
            <a:endParaRPr lang="en-US" sz="1100" b="1" i="0" u="none" strike="noStrike" kern="1200" cap="none" spc="0" normalizeH="0" baseline="0" noProof="0">
              <a:ln>
                <a:noFill/>
              </a:ln>
              <a:effectLst/>
              <a:uLnTx/>
              <a:uFillTx/>
              <a:latin typeface="Calibri"/>
              <a:cs typeface="Calibri"/>
            </a:endParaRPr>
          </a:p>
        </p:txBody>
      </p:sp>
      <p:sp>
        <p:nvSpPr>
          <p:cNvPr id="107" name="Rectangle 106">
            <a:extLst>
              <a:ext uri="{FF2B5EF4-FFF2-40B4-BE49-F238E27FC236}">
                <a16:creationId xmlns:a16="http://schemas.microsoft.com/office/drawing/2014/main" id="{AB1CF91C-49FA-4869-8511-1137FF920C7D}"/>
              </a:ext>
            </a:extLst>
          </p:cNvPr>
          <p:cNvSpPr/>
          <p:nvPr/>
        </p:nvSpPr>
        <p:spPr>
          <a:xfrm>
            <a:off x="10466777" y="2474931"/>
            <a:ext cx="1404312" cy="169277"/>
          </a:xfrm>
          <a:prstGeom prst="rect">
            <a:avLst/>
          </a:prstGeom>
        </p:spPr>
        <p:txBody>
          <a:bodyPr wrap="square" lIns="0" tIns="0" rIns="0" bIns="0">
            <a:spAutoFit/>
          </a:bodyPr>
          <a:lstStyle/>
          <a:p>
            <a:pPr marL="0" marR="0" lvl="0" indent="0" algn="ctr" defTabSz="91410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R </a:t>
            </a:r>
            <a:r>
              <a:rPr lang="en-US" sz="1100" b="1">
                <a:solidFill>
                  <a:prstClr val="black"/>
                </a:solidFill>
                <a:latin typeface="Calibri" panose="020F0502020204030204" pitchFamily="34" charset="0"/>
                <a:cs typeface="Calibri" panose="020F0502020204030204" pitchFamily="34" charset="0"/>
              </a:rPr>
              <a:t>4.0</a:t>
            </a:r>
            <a:endParaRPr kumimoji="0" lang="en-US" sz="11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00666166"/>
      </p:ext>
    </p:extLst>
  </p:cSld>
  <p:clrMapOvr>
    <a:masterClrMapping/>
  </p:clrMapOvr>
  <mc:AlternateContent xmlns:mc="http://schemas.openxmlformats.org/markup-compatibility/2006">
    <mc:Choice xmlns:p14="http://schemas.microsoft.com/office/powerpoint/2010/main" Requires="p14">
      <p:transition p14:dur="10" advClick="0">
        <p:fade/>
      </p:transition>
    </mc:Choice>
    <mc:Fallback>
      <p:transition advClick="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llout: Down Arrow 1">
            <a:extLst>
              <a:ext uri="{FF2B5EF4-FFF2-40B4-BE49-F238E27FC236}">
                <a16:creationId xmlns:a16="http://schemas.microsoft.com/office/drawing/2014/main" id="{C4D30722-FA6A-4F43-BCB8-10B676C09E28}"/>
              </a:ext>
            </a:extLst>
          </p:cNvPr>
          <p:cNvSpPr/>
          <p:nvPr/>
        </p:nvSpPr>
        <p:spPr bwMode="gray">
          <a:xfrm>
            <a:off x="395035" y="997944"/>
            <a:ext cx="2613715" cy="1124974"/>
          </a:xfrm>
          <a:prstGeom prst="downArrowCallout">
            <a:avLst/>
          </a:prstGeom>
          <a:solidFill>
            <a:schemeClr val="accent1"/>
          </a:solidFill>
          <a:ln w="19050" algn="ctr">
            <a:noFill/>
            <a:miter lim="800000"/>
            <a:headEnd/>
            <a:tailEnd/>
          </a:ln>
        </p:spPr>
        <p:txBody>
          <a:bodyPr wrap="square" lIns="66676" tIns="66676" rIns="66676" bIns="66676" rtlCol="0" anchor="ctr"/>
          <a:lstStyle/>
          <a:p>
            <a:pPr algn="ctr" defTabSz="685792"/>
            <a:r>
              <a:rPr lang="en-US" sz="1401" b="1">
                <a:solidFill>
                  <a:prstClr val="black"/>
                </a:solidFill>
                <a:latin typeface="Open Sans" panose="020B0606030504020204" pitchFamily="34" charset="0"/>
                <a:ea typeface="Open Sans" panose="020B0606030504020204" pitchFamily="34" charset="0"/>
                <a:cs typeface="Open Sans" panose="020B0606030504020204" pitchFamily="34" charset="0"/>
              </a:rPr>
              <a:t>Vision alignment</a:t>
            </a:r>
          </a:p>
        </p:txBody>
      </p:sp>
      <p:sp>
        <p:nvSpPr>
          <p:cNvPr id="11" name="Rectangle 10">
            <a:extLst>
              <a:ext uri="{FF2B5EF4-FFF2-40B4-BE49-F238E27FC236}">
                <a16:creationId xmlns:a16="http://schemas.microsoft.com/office/drawing/2014/main" id="{714CBFC3-0DBD-44CC-968C-EFF7C6D3EB1C}"/>
              </a:ext>
            </a:extLst>
          </p:cNvPr>
          <p:cNvSpPr/>
          <p:nvPr/>
        </p:nvSpPr>
        <p:spPr>
          <a:xfrm>
            <a:off x="381412" y="1699379"/>
            <a:ext cx="2613715" cy="4542462"/>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2"/>
            <a:endParaRPr lang="en-US" sz="1051">
              <a:solidFill>
                <a:prstClr val="white"/>
              </a:solidFill>
              <a:latin typeface="Calibri" panose="020F0502020204030204"/>
            </a:endParaRPr>
          </a:p>
        </p:txBody>
      </p:sp>
      <p:sp>
        <p:nvSpPr>
          <p:cNvPr id="12" name="Rectangle 11">
            <a:extLst>
              <a:ext uri="{FF2B5EF4-FFF2-40B4-BE49-F238E27FC236}">
                <a16:creationId xmlns:a16="http://schemas.microsoft.com/office/drawing/2014/main" id="{7B31E66B-428F-48B0-A543-5FA6BB5F4C50}"/>
              </a:ext>
            </a:extLst>
          </p:cNvPr>
          <p:cNvSpPr/>
          <p:nvPr/>
        </p:nvSpPr>
        <p:spPr>
          <a:xfrm>
            <a:off x="640850" y="2320491"/>
            <a:ext cx="2061662" cy="2631490"/>
          </a:xfrm>
          <a:prstGeom prst="rect">
            <a:avLst/>
          </a:prstGeom>
        </p:spPr>
        <p:txBody>
          <a:bodyPr wrap="square">
            <a:spAutoFit/>
          </a:bodyPr>
          <a:lstStyle/>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Opportunity to see, discuss  and set right ‘vision’ together for solution</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Vision’ – should be both aspirational and achievable keeping new market and user needs in mind.</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should provide broader context with ‘short’ &amp; ‘long’ term goal.</a:t>
            </a:r>
          </a:p>
          <a:p>
            <a:pPr defTabSz="685792"/>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D5F4E4C4-ABD3-4443-859D-F84DA705D7BA}"/>
              </a:ext>
            </a:extLst>
          </p:cNvPr>
          <p:cNvSpPr/>
          <p:nvPr/>
        </p:nvSpPr>
        <p:spPr>
          <a:xfrm>
            <a:off x="3336447" y="1719337"/>
            <a:ext cx="2613716" cy="4551154"/>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685792"/>
            <a:endParaRPr lang="en-US" sz="1050" b="1">
              <a:ln w="0"/>
              <a:solidFill>
                <a:srgbClr val="FF0000"/>
              </a:solidFill>
              <a:effectLst>
                <a:outerShdw blurRad="38100" dist="19050" dir="2700000" algn="tl" rotWithShape="0">
                  <a:prstClr val="black">
                    <a:alpha val="40000"/>
                  </a:prstClr>
                </a:outerShdw>
              </a:effectLst>
              <a:latin typeface="Calibri" panose="020F0502020204030204"/>
              <a:cs typeface="Calibri"/>
            </a:endParaRPr>
          </a:p>
        </p:txBody>
      </p:sp>
      <p:sp>
        <p:nvSpPr>
          <p:cNvPr id="14" name="Rectangle 13">
            <a:extLst>
              <a:ext uri="{FF2B5EF4-FFF2-40B4-BE49-F238E27FC236}">
                <a16:creationId xmlns:a16="http://schemas.microsoft.com/office/drawing/2014/main" id="{7D51076D-EDE5-44B8-ADB5-5177C69E53FE}"/>
              </a:ext>
            </a:extLst>
          </p:cNvPr>
          <p:cNvSpPr/>
          <p:nvPr/>
        </p:nvSpPr>
        <p:spPr>
          <a:xfrm>
            <a:off x="6310172" y="1717815"/>
            <a:ext cx="2613716" cy="4532031"/>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2"/>
            <a:endParaRPr lang="en-US" sz="1051">
              <a:solidFill>
                <a:prstClr val="white"/>
              </a:solidFill>
              <a:latin typeface="Calibri" panose="020F0502020204030204"/>
            </a:endParaRPr>
          </a:p>
        </p:txBody>
      </p:sp>
      <p:sp>
        <p:nvSpPr>
          <p:cNvPr id="15" name="Rectangle 14">
            <a:extLst>
              <a:ext uri="{FF2B5EF4-FFF2-40B4-BE49-F238E27FC236}">
                <a16:creationId xmlns:a16="http://schemas.microsoft.com/office/drawing/2014/main" id="{AECCC7BF-E22A-4958-8C44-8DFF1F368432}"/>
              </a:ext>
            </a:extLst>
          </p:cNvPr>
          <p:cNvSpPr/>
          <p:nvPr/>
        </p:nvSpPr>
        <p:spPr>
          <a:xfrm>
            <a:off x="9279696" y="1652021"/>
            <a:ext cx="2613716" cy="4608632"/>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92"/>
            <a:endParaRPr lang="en-US" sz="1051">
              <a:solidFill>
                <a:prstClr val="white"/>
              </a:solidFill>
              <a:latin typeface="Calibri" panose="020F0502020204030204"/>
            </a:endParaRPr>
          </a:p>
        </p:txBody>
      </p:sp>
      <p:sp>
        <p:nvSpPr>
          <p:cNvPr id="17" name="Rectangle 16">
            <a:extLst>
              <a:ext uri="{FF2B5EF4-FFF2-40B4-BE49-F238E27FC236}">
                <a16:creationId xmlns:a16="http://schemas.microsoft.com/office/drawing/2014/main" id="{8CA5C18A-05BA-4818-9C43-6EA487818D45}"/>
              </a:ext>
            </a:extLst>
          </p:cNvPr>
          <p:cNvSpPr/>
          <p:nvPr/>
        </p:nvSpPr>
        <p:spPr>
          <a:xfrm>
            <a:off x="3575192" y="2360646"/>
            <a:ext cx="2105368" cy="3139321"/>
          </a:xfrm>
          <a:prstGeom prst="rect">
            <a:avLst/>
          </a:prstGeom>
        </p:spPr>
        <p:txBody>
          <a:bodyPr wrap="square">
            <a:spAutoFit/>
          </a:bodyPr>
          <a:lstStyle/>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Aligning business need with development through ‘vision’ , ‘planning’ and team objectives.</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Identify dependencies, and cross-team coordination </a:t>
            </a:r>
          </a:p>
          <a:p>
            <a:pPr defTabSz="685792"/>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Provide opportunity to see initial version of ‘User Experience’ [wire frames </a:t>
            </a:r>
            <a:r>
              <a:rPr lang="en-US" sz="1100" err="1">
                <a:solidFill>
                  <a:prstClr val="black"/>
                </a:solidFill>
                <a:latin typeface="Open Sans" panose="020B0606030504020204" pitchFamily="34" charset="0"/>
                <a:ea typeface="Open Sans" panose="020B0606030504020204" pitchFamily="34" charset="0"/>
                <a:cs typeface="Open Sans" panose="020B0606030504020204" pitchFamily="34" charset="0"/>
              </a:rPr>
              <a:t>etc</a:t>
            </a: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 architectures related items.</a:t>
            </a:r>
          </a:p>
          <a:p>
            <a:pPr marL="285748" indent="-285748" defTabSz="685792">
              <a:buFont typeface="Wingdings" panose="05000000000000000000" pitchFamily="2" charset="2"/>
              <a:buChar char="q"/>
            </a:pPr>
            <a:endParaRPr lang="en-US" sz="11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285748" indent="-285748" defTabSz="685792">
              <a:buFont typeface="Wingdings" panose="05000000000000000000" pitchFamily="2" charset="2"/>
              <a:buChar char="q"/>
            </a:pPr>
            <a:endParaRPr lang="en-US" sz="11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Rectangle 17">
            <a:extLst>
              <a:ext uri="{FF2B5EF4-FFF2-40B4-BE49-F238E27FC236}">
                <a16:creationId xmlns:a16="http://schemas.microsoft.com/office/drawing/2014/main" id="{83FB0838-6081-4E9D-8475-FBD90C56F191}"/>
              </a:ext>
            </a:extLst>
          </p:cNvPr>
          <p:cNvSpPr/>
          <p:nvPr/>
        </p:nvSpPr>
        <p:spPr>
          <a:xfrm>
            <a:off x="6588959" y="2320491"/>
            <a:ext cx="2112967" cy="3647152"/>
          </a:xfrm>
          <a:prstGeom prst="rect">
            <a:avLst/>
          </a:prstGeom>
        </p:spPr>
        <p:txBody>
          <a:bodyPr wrap="square">
            <a:spAutoFit/>
          </a:bodyPr>
          <a:lstStyle/>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Opportunity to see entire landscape for business need</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Alignment on business Priority items </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Alignment on development, architectural best practices building Enterprise solutions</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Accelerates Decision making process </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Opportunity to see a high level plan </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Identification and Risks alignment </a:t>
            </a:r>
          </a:p>
        </p:txBody>
      </p:sp>
      <p:sp>
        <p:nvSpPr>
          <p:cNvPr id="19" name="Rectangle 18">
            <a:extLst>
              <a:ext uri="{FF2B5EF4-FFF2-40B4-BE49-F238E27FC236}">
                <a16:creationId xmlns:a16="http://schemas.microsoft.com/office/drawing/2014/main" id="{B66781B3-5A11-4112-80EE-4DA04C3F2978}"/>
              </a:ext>
            </a:extLst>
          </p:cNvPr>
          <p:cNvSpPr/>
          <p:nvPr/>
        </p:nvSpPr>
        <p:spPr>
          <a:xfrm>
            <a:off x="9642248" y="2360646"/>
            <a:ext cx="1852427" cy="3477875"/>
          </a:xfrm>
          <a:prstGeom prst="rect">
            <a:avLst/>
          </a:prstGeom>
        </p:spPr>
        <p:txBody>
          <a:bodyPr wrap="square">
            <a:spAutoFit/>
          </a:bodyPr>
          <a:lstStyle/>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BE CURIOUS!</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Features-PBI refinements as needed</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Get PBIs, mock Ups refined/approved for the Iteration</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Work on Project Risks</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Create and share release plan/strategy </a:t>
            </a:r>
          </a:p>
          <a:p>
            <a:pPr marL="285748" indent="-285748" defTabSz="685792">
              <a:buFont typeface="Wingdings" panose="05000000000000000000" pitchFamily="2" charset="2"/>
              <a:buChar char="q"/>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48" indent="-285748" defTabSz="685792">
              <a:buFont typeface="Wingdings" panose="05000000000000000000" pitchFamily="2" charset="2"/>
              <a:buChar char="q"/>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Setting up cadence – Daily meet, backlog calls, Review, Retrospective </a:t>
            </a:r>
            <a:r>
              <a:rPr lang="en-US" sz="1100" err="1">
                <a:solidFill>
                  <a:prstClr val="black"/>
                </a:solidFill>
                <a:latin typeface="Open Sans" panose="020B0606030504020204" pitchFamily="34" charset="0"/>
                <a:ea typeface="Open Sans" panose="020B0606030504020204" pitchFamily="34" charset="0"/>
                <a:cs typeface="Open Sans" panose="020B0606030504020204" pitchFamily="34" charset="0"/>
              </a:rPr>
              <a:t>etc</a:t>
            </a: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Callout: Down Arrow 19">
            <a:extLst>
              <a:ext uri="{FF2B5EF4-FFF2-40B4-BE49-F238E27FC236}">
                <a16:creationId xmlns:a16="http://schemas.microsoft.com/office/drawing/2014/main" id="{538FB7FB-6FFD-4EAB-9B26-444682F635DC}"/>
              </a:ext>
            </a:extLst>
          </p:cNvPr>
          <p:cNvSpPr/>
          <p:nvPr/>
        </p:nvSpPr>
        <p:spPr bwMode="gray">
          <a:xfrm>
            <a:off x="3335882" y="997944"/>
            <a:ext cx="2613717" cy="1154012"/>
          </a:xfrm>
          <a:prstGeom prst="downArrowCallout">
            <a:avLst/>
          </a:prstGeom>
          <a:solidFill>
            <a:schemeClr val="accent1"/>
          </a:solidFill>
          <a:ln w="19050" algn="ctr">
            <a:noFill/>
            <a:miter lim="800000"/>
            <a:headEnd/>
            <a:tailEnd/>
          </a:ln>
        </p:spPr>
        <p:txBody>
          <a:bodyPr wrap="square" lIns="66676" tIns="66676" rIns="66676" bIns="66676" rtlCol="0" anchor="ctr"/>
          <a:lstStyle/>
          <a:p>
            <a:pPr algn="ctr" defTabSz="685792"/>
            <a:r>
              <a:rPr lang="en-US" sz="1401" b="1">
                <a:solidFill>
                  <a:prstClr val="black"/>
                </a:solidFill>
                <a:latin typeface="Open Sans" panose="020B0606030504020204" pitchFamily="34" charset="0"/>
                <a:ea typeface="Open Sans" panose="020B0606030504020204" pitchFamily="34" charset="0"/>
                <a:cs typeface="Open Sans" panose="020B0606030504020204" pitchFamily="34" charset="0"/>
              </a:rPr>
              <a:t>Business benefits</a:t>
            </a:r>
          </a:p>
        </p:txBody>
      </p:sp>
      <p:sp>
        <p:nvSpPr>
          <p:cNvPr id="21" name="Callout: Down Arrow 20">
            <a:extLst>
              <a:ext uri="{FF2B5EF4-FFF2-40B4-BE49-F238E27FC236}">
                <a16:creationId xmlns:a16="http://schemas.microsoft.com/office/drawing/2014/main" id="{8E34D80E-3ED1-4C75-B1AA-C22E7C69CABC}"/>
              </a:ext>
            </a:extLst>
          </p:cNvPr>
          <p:cNvSpPr/>
          <p:nvPr/>
        </p:nvSpPr>
        <p:spPr bwMode="gray">
          <a:xfrm>
            <a:off x="6296548" y="988173"/>
            <a:ext cx="2628629" cy="1123937"/>
          </a:xfrm>
          <a:prstGeom prst="downArrowCallout">
            <a:avLst/>
          </a:prstGeom>
          <a:solidFill>
            <a:schemeClr val="accent1"/>
          </a:solidFill>
          <a:ln w="19050" algn="ctr">
            <a:noFill/>
            <a:miter lim="800000"/>
            <a:headEnd/>
            <a:tailEnd/>
          </a:ln>
        </p:spPr>
        <p:txBody>
          <a:bodyPr wrap="square" lIns="66676" tIns="66676" rIns="66676" bIns="66676" rtlCol="0" anchor="ctr"/>
          <a:lstStyle/>
          <a:p>
            <a:pPr algn="ctr" defTabSz="685792"/>
            <a:r>
              <a:rPr lang="en-US" sz="1401" b="1">
                <a:solidFill>
                  <a:prstClr val="black"/>
                </a:solidFill>
                <a:latin typeface="Open Sans" panose="020B0606030504020204" pitchFamily="34" charset="0"/>
                <a:ea typeface="Open Sans" panose="020B0606030504020204" pitchFamily="34" charset="0"/>
                <a:cs typeface="Open Sans" panose="020B0606030504020204" pitchFamily="34" charset="0"/>
              </a:rPr>
              <a:t>Product and IT team alignment</a:t>
            </a:r>
          </a:p>
        </p:txBody>
      </p:sp>
      <p:sp>
        <p:nvSpPr>
          <p:cNvPr id="22" name="Callout: Down Arrow 21">
            <a:extLst>
              <a:ext uri="{FF2B5EF4-FFF2-40B4-BE49-F238E27FC236}">
                <a16:creationId xmlns:a16="http://schemas.microsoft.com/office/drawing/2014/main" id="{289BA5FB-ECCD-4F4D-832A-A645D1056FB5}"/>
              </a:ext>
            </a:extLst>
          </p:cNvPr>
          <p:cNvSpPr/>
          <p:nvPr/>
        </p:nvSpPr>
        <p:spPr bwMode="gray">
          <a:xfrm>
            <a:off x="9272125" y="997944"/>
            <a:ext cx="2613717" cy="1069886"/>
          </a:xfrm>
          <a:prstGeom prst="downArrowCallout">
            <a:avLst/>
          </a:prstGeom>
          <a:solidFill>
            <a:schemeClr val="accent1"/>
          </a:solidFill>
          <a:ln w="19050" algn="ctr">
            <a:noFill/>
            <a:miter lim="800000"/>
            <a:headEnd/>
            <a:tailEnd/>
          </a:ln>
        </p:spPr>
        <p:txBody>
          <a:bodyPr wrap="square" lIns="66676" tIns="66676" rIns="66676" bIns="66676" rtlCol="0" anchor="ctr"/>
          <a:lstStyle/>
          <a:p>
            <a:pPr algn="ctr" defTabSz="685792"/>
            <a:r>
              <a:rPr lang="en-US" sz="1401" b="1">
                <a:solidFill>
                  <a:prstClr val="black"/>
                </a:solidFill>
                <a:latin typeface="Open Sans" panose="020B0606030504020204" pitchFamily="34" charset="0"/>
                <a:ea typeface="Open Sans" panose="020B0606030504020204" pitchFamily="34" charset="0"/>
                <a:cs typeface="Open Sans" panose="020B0606030504020204" pitchFamily="34" charset="0"/>
              </a:rPr>
              <a:t>Decide ‘next’ steps - Together</a:t>
            </a:r>
          </a:p>
        </p:txBody>
      </p:sp>
      <p:sp>
        <p:nvSpPr>
          <p:cNvPr id="16" name="Title 1">
            <a:extLst>
              <a:ext uri="{FF2B5EF4-FFF2-40B4-BE49-F238E27FC236}">
                <a16:creationId xmlns:a16="http://schemas.microsoft.com/office/drawing/2014/main" id="{C9740AE0-2FD7-41FA-B612-178B83F9986B}"/>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a:ea typeface="Open Sans" panose="020B0606030504020204" pitchFamily="34" charset="0"/>
                <a:cs typeface="Open Sans" panose="020B0606030504020204" pitchFamily="34" charset="0"/>
              </a:rPr>
              <a:t>Audit Transformations: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PI Planning Objectives – </a:t>
            </a:r>
            <a:r>
              <a:rPr lang="en-US" sz="1801" b="1">
                <a:latin typeface="Open Sans" panose="020B0606030504020204" pitchFamily="34" charset="0"/>
                <a:ea typeface="Open Sans" panose="020B0606030504020204" pitchFamily="34" charset="0"/>
                <a:cs typeface="Open Sans" panose="020B0606030504020204" pitchFamily="34" charset="0"/>
              </a:rPr>
              <a:t>New Normal</a:t>
            </a:r>
          </a:p>
        </p:txBody>
      </p:sp>
    </p:spTree>
    <p:extLst>
      <p:ext uri="{BB962C8B-B14F-4D97-AF65-F5344CB8AC3E}">
        <p14:creationId xmlns:p14="http://schemas.microsoft.com/office/powerpoint/2010/main" val="3339402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D81E90CF-FE2B-4EF2-AE01-6B8C8331CB34}"/>
              </a:ext>
            </a:extLst>
          </p:cNvPr>
          <p:cNvSpPr txBox="1"/>
          <p:nvPr/>
        </p:nvSpPr>
        <p:spPr>
          <a:xfrm>
            <a:off x="545332" y="2979622"/>
            <a:ext cx="11532368" cy="2716128"/>
          </a:xfrm>
          <a:prstGeom prst="rect">
            <a:avLst/>
          </a:prstGeom>
          <a:noFill/>
        </p:spPr>
        <p:txBody>
          <a:bodyPr wrap="square" lIns="0" tIns="0" rIns="0" bIns="0" rtlCol="0" anchor="t">
            <a:spAutoFit/>
          </a:bodyPr>
          <a:lstStyle>
            <a:defPPr>
              <a:defRPr lang="en-US"/>
            </a:defPPr>
            <a:lvl1pPr marR="0" lvl="0" fontAlgn="auto">
              <a:lnSpc>
                <a:spcPct val="100000"/>
              </a:lnSpc>
              <a:spcBef>
                <a:spcPts val="600"/>
              </a:spcBef>
              <a:spcAft>
                <a:spcPts val="0"/>
              </a:spcAft>
              <a:buClrTx/>
              <a:buSzPct val="100000"/>
              <a:tabLst/>
              <a:defRPr sz="1400" b="1" u="sng">
                <a:solidFill>
                  <a:prstClr val="black"/>
                </a:solidFill>
              </a:defRPr>
            </a:lvl1pPr>
            <a:lvl2pPr marL="812785" marR="0" lvl="1" indent="-203200" fontAlgn="auto">
              <a:lnSpc>
                <a:spcPct val="100000"/>
              </a:lnSpc>
              <a:spcBef>
                <a:spcPts val="600"/>
              </a:spcBef>
              <a:spcAft>
                <a:spcPts val="0"/>
              </a:spcAft>
              <a:buClrTx/>
              <a:buSzPct val="100000"/>
              <a:buFont typeface="Arial"/>
              <a:buChar char="•"/>
              <a:tabLst/>
              <a:defRPr kumimoji="0" sz="1400" b="0" i="0" u="none" strike="noStrike" cap="none" spc="0" normalizeH="0" baseline="0">
                <a:ln>
                  <a:noFill/>
                </a:ln>
                <a:solidFill>
                  <a:prstClr val="black"/>
                </a:solidFill>
                <a:effectLst/>
                <a:uLnTx/>
                <a:uFillTx/>
              </a:defRPr>
            </a:lvl2pPr>
          </a:lstStyle>
          <a:p>
            <a:pPr marL="151765" indent="-151765" defTabSz="914367">
              <a:spcBef>
                <a:spcPts val="452"/>
              </a:spcBef>
              <a:buFont typeface="Arial"/>
              <a:buChar char="•"/>
              <a:defRPr/>
            </a:pPr>
            <a:r>
              <a:rPr lang="en-US" sz="1600" b="0" u="none"/>
              <a:t>Continued DWW acceleration</a:t>
            </a:r>
          </a:p>
          <a:p>
            <a:pPr marL="151765" indent="-151765" defTabSz="914367">
              <a:spcBef>
                <a:spcPts val="452"/>
              </a:spcBef>
              <a:buFont typeface="Arial"/>
              <a:buChar char="•"/>
              <a:defRPr/>
            </a:pPr>
            <a:r>
              <a:rPr lang="en-GB" sz="1600" b="0" u="none"/>
              <a:t>Continue enabling the transition to Omnia / Levvia as globalization ramps up</a:t>
            </a:r>
            <a:endParaRPr lang="en-GB" sz="1600" b="0" u="none">
              <a:cs typeface="Calibri" panose="020F0502020204030204"/>
            </a:endParaRPr>
          </a:p>
          <a:p>
            <a:pPr marL="151765" indent="-151765" defTabSz="914367">
              <a:spcBef>
                <a:spcPts val="452"/>
              </a:spcBef>
              <a:buFont typeface="Arial"/>
              <a:buChar char="•"/>
              <a:defRPr/>
            </a:pPr>
            <a:r>
              <a:rPr lang="en-US" sz="1600" b="0" u="none"/>
              <a:t>Centralization through significant ramp up in RADC usage</a:t>
            </a:r>
            <a:endParaRPr lang="en-US" sz="1600" b="0" u="none">
              <a:cs typeface="Calibri"/>
            </a:endParaRPr>
          </a:p>
          <a:p>
            <a:pPr marL="151765" indent="-151765" defTabSz="914367">
              <a:spcBef>
                <a:spcPts val="452"/>
              </a:spcBef>
              <a:buFont typeface="Arial"/>
              <a:buChar char="•"/>
              <a:defRPr/>
            </a:pPr>
            <a:r>
              <a:rPr lang="en-US" sz="1600" b="0" u="none"/>
              <a:t>Further expansion of RADC catalogue of services</a:t>
            </a:r>
            <a:endParaRPr lang="en-US" sz="1600" b="0" u="none">
              <a:cs typeface="Calibri"/>
            </a:endParaRPr>
          </a:p>
          <a:p>
            <a:pPr marL="213995" indent="-213995">
              <a:buFont typeface="Arial" panose="020B0604020202020204" pitchFamily="34" charset="0"/>
              <a:buChar char="•"/>
            </a:pPr>
            <a:r>
              <a:rPr lang="en-GB" sz="1600" b="0" u="none"/>
              <a:t>As part of Audit Transformation “chapter 2” better tools to assist with monitoring adoption reporting</a:t>
            </a:r>
            <a:endParaRPr lang="en-GB" sz="1600" b="0" u="none">
              <a:cs typeface="Calibri"/>
            </a:endParaRPr>
          </a:p>
          <a:p>
            <a:pPr marL="213995" indent="-213995">
              <a:buFont typeface="Arial" panose="020B0604020202020204" pitchFamily="34" charset="0"/>
              <a:buChar char="•"/>
            </a:pPr>
            <a:r>
              <a:rPr lang="en-US" sz="1600" b="0" u="none"/>
              <a:t>Monitoring Quality &amp; Adoption</a:t>
            </a:r>
            <a:endParaRPr lang="en-GB" sz="1600" b="0" u="none"/>
          </a:p>
          <a:p>
            <a:pPr marL="213995" indent="-213995">
              <a:buFont typeface="Arial" panose="020B0604020202020204" pitchFamily="34" charset="0"/>
              <a:buChar char="•"/>
            </a:pPr>
            <a:r>
              <a:rPr lang="en-GB" sz="1600" b="0" u="none"/>
              <a:t>Provide tools / hooks / abilities in our existing tools to automate bots (e.g. NWE and APT teams creating a variety of these bots)</a:t>
            </a:r>
            <a:endParaRPr lang="en-GB" sz="1600" b="0" u="none">
              <a:cs typeface="Calibri" panose="020F0502020204030204"/>
            </a:endParaRPr>
          </a:p>
          <a:p>
            <a:pPr marL="213995" indent="-213995">
              <a:buFont typeface="Arial" panose="020B0604020202020204" pitchFamily="34" charset="0"/>
              <a:buChar char="•"/>
            </a:pPr>
            <a:r>
              <a:rPr lang="en-GB" sz="1600" b="0" u="none"/>
              <a:t>Stellar Support and Ongoing Maintenance, including continuous IT alignment by supporting latest requirements around security / infrastructure / operating systems</a:t>
            </a:r>
            <a:endParaRPr lang="en-GB" sz="1600" b="0" u="none">
              <a:cs typeface="Calibri" panose="020F0502020204030204"/>
            </a:endParaRPr>
          </a:p>
        </p:txBody>
      </p:sp>
      <p:sp>
        <p:nvSpPr>
          <p:cNvPr id="6" name="TextBox 5">
            <a:extLst>
              <a:ext uri="{FF2B5EF4-FFF2-40B4-BE49-F238E27FC236}">
                <a16:creationId xmlns:a16="http://schemas.microsoft.com/office/drawing/2014/main" id="{B6B16072-8482-4C74-89D8-89F94A162950}"/>
              </a:ext>
            </a:extLst>
          </p:cNvPr>
          <p:cNvSpPr txBox="1"/>
          <p:nvPr/>
        </p:nvSpPr>
        <p:spPr>
          <a:xfrm>
            <a:off x="5881478" y="6463247"/>
            <a:ext cx="6127135" cy="276999"/>
          </a:xfrm>
          <a:prstGeom prst="rect">
            <a:avLst/>
          </a:prstGeom>
          <a:noFill/>
        </p:spPr>
        <p:txBody>
          <a:bodyPr wrap="square" rtlCol="0">
            <a:spAutoFit/>
          </a:bodyPr>
          <a:lstStyle/>
          <a:p>
            <a:pPr algn="r"/>
            <a:r>
              <a:rPr lang="en-US" sz="1200" b="1">
                <a:solidFill>
                  <a:srgbClr val="37B6C4"/>
                </a:solidFill>
                <a:latin typeface="Open Sans Light" panose="020B0306030504020204" pitchFamily="34" charset="0"/>
                <a:ea typeface="Open Sans Light" panose="020B0306030504020204" pitchFamily="34" charset="0"/>
                <a:cs typeface="Open Sans Light" panose="020B0306030504020204" pitchFamily="34" charset="0"/>
              </a:rPr>
              <a:t>- You can map all the Features &amp; PBI’s against these Values</a:t>
            </a:r>
          </a:p>
        </p:txBody>
      </p:sp>
      <p:sp>
        <p:nvSpPr>
          <p:cNvPr id="20" name="Freeform 359">
            <a:extLst>
              <a:ext uri="{FF2B5EF4-FFF2-40B4-BE49-F238E27FC236}">
                <a16:creationId xmlns:a16="http://schemas.microsoft.com/office/drawing/2014/main" id="{DC52B161-38D0-498F-B5BA-35C2E5A4F262}"/>
              </a:ext>
            </a:extLst>
          </p:cNvPr>
          <p:cNvSpPr>
            <a:spLocks noChangeAspect="1" noEditPoints="1"/>
          </p:cNvSpPr>
          <p:nvPr/>
        </p:nvSpPr>
        <p:spPr bwMode="auto">
          <a:xfrm>
            <a:off x="838087" y="837943"/>
            <a:ext cx="1129861" cy="112986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1"/>
          </a:solidFill>
          <a:ln>
            <a:noFill/>
          </a:ln>
        </p:spPr>
        <p:txBody>
          <a:bodyPr vert="horz" wrap="square" lIns="68580" tIns="34292" rIns="68580" bIns="34292" numCol="1" anchor="t" anchorCtr="0" compatLnSpc="1">
            <a:prstTxWarp prst="textNoShape">
              <a:avLst/>
            </a:prstTxWarp>
          </a:bodyPr>
          <a:lstStyle/>
          <a:p>
            <a:pPr defTabSz="914367">
              <a:defRPr/>
            </a:pPr>
            <a:endParaRPr lang="en-GB" sz="1801">
              <a:solidFill>
                <a:prstClr val="black"/>
              </a:solidFill>
              <a:latin typeface="Verdana"/>
            </a:endParaRPr>
          </a:p>
        </p:txBody>
      </p:sp>
      <p:grpSp>
        <p:nvGrpSpPr>
          <p:cNvPr id="21" name="Group 20">
            <a:extLst>
              <a:ext uri="{FF2B5EF4-FFF2-40B4-BE49-F238E27FC236}">
                <a16:creationId xmlns:a16="http://schemas.microsoft.com/office/drawing/2014/main" id="{A1A01775-15FA-473A-AD24-7C6E6032DCEE}"/>
              </a:ext>
            </a:extLst>
          </p:cNvPr>
          <p:cNvGrpSpPr>
            <a:grpSpLocks noChangeAspect="1"/>
          </p:cNvGrpSpPr>
          <p:nvPr/>
        </p:nvGrpSpPr>
        <p:grpSpPr bwMode="auto">
          <a:xfrm>
            <a:off x="3111030" y="820629"/>
            <a:ext cx="1129861" cy="1129863"/>
            <a:chOff x="1161" y="385"/>
            <a:chExt cx="340" cy="340"/>
          </a:xfrm>
          <a:solidFill>
            <a:schemeClr val="accent5"/>
          </a:solidFill>
        </p:grpSpPr>
        <p:sp>
          <p:nvSpPr>
            <p:cNvPr id="22" name="Freeform 180">
              <a:extLst>
                <a:ext uri="{FF2B5EF4-FFF2-40B4-BE49-F238E27FC236}">
                  <a16:creationId xmlns:a16="http://schemas.microsoft.com/office/drawing/2014/main" id="{A1F339BE-D06D-451C-9A1C-D30A63DCF43A}"/>
                </a:ext>
              </a:extLst>
            </p:cNvPr>
            <p:cNvSpPr>
              <a:spLocks noEditPoints="1"/>
            </p:cNvSpPr>
            <p:nvPr/>
          </p:nvSpPr>
          <p:spPr bwMode="auto">
            <a:xfrm>
              <a:off x="1260" y="449"/>
              <a:ext cx="156" cy="212"/>
            </a:xfrm>
            <a:custGeom>
              <a:avLst/>
              <a:gdLst>
                <a:gd name="T0" fmla="*/ 224 w 235"/>
                <a:gd name="T1" fmla="*/ 96 h 320"/>
                <a:gd name="T2" fmla="*/ 213 w 235"/>
                <a:gd name="T3" fmla="*/ 106 h 320"/>
                <a:gd name="T4" fmla="*/ 213 w 235"/>
                <a:gd name="T5" fmla="*/ 64 h 320"/>
                <a:gd name="T6" fmla="*/ 192 w 235"/>
                <a:gd name="T7" fmla="*/ 42 h 320"/>
                <a:gd name="T8" fmla="*/ 181 w 235"/>
                <a:gd name="T9" fmla="*/ 42 h 320"/>
                <a:gd name="T10" fmla="*/ 181 w 235"/>
                <a:gd name="T11" fmla="*/ 21 h 320"/>
                <a:gd name="T12" fmla="*/ 160 w 235"/>
                <a:gd name="T13" fmla="*/ 0 h 320"/>
                <a:gd name="T14" fmla="*/ 53 w 235"/>
                <a:gd name="T15" fmla="*/ 0 h 320"/>
                <a:gd name="T16" fmla="*/ 32 w 235"/>
                <a:gd name="T17" fmla="*/ 21 h 320"/>
                <a:gd name="T18" fmla="*/ 32 w 235"/>
                <a:gd name="T19" fmla="*/ 42 h 320"/>
                <a:gd name="T20" fmla="*/ 21 w 235"/>
                <a:gd name="T21" fmla="*/ 42 h 320"/>
                <a:gd name="T22" fmla="*/ 0 w 235"/>
                <a:gd name="T23" fmla="*/ 64 h 320"/>
                <a:gd name="T24" fmla="*/ 0 w 235"/>
                <a:gd name="T25" fmla="*/ 256 h 320"/>
                <a:gd name="T26" fmla="*/ 21 w 235"/>
                <a:gd name="T27" fmla="*/ 277 h 320"/>
                <a:gd name="T28" fmla="*/ 32 w 235"/>
                <a:gd name="T29" fmla="*/ 277 h 320"/>
                <a:gd name="T30" fmla="*/ 32 w 235"/>
                <a:gd name="T31" fmla="*/ 298 h 320"/>
                <a:gd name="T32" fmla="*/ 53 w 235"/>
                <a:gd name="T33" fmla="*/ 320 h 320"/>
                <a:gd name="T34" fmla="*/ 160 w 235"/>
                <a:gd name="T35" fmla="*/ 320 h 320"/>
                <a:gd name="T36" fmla="*/ 181 w 235"/>
                <a:gd name="T37" fmla="*/ 298 h 320"/>
                <a:gd name="T38" fmla="*/ 181 w 235"/>
                <a:gd name="T39" fmla="*/ 277 h 320"/>
                <a:gd name="T40" fmla="*/ 192 w 235"/>
                <a:gd name="T41" fmla="*/ 277 h 320"/>
                <a:gd name="T42" fmla="*/ 213 w 235"/>
                <a:gd name="T43" fmla="*/ 256 h 320"/>
                <a:gd name="T44" fmla="*/ 213 w 235"/>
                <a:gd name="T45" fmla="*/ 138 h 320"/>
                <a:gd name="T46" fmla="*/ 224 w 235"/>
                <a:gd name="T47" fmla="*/ 149 h 320"/>
                <a:gd name="T48" fmla="*/ 235 w 235"/>
                <a:gd name="T49" fmla="*/ 138 h 320"/>
                <a:gd name="T50" fmla="*/ 235 w 235"/>
                <a:gd name="T51" fmla="*/ 106 h 320"/>
                <a:gd name="T52" fmla="*/ 224 w 235"/>
                <a:gd name="T53" fmla="*/ 96 h 320"/>
                <a:gd name="T54" fmla="*/ 53 w 235"/>
                <a:gd name="T55" fmla="*/ 21 h 320"/>
                <a:gd name="T56" fmla="*/ 160 w 235"/>
                <a:gd name="T57" fmla="*/ 21 h 320"/>
                <a:gd name="T58" fmla="*/ 160 w 235"/>
                <a:gd name="T59" fmla="*/ 42 h 320"/>
                <a:gd name="T60" fmla="*/ 53 w 235"/>
                <a:gd name="T61" fmla="*/ 42 h 320"/>
                <a:gd name="T62" fmla="*/ 53 w 235"/>
                <a:gd name="T63" fmla="*/ 21 h 320"/>
                <a:gd name="T64" fmla="*/ 160 w 235"/>
                <a:gd name="T65" fmla="*/ 298 h 320"/>
                <a:gd name="T66" fmla="*/ 53 w 235"/>
                <a:gd name="T67" fmla="*/ 298 h 320"/>
                <a:gd name="T68" fmla="*/ 53 w 235"/>
                <a:gd name="T69" fmla="*/ 277 h 320"/>
                <a:gd name="T70" fmla="*/ 160 w 235"/>
                <a:gd name="T71" fmla="*/ 277 h 320"/>
                <a:gd name="T72" fmla="*/ 160 w 235"/>
                <a:gd name="T73" fmla="*/ 298 h 320"/>
                <a:gd name="T74" fmla="*/ 192 w 235"/>
                <a:gd name="T75" fmla="*/ 256 h 320"/>
                <a:gd name="T76" fmla="*/ 21 w 235"/>
                <a:gd name="T77" fmla="*/ 256 h 320"/>
                <a:gd name="T78" fmla="*/ 21 w 235"/>
                <a:gd name="T79" fmla="*/ 64 h 320"/>
                <a:gd name="T80" fmla="*/ 192 w 235"/>
                <a:gd name="T81" fmla="*/ 64 h 320"/>
                <a:gd name="T82" fmla="*/ 192 w 235"/>
                <a:gd name="T8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 h="320">
                  <a:moveTo>
                    <a:pt x="224" y="96"/>
                  </a:moveTo>
                  <a:cubicBezTo>
                    <a:pt x="218" y="96"/>
                    <a:pt x="213" y="100"/>
                    <a:pt x="213" y="106"/>
                  </a:cubicBezTo>
                  <a:cubicBezTo>
                    <a:pt x="213" y="64"/>
                    <a:pt x="213" y="64"/>
                    <a:pt x="213" y="64"/>
                  </a:cubicBezTo>
                  <a:cubicBezTo>
                    <a:pt x="213" y="52"/>
                    <a:pt x="204" y="42"/>
                    <a:pt x="192" y="42"/>
                  </a:cubicBezTo>
                  <a:cubicBezTo>
                    <a:pt x="181" y="42"/>
                    <a:pt x="181" y="42"/>
                    <a:pt x="181" y="42"/>
                  </a:cubicBezTo>
                  <a:cubicBezTo>
                    <a:pt x="181" y="21"/>
                    <a:pt x="181" y="21"/>
                    <a:pt x="181" y="21"/>
                  </a:cubicBezTo>
                  <a:cubicBezTo>
                    <a:pt x="181" y="9"/>
                    <a:pt x="172" y="0"/>
                    <a:pt x="160" y="0"/>
                  </a:cubicBezTo>
                  <a:cubicBezTo>
                    <a:pt x="53" y="0"/>
                    <a:pt x="53" y="0"/>
                    <a:pt x="53" y="0"/>
                  </a:cubicBezTo>
                  <a:cubicBezTo>
                    <a:pt x="42" y="0"/>
                    <a:pt x="32" y="9"/>
                    <a:pt x="32" y="21"/>
                  </a:cubicBezTo>
                  <a:cubicBezTo>
                    <a:pt x="32" y="42"/>
                    <a:pt x="32" y="42"/>
                    <a:pt x="32" y="42"/>
                  </a:cubicBezTo>
                  <a:cubicBezTo>
                    <a:pt x="21" y="42"/>
                    <a:pt x="21" y="42"/>
                    <a:pt x="21" y="42"/>
                  </a:cubicBezTo>
                  <a:cubicBezTo>
                    <a:pt x="10" y="42"/>
                    <a:pt x="0" y="52"/>
                    <a:pt x="0" y="64"/>
                  </a:cubicBezTo>
                  <a:cubicBezTo>
                    <a:pt x="0" y="256"/>
                    <a:pt x="0" y="256"/>
                    <a:pt x="0" y="256"/>
                  </a:cubicBezTo>
                  <a:cubicBezTo>
                    <a:pt x="0" y="267"/>
                    <a:pt x="10" y="277"/>
                    <a:pt x="21" y="277"/>
                  </a:cubicBezTo>
                  <a:cubicBezTo>
                    <a:pt x="32" y="277"/>
                    <a:pt x="32" y="277"/>
                    <a:pt x="32" y="277"/>
                  </a:cubicBezTo>
                  <a:cubicBezTo>
                    <a:pt x="32" y="298"/>
                    <a:pt x="32" y="298"/>
                    <a:pt x="32" y="298"/>
                  </a:cubicBezTo>
                  <a:cubicBezTo>
                    <a:pt x="32" y="310"/>
                    <a:pt x="42" y="320"/>
                    <a:pt x="53" y="320"/>
                  </a:cubicBezTo>
                  <a:cubicBezTo>
                    <a:pt x="160" y="320"/>
                    <a:pt x="160" y="320"/>
                    <a:pt x="160" y="320"/>
                  </a:cubicBezTo>
                  <a:cubicBezTo>
                    <a:pt x="172" y="320"/>
                    <a:pt x="181" y="310"/>
                    <a:pt x="181" y="298"/>
                  </a:cubicBezTo>
                  <a:cubicBezTo>
                    <a:pt x="181" y="277"/>
                    <a:pt x="181" y="277"/>
                    <a:pt x="181" y="277"/>
                  </a:cubicBezTo>
                  <a:cubicBezTo>
                    <a:pt x="192" y="277"/>
                    <a:pt x="192" y="277"/>
                    <a:pt x="192" y="277"/>
                  </a:cubicBezTo>
                  <a:cubicBezTo>
                    <a:pt x="204" y="277"/>
                    <a:pt x="213" y="267"/>
                    <a:pt x="213" y="256"/>
                  </a:cubicBezTo>
                  <a:cubicBezTo>
                    <a:pt x="213" y="138"/>
                    <a:pt x="213" y="138"/>
                    <a:pt x="213" y="138"/>
                  </a:cubicBezTo>
                  <a:cubicBezTo>
                    <a:pt x="213" y="144"/>
                    <a:pt x="218" y="149"/>
                    <a:pt x="224" y="149"/>
                  </a:cubicBezTo>
                  <a:cubicBezTo>
                    <a:pt x="230" y="149"/>
                    <a:pt x="235" y="144"/>
                    <a:pt x="235" y="138"/>
                  </a:cubicBezTo>
                  <a:cubicBezTo>
                    <a:pt x="235" y="106"/>
                    <a:pt x="235" y="106"/>
                    <a:pt x="235" y="106"/>
                  </a:cubicBezTo>
                  <a:cubicBezTo>
                    <a:pt x="235" y="100"/>
                    <a:pt x="230" y="96"/>
                    <a:pt x="224" y="96"/>
                  </a:cubicBezTo>
                  <a:close/>
                  <a:moveTo>
                    <a:pt x="53" y="21"/>
                  </a:moveTo>
                  <a:cubicBezTo>
                    <a:pt x="160" y="21"/>
                    <a:pt x="160" y="21"/>
                    <a:pt x="160" y="21"/>
                  </a:cubicBezTo>
                  <a:cubicBezTo>
                    <a:pt x="160" y="42"/>
                    <a:pt x="160" y="42"/>
                    <a:pt x="160" y="42"/>
                  </a:cubicBezTo>
                  <a:cubicBezTo>
                    <a:pt x="53" y="42"/>
                    <a:pt x="53" y="42"/>
                    <a:pt x="53" y="42"/>
                  </a:cubicBezTo>
                  <a:lnTo>
                    <a:pt x="53" y="21"/>
                  </a:lnTo>
                  <a:close/>
                  <a:moveTo>
                    <a:pt x="160" y="298"/>
                  </a:moveTo>
                  <a:cubicBezTo>
                    <a:pt x="53" y="298"/>
                    <a:pt x="53" y="298"/>
                    <a:pt x="53" y="298"/>
                  </a:cubicBezTo>
                  <a:cubicBezTo>
                    <a:pt x="53" y="277"/>
                    <a:pt x="53" y="277"/>
                    <a:pt x="53" y="277"/>
                  </a:cubicBezTo>
                  <a:cubicBezTo>
                    <a:pt x="160" y="277"/>
                    <a:pt x="160" y="277"/>
                    <a:pt x="160" y="277"/>
                  </a:cubicBezTo>
                  <a:lnTo>
                    <a:pt x="160" y="298"/>
                  </a:lnTo>
                  <a:close/>
                  <a:moveTo>
                    <a:pt x="192" y="256"/>
                  </a:moveTo>
                  <a:cubicBezTo>
                    <a:pt x="21" y="256"/>
                    <a:pt x="21" y="256"/>
                    <a:pt x="21" y="256"/>
                  </a:cubicBezTo>
                  <a:cubicBezTo>
                    <a:pt x="21" y="64"/>
                    <a:pt x="21" y="64"/>
                    <a:pt x="21" y="64"/>
                  </a:cubicBezTo>
                  <a:cubicBezTo>
                    <a:pt x="192" y="64"/>
                    <a:pt x="192" y="64"/>
                    <a:pt x="192" y="64"/>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67">
                <a:defRPr/>
              </a:pPr>
              <a:endParaRPr lang="en-GB" sz="1801">
                <a:solidFill>
                  <a:prstClr val="black"/>
                </a:solidFill>
                <a:latin typeface="Verdana"/>
              </a:endParaRPr>
            </a:p>
          </p:txBody>
        </p:sp>
        <p:sp>
          <p:nvSpPr>
            <p:cNvPr id="23" name="Freeform 181">
              <a:extLst>
                <a:ext uri="{FF2B5EF4-FFF2-40B4-BE49-F238E27FC236}">
                  <a16:creationId xmlns:a16="http://schemas.microsoft.com/office/drawing/2014/main" id="{1446BACC-B99B-4598-8D47-81E5974D3A20}"/>
                </a:ext>
              </a:extLst>
            </p:cNvPr>
            <p:cNvSpPr>
              <a:spLocks noEditPoints="1"/>
            </p:cNvSpPr>
            <p:nvPr/>
          </p:nvSpPr>
          <p:spPr bwMode="auto">
            <a:xfrm>
              <a:off x="116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67">
                <a:defRPr/>
              </a:pPr>
              <a:endParaRPr lang="en-GB" sz="1801">
                <a:solidFill>
                  <a:prstClr val="black"/>
                </a:solidFill>
                <a:latin typeface="Verdana"/>
              </a:endParaRPr>
            </a:p>
          </p:txBody>
        </p:sp>
      </p:grpSp>
      <p:sp>
        <p:nvSpPr>
          <p:cNvPr id="24" name="Title 2">
            <a:extLst>
              <a:ext uri="{FF2B5EF4-FFF2-40B4-BE49-F238E27FC236}">
                <a16:creationId xmlns:a16="http://schemas.microsoft.com/office/drawing/2014/main" id="{4EF27C3D-BBE7-4AC8-B3FD-801B3C3AF19B}"/>
              </a:ext>
            </a:extLst>
          </p:cNvPr>
          <p:cNvSpPr txBox="1">
            <a:spLocks/>
          </p:cNvSpPr>
          <p:nvPr/>
        </p:nvSpPr>
        <p:spPr bwMode="gray">
          <a:xfrm>
            <a:off x="2842145" y="2103627"/>
            <a:ext cx="1667638" cy="340546"/>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algn="ctr" defTabSz="914367">
              <a:defRPr/>
            </a:pPr>
            <a:r>
              <a:rPr lang="en-GB" sz="1200" b="1">
                <a:solidFill>
                  <a:prstClr val="black"/>
                </a:solidFill>
                <a:effectLst>
                  <a:outerShdw blurRad="38100" dist="38100" dir="2700000" algn="tl">
                    <a:srgbClr val="000000">
                      <a:alpha val="43137"/>
                    </a:srgbClr>
                  </a:outerShdw>
                </a:effectLst>
                <a:latin typeface="Verdana"/>
              </a:rPr>
              <a:t>Digitize</a:t>
            </a:r>
          </a:p>
        </p:txBody>
      </p:sp>
      <p:grpSp>
        <p:nvGrpSpPr>
          <p:cNvPr id="25" name="Group 489">
            <a:extLst>
              <a:ext uri="{FF2B5EF4-FFF2-40B4-BE49-F238E27FC236}">
                <a16:creationId xmlns:a16="http://schemas.microsoft.com/office/drawing/2014/main" id="{77517CFD-F23E-44E9-90DF-1500A381FDE4}"/>
              </a:ext>
            </a:extLst>
          </p:cNvPr>
          <p:cNvGrpSpPr>
            <a:grpSpLocks noChangeAspect="1"/>
          </p:cNvGrpSpPr>
          <p:nvPr/>
        </p:nvGrpSpPr>
        <p:grpSpPr bwMode="auto">
          <a:xfrm>
            <a:off x="5383596" y="825873"/>
            <a:ext cx="1129863" cy="1129861"/>
            <a:chOff x="2920" y="2264"/>
            <a:chExt cx="340" cy="340"/>
          </a:xfrm>
          <a:solidFill>
            <a:schemeClr val="accent6"/>
          </a:solidFill>
        </p:grpSpPr>
        <p:sp>
          <p:nvSpPr>
            <p:cNvPr id="26" name="Freeform 490">
              <a:extLst>
                <a:ext uri="{FF2B5EF4-FFF2-40B4-BE49-F238E27FC236}">
                  <a16:creationId xmlns:a16="http://schemas.microsoft.com/office/drawing/2014/main" id="{207153CC-DC5E-4436-8CE4-EF5B29E6BFF9}"/>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67">
                <a:defRPr/>
              </a:pPr>
              <a:endParaRPr lang="en-GB" sz="1801">
                <a:solidFill>
                  <a:prstClr val="black"/>
                </a:solidFill>
                <a:latin typeface="Verdana"/>
              </a:endParaRPr>
            </a:p>
          </p:txBody>
        </p:sp>
        <p:sp>
          <p:nvSpPr>
            <p:cNvPr id="27" name="Freeform 491">
              <a:extLst>
                <a:ext uri="{FF2B5EF4-FFF2-40B4-BE49-F238E27FC236}">
                  <a16:creationId xmlns:a16="http://schemas.microsoft.com/office/drawing/2014/main" id="{D20ABC21-09A8-4109-A5EE-9AF48217EB2F}"/>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67">
                <a:defRPr/>
              </a:pPr>
              <a:endParaRPr lang="en-GB" sz="1801">
                <a:solidFill>
                  <a:prstClr val="black"/>
                </a:solidFill>
                <a:latin typeface="Verdana"/>
              </a:endParaRPr>
            </a:p>
          </p:txBody>
        </p:sp>
        <p:sp>
          <p:nvSpPr>
            <p:cNvPr id="28" name="Freeform 492">
              <a:extLst>
                <a:ext uri="{FF2B5EF4-FFF2-40B4-BE49-F238E27FC236}">
                  <a16:creationId xmlns:a16="http://schemas.microsoft.com/office/drawing/2014/main" id="{229CBA98-2E42-4CED-ABA0-FB433590AB72}"/>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914367">
                <a:defRPr/>
              </a:pPr>
              <a:endParaRPr lang="en-GB" sz="1801">
                <a:solidFill>
                  <a:prstClr val="black"/>
                </a:solidFill>
                <a:latin typeface="Verdana"/>
              </a:endParaRPr>
            </a:p>
          </p:txBody>
        </p:sp>
      </p:grpSp>
      <p:sp>
        <p:nvSpPr>
          <p:cNvPr id="29" name="Title 2">
            <a:extLst>
              <a:ext uri="{FF2B5EF4-FFF2-40B4-BE49-F238E27FC236}">
                <a16:creationId xmlns:a16="http://schemas.microsoft.com/office/drawing/2014/main" id="{53E3D8CB-A6F4-4244-948D-7985A0DED371}"/>
              </a:ext>
            </a:extLst>
          </p:cNvPr>
          <p:cNvSpPr txBox="1">
            <a:spLocks/>
          </p:cNvSpPr>
          <p:nvPr/>
        </p:nvSpPr>
        <p:spPr bwMode="gray">
          <a:xfrm>
            <a:off x="5115090" y="2103627"/>
            <a:ext cx="1667638" cy="340546"/>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algn="ctr" defTabSz="914367">
              <a:defRPr/>
            </a:pPr>
            <a:r>
              <a:rPr lang="en-GB" sz="1200" b="1">
                <a:solidFill>
                  <a:prstClr val="black"/>
                </a:solidFill>
                <a:effectLst>
                  <a:outerShdw blurRad="38100" dist="38100" dir="2700000" algn="tl">
                    <a:srgbClr val="000000">
                      <a:alpha val="43137"/>
                    </a:srgbClr>
                  </a:outerShdw>
                </a:effectLst>
                <a:latin typeface="Verdana"/>
              </a:rPr>
              <a:t>Automate</a:t>
            </a:r>
          </a:p>
        </p:txBody>
      </p:sp>
      <p:sp>
        <p:nvSpPr>
          <p:cNvPr id="30" name="Rounded Rectangle 17">
            <a:extLst>
              <a:ext uri="{FF2B5EF4-FFF2-40B4-BE49-F238E27FC236}">
                <a16:creationId xmlns:a16="http://schemas.microsoft.com/office/drawing/2014/main" id="{98E4A7AC-6C32-4741-AB2C-8EB125490B57}"/>
              </a:ext>
            </a:extLst>
          </p:cNvPr>
          <p:cNvSpPr/>
          <p:nvPr/>
        </p:nvSpPr>
        <p:spPr bwMode="gray">
          <a:xfrm>
            <a:off x="8579901" y="856395"/>
            <a:ext cx="2552261" cy="525144"/>
          </a:xfrm>
          <a:prstGeom prst="roundRect">
            <a:avLst/>
          </a:prstGeom>
          <a:solidFill>
            <a:srgbClr val="30ABB9"/>
          </a:solidFill>
          <a:ln w="19050" algn="ctr">
            <a:noFill/>
            <a:miter lim="800000"/>
            <a:headEnd/>
            <a:tailEnd/>
          </a:ln>
          <a:effectLst/>
          <a:scene3d>
            <a:camera prst="orthographicFront"/>
            <a:lightRig rig="threePt" dir="t"/>
          </a:scene3d>
          <a:sp3d>
            <a:bevelT/>
          </a:sp3d>
        </p:spPr>
        <p:txBody>
          <a:bodyPr wrap="square" lIns="0" tIns="0" rIns="0" bIns="0" rtlCol="0" anchor="ctr"/>
          <a:lstStyle/>
          <a:p>
            <a:pPr algn="ctr" defTabSz="461833">
              <a:defRPr/>
            </a:pPr>
            <a:r>
              <a:rPr lang="en-US" sz="1652" b="1">
                <a:solidFill>
                  <a:prstClr val="white"/>
                </a:solidFill>
                <a:effectLst>
                  <a:outerShdw blurRad="38100" dist="38100" dir="2700000" algn="tl">
                    <a:srgbClr val="000000">
                      <a:alpha val="43137"/>
                    </a:srgbClr>
                  </a:outerShdw>
                </a:effectLst>
                <a:latin typeface="Verdana"/>
              </a:rPr>
              <a:t>Efficiency</a:t>
            </a:r>
          </a:p>
        </p:txBody>
      </p:sp>
      <p:sp>
        <p:nvSpPr>
          <p:cNvPr id="31" name="Rounded Rectangle 18">
            <a:extLst>
              <a:ext uri="{FF2B5EF4-FFF2-40B4-BE49-F238E27FC236}">
                <a16:creationId xmlns:a16="http://schemas.microsoft.com/office/drawing/2014/main" id="{D2840CEA-8674-4A58-A58A-34D14DA1DEA2}"/>
              </a:ext>
            </a:extLst>
          </p:cNvPr>
          <p:cNvSpPr/>
          <p:nvPr/>
        </p:nvSpPr>
        <p:spPr bwMode="gray">
          <a:xfrm>
            <a:off x="8579901" y="1579507"/>
            <a:ext cx="2552261" cy="525144"/>
          </a:xfrm>
          <a:prstGeom prst="roundRect">
            <a:avLst/>
          </a:prstGeom>
          <a:gradFill>
            <a:gsLst>
              <a:gs pos="100000">
                <a:srgbClr val="5C8119"/>
              </a:gs>
              <a:gs pos="0">
                <a:srgbClr val="86BC25"/>
              </a:gs>
            </a:gsLst>
            <a:lin ang="5400000" scaled="0"/>
          </a:gradFill>
          <a:ln w="12700" algn="ctr">
            <a:noFill/>
            <a:miter lim="800000"/>
            <a:headEnd/>
            <a:tailEnd/>
          </a:ln>
          <a:effectLst>
            <a:reflection blurRad="6350" stA="45000" endPos="29000" dir="5400000" sy="-100000" algn="bl" rotWithShape="0"/>
          </a:effectLst>
          <a:scene3d>
            <a:camera prst="orthographicFront"/>
            <a:lightRig rig="threePt" dir="t"/>
          </a:scene3d>
          <a:sp3d>
            <a:bevelT/>
          </a:sp3d>
        </p:spPr>
        <p:txBody>
          <a:bodyPr wrap="square" lIns="0" tIns="0" rIns="0" bIns="0" rtlCol="0" anchor="ctr"/>
          <a:lstStyle/>
          <a:p>
            <a:pPr algn="ctr" defTabSz="173188">
              <a:defRPr/>
            </a:pPr>
            <a:r>
              <a:rPr lang="en-US" sz="1652" b="1" kern="0">
                <a:solidFill>
                  <a:prstClr val="white"/>
                </a:solidFill>
                <a:effectLst>
                  <a:outerShdw blurRad="38100" dist="38100" dir="2700000" algn="tl">
                    <a:srgbClr val="000000">
                      <a:alpha val="43137"/>
                    </a:srgbClr>
                  </a:outerShdw>
                </a:effectLst>
                <a:latin typeface="Verdana"/>
              </a:rPr>
              <a:t>Quality</a:t>
            </a:r>
          </a:p>
        </p:txBody>
      </p:sp>
      <p:sp>
        <p:nvSpPr>
          <p:cNvPr id="32" name="Title 1">
            <a:extLst>
              <a:ext uri="{FF2B5EF4-FFF2-40B4-BE49-F238E27FC236}">
                <a16:creationId xmlns:a16="http://schemas.microsoft.com/office/drawing/2014/main" id="{EE846179-D6A7-451E-A022-73E14AF128B0}"/>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0" b="1">
                <a:latin typeface="Open Sans"/>
                <a:ea typeface="Open Sans" panose="020B0606030504020204" pitchFamily="34" charset="0"/>
                <a:cs typeface="Open Sans" panose="020B0606030504020204" pitchFamily="34" charset="0"/>
              </a:rPr>
              <a:t>Business Value – </a:t>
            </a:r>
            <a:r>
              <a:rPr lang="en-US" sz="1800" b="1">
                <a:solidFill>
                  <a:srgbClr val="000000"/>
                </a:solidFill>
                <a:latin typeface="Open Sans"/>
                <a:ea typeface="Open Sans" panose="020B0606030504020204" pitchFamily="34" charset="0"/>
                <a:cs typeface="Open Sans" panose="020B0606030504020204" pitchFamily="34" charset="0"/>
              </a:rPr>
              <a:t>Value Streams</a:t>
            </a:r>
          </a:p>
        </p:txBody>
      </p:sp>
      <p:sp>
        <p:nvSpPr>
          <p:cNvPr id="35" name="TextBox 34">
            <a:extLst>
              <a:ext uri="{FF2B5EF4-FFF2-40B4-BE49-F238E27FC236}">
                <a16:creationId xmlns:a16="http://schemas.microsoft.com/office/drawing/2014/main" id="{E9A1F7FF-B8BA-47A9-8BFF-E769BFEDB48F}"/>
              </a:ext>
            </a:extLst>
          </p:cNvPr>
          <p:cNvSpPr txBox="1"/>
          <p:nvPr/>
        </p:nvSpPr>
        <p:spPr>
          <a:xfrm>
            <a:off x="408421" y="2473665"/>
            <a:ext cx="11375158" cy="312289"/>
          </a:xfrm>
          <a:prstGeom prst="roundRect">
            <a:avLst/>
          </a:prstGeom>
          <a:solidFill>
            <a:schemeClr val="accent1">
              <a:lumMod val="75000"/>
            </a:schemeClr>
          </a:solidFill>
          <a:ln w="12700">
            <a:solidFill>
              <a:schemeClr val="tx1">
                <a:lumMod val="85000"/>
                <a:lumOff val="15000"/>
              </a:schemeClr>
            </a:solidFill>
          </a:ln>
        </p:spPr>
        <p:txBody>
          <a:bodyPr wrap="square" lIns="68580" tIns="68580" rIns="68580" bIns="68580" rtlCol="0" anchor="ctr">
            <a:noAutofit/>
          </a:bodyPr>
          <a:lstStyle/>
          <a:p>
            <a:pPr algn="ctr" defTabSz="914411">
              <a:defRPr/>
            </a:pPr>
            <a:r>
              <a:rPr lang="en-US" sz="1600" b="1">
                <a:solidFill>
                  <a:prstClr val="white"/>
                </a:solidFill>
                <a:latin typeface="Verdana"/>
              </a:rPr>
              <a:t>Key Focus Areas – Directly from Leadership Materials</a:t>
            </a:r>
            <a:endParaRPr lang="en-US" sz="1600">
              <a:solidFill>
                <a:prstClr val="white"/>
              </a:solidFill>
              <a:latin typeface="Verdana"/>
            </a:endParaRPr>
          </a:p>
        </p:txBody>
      </p:sp>
      <p:sp>
        <p:nvSpPr>
          <p:cNvPr id="36" name="Title 2">
            <a:extLst>
              <a:ext uri="{FF2B5EF4-FFF2-40B4-BE49-F238E27FC236}">
                <a16:creationId xmlns:a16="http://schemas.microsoft.com/office/drawing/2014/main" id="{BB01A8A0-543F-4D48-AFFC-E677638C74F7}"/>
              </a:ext>
            </a:extLst>
          </p:cNvPr>
          <p:cNvSpPr txBox="1">
            <a:spLocks/>
          </p:cNvSpPr>
          <p:nvPr/>
        </p:nvSpPr>
        <p:spPr bwMode="gray">
          <a:xfrm>
            <a:off x="578574" y="2104773"/>
            <a:ext cx="1667638" cy="340546"/>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algn="ctr" defTabSz="914367">
              <a:defRPr/>
            </a:pPr>
            <a:r>
              <a:rPr lang="en-GB" sz="1200" b="1">
                <a:solidFill>
                  <a:prstClr val="black"/>
                </a:solidFill>
                <a:effectLst>
                  <a:outerShdw blurRad="38100" dist="38100" dir="2700000" algn="tl">
                    <a:srgbClr val="000000">
                      <a:alpha val="43137"/>
                    </a:srgbClr>
                  </a:outerShdw>
                </a:effectLst>
                <a:latin typeface="Verdana"/>
              </a:rPr>
              <a:t>Standardize</a:t>
            </a:r>
          </a:p>
        </p:txBody>
      </p:sp>
    </p:spTree>
    <p:extLst>
      <p:ext uri="{BB962C8B-B14F-4D97-AF65-F5344CB8AC3E}">
        <p14:creationId xmlns:p14="http://schemas.microsoft.com/office/powerpoint/2010/main" val="254599952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6245" y="898092"/>
            <a:ext cx="5278632" cy="5278632"/>
          </a:xfrm>
          <a:prstGeom prst="rect">
            <a:avLst/>
          </a:prstGeom>
        </p:spPr>
      </p:pic>
      <p:sp>
        <p:nvSpPr>
          <p:cNvPr id="7" name="Subtitle 3">
            <a:extLst>
              <a:ext uri="{FF2B5EF4-FFF2-40B4-BE49-F238E27FC236}">
                <a16:creationId xmlns:a16="http://schemas.microsoft.com/office/drawing/2014/main" id="{5817664F-7DC8-47E5-B7B9-14F4F2B2E734}"/>
              </a:ext>
            </a:extLst>
          </p:cNvPr>
          <p:cNvSpPr txBox="1">
            <a:spLocks/>
          </p:cNvSpPr>
          <p:nvPr/>
        </p:nvSpPr>
        <p:spPr>
          <a:xfrm>
            <a:off x="6614669" y="2541832"/>
            <a:ext cx="4771086" cy="2393962"/>
          </a:xfrm>
          <a:prstGeom prst="rect">
            <a:avLst/>
          </a:prstGeom>
        </p:spPr>
        <p:txBody>
          <a:bodyPr vert="horz" lIns="51435" tIns="25719" rIns="51435" bIns="25719" rtlCol="0" anchor="ctr" anchorCtr="0">
            <a:noAutofit/>
          </a:bodyPr>
          <a:lstStyle>
            <a:lvl1pPr marL="228597" indent="-228597" algn="l" defTabSz="914388"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792" indent="-228597" algn="l" defTabSz="9143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5" indent="-228597" algn="l" defTabSz="9143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0"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375"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568"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63"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57"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52"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Font typeface="Arial" panose="020B0604020202020204" pitchFamily="34" charset="0"/>
              <a:buNone/>
            </a:pPr>
            <a:r>
              <a:rPr lang="en-US" sz="2000" b="1">
                <a:solidFill>
                  <a:srgbClr val="000000"/>
                </a:solidFill>
                <a:latin typeface="Open Sans" panose="020B0606030504020204" pitchFamily="34" charset="0"/>
                <a:ea typeface="Open Sans" panose="020B0606030504020204" pitchFamily="34" charset="0"/>
                <a:cs typeface="Open Sans" panose="020B0606030504020204" pitchFamily="34" charset="0"/>
              </a:rPr>
              <a:t>Coffee Break</a:t>
            </a:r>
            <a:r>
              <a:rPr lang="en-US" sz="20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 </a:t>
            </a:r>
            <a:r>
              <a:rPr lang="en-US" sz="18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15 Minutes</a:t>
            </a:r>
          </a:p>
          <a:p>
            <a:endParaRPr lang="en-US" sz="18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255792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8096" y="916946"/>
            <a:ext cx="4116693" cy="4116693"/>
          </a:xfrm>
          <a:prstGeom prst="rect">
            <a:avLst/>
          </a:prstGeom>
        </p:spPr>
      </p:pic>
      <p:sp>
        <p:nvSpPr>
          <p:cNvPr id="7" name="Subtitle 3">
            <a:extLst>
              <a:ext uri="{FF2B5EF4-FFF2-40B4-BE49-F238E27FC236}">
                <a16:creationId xmlns:a16="http://schemas.microsoft.com/office/drawing/2014/main" id="{5817664F-7DC8-47E5-B7B9-14F4F2B2E734}"/>
              </a:ext>
            </a:extLst>
          </p:cNvPr>
          <p:cNvSpPr txBox="1">
            <a:spLocks/>
          </p:cNvSpPr>
          <p:nvPr/>
        </p:nvSpPr>
        <p:spPr>
          <a:xfrm>
            <a:off x="4359740" y="1920396"/>
            <a:ext cx="7598481" cy="2393962"/>
          </a:xfrm>
          <a:prstGeom prst="rect">
            <a:avLst/>
          </a:prstGeom>
        </p:spPr>
        <p:txBody>
          <a:bodyPr vert="horz" lIns="51435" tIns="25719" rIns="51435" bIns="25719" rtlCol="0" anchor="ctr" anchorCtr="0">
            <a:noAutofit/>
          </a:bodyPr>
          <a:lstStyle>
            <a:lvl1pPr marL="228597" indent="-228597" algn="l" defTabSz="914388"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792" indent="-228597" algn="l" defTabSz="9143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5" indent="-228597" algn="l" defTabSz="9143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0"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375"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568"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63"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57"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52"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Font typeface="Arial" panose="020B0604020202020204" pitchFamily="34" charset="0"/>
              <a:buNone/>
            </a:pPr>
            <a:r>
              <a:rPr lang="en-US" sz="2000" b="1">
                <a:solidFill>
                  <a:srgbClr val="000000"/>
                </a:solidFill>
                <a:latin typeface="Open Sans"/>
                <a:ea typeface="Open Sans"/>
                <a:cs typeface="Open Sans"/>
              </a:rPr>
              <a:t>Value Stream - </a:t>
            </a:r>
            <a:r>
              <a:rPr lang="en-US" sz="2000" b="1">
                <a:solidFill>
                  <a:schemeClr val="tx1">
                    <a:lumMod val="50000"/>
                    <a:lumOff val="50000"/>
                  </a:schemeClr>
                </a:solidFill>
                <a:latin typeface="Open Sans"/>
                <a:ea typeface="Open Sans"/>
                <a:cs typeface="Open Sans"/>
              </a:rPr>
              <a:t>Feature Mapping</a:t>
            </a:r>
          </a:p>
          <a:p>
            <a:pPr marL="0" indent="0">
              <a:buFont typeface="Arial" panose="020B0604020202020204" pitchFamily="34" charset="0"/>
              <a:buNone/>
            </a:pPr>
            <a:endParaRPr lang="en-US" sz="20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sz="1800" b="1">
                <a:solidFill>
                  <a:schemeClr val="tx1">
                    <a:lumMod val="50000"/>
                    <a:lumOff val="50000"/>
                  </a:schemeClr>
                </a:solidFill>
                <a:latin typeface="Open Sans"/>
                <a:ea typeface="Open Sans"/>
                <a:cs typeface="Open Sans"/>
              </a:rPr>
              <a:t>Audit Online (GRA, RADC) – Lauren </a:t>
            </a:r>
            <a:endParaRPr lang="en-US" sz="18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sz="1800" b="1">
                <a:solidFill>
                  <a:schemeClr val="tx1">
                    <a:lumMod val="50000"/>
                    <a:lumOff val="50000"/>
                  </a:schemeClr>
                </a:solidFill>
                <a:latin typeface="Open Sans"/>
                <a:ea typeface="Open Sans"/>
                <a:cs typeface="Open Sans"/>
              </a:rPr>
              <a:t>Diagnostics – Andrew/Ezra</a:t>
            </a:r>
          </a:p>
          <a:p>
            <a:pPr marL="0" indent="0">
              <a:buNone/>
            </a:pPr>
            <a:r>
              <a:rPr lang="en-US" sz="18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CMS – Swetha/Prathap</a:t>
            </a:r>
          </a:p>
          <a:p>
            <a:pPr marL="0" indent="0">
              <a:buNone/>
            </a:pPr>
            <a:r>
              <a:rPr lang="en-US" sz="1800" b="1">
                <a:solidFill>
                  <a:schemeClr val="tx1">
                    <a:lumMod val="50000"/>
                    <a:lumOff val="50000"/>
                  </a:schemeClr>
                </a:solidFill>
                <a:latin typeface="Open Sans"/>
                <a:ea typeface="Open Sans" panose="020B0606030504020204" pitchFamily="34" charset="0"/>
                <a:cs typeface="Open Sans" panose="020B0606030504020204" pitchFamily="34" charset="0"/>
              </a:rPr>
              <a:t>AQMM – Rose</a:t>
            </a:r>
            <a:endParaRPr lang="en-US" sz="1800" b="1">
              <a:solidFill>
                <a:schemeClr val="tx1">
                  <a:lumMod val="50000"/>
                  <a:lumOff val="50000"/>
                </a:schemeClr>
              </a:solidFill>
              <a:latin typeface="Open Sans"/>
              <a:ea typeface="Open Sans"/>
              <a:cs typeface="Open Sans"/>
            </a:endParaRPr>
          </a:p>
          <a:p>
            <a:pPr marL="0" indent="0">
              <a:buFont typeface="Arial" panose="020B0604020202020204" pitchFamily="34" charset="0"/>
              <a:buNone/>
            </a:pPr>
            <a:r>
              <a:rPr lang="en-US" sz="1800" b="1">
                <a:solidFill>
                  <a:schemeClr val="tx1">
                    <a:lumMod val="50000"/>
                    <a:lumOff val="50000"/>
                  </a:schemeClr>
                </a:solidFill>
                <a:latin typeface="Open Sans"/>
                <a:ea typeface="Open Sans"/>
                <a:cs typeface="Open Sans"/>
              </a:rPr>
              <a:t>EMS, AAT, AO Working paper Transfer – Eduardo/Rakesh/Debbie</a:t>
            </a:r>
          </a:p>
          <a:p>
            <a:pPr marL="227965" indent="-227965"/>
            <a:endParaRPr lang="en-US" sz="18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3955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56722" y="322678"/>
            <a:ext cx="11252200" cy="334102"/>
          </a:xfrm>
        </p:spPr>
        <p:txBody>
          <a:bodyPr/>
          <a:lstStyle/>
          <a:p>
            <a:r>
              <a:rPr lang="en-GB">
                <a:solidFill>
                  <a:schemeClr val="bg1"/>
                </a:solidFill>
                <a:latin typeface="+mn-lt"/>
              </a:rPr>
              <a:t>RADC Portal FY22</a:t>
            </a:r>
            <a:br>
              <a:rPr lang="en-US">
                <a:solidFill>
                  <a:srgbClr val="FF0000"/>
                </a:solidFill>
                <a:latin typeface="+mn-lt"/>
              </a:rPr>
            </a:br>
            <a:r>
              <a:rPr lang="en-US" sz="1800">
                <a:solidFill>
                  <a:schemeClr val="bg1"/>
                </a:solidFill>
                <a:latin typeface="+mn-lt"/>
              </a:rPr>
              <a:t>Current position, and future growth expectations</a:t>
            </a:r>
            <a:endParaRPr lang="en-GB" sz="1800">
              <a:solidFill>
                <a:schemeClr val="bg1"/>
              </a:solidFill>
              <a:latin typeface="+mn-lt"/>
            </a:endParaRPr>
          </a:p>
        </p:txBody>
      </p:sp>
      <p:pic>
        <p:nvPicPr>
          <p:cNvPr id="7" name="Picture Placeholder 3"/>
          <p:cNvPicPr>
            <a:picLocks noChangeAspect="1"/>
          </p:cNvPicPr>
          <p:nvPr/>
        </p:nvPicPr>
        <p:blipFill>
          <a:blip r:embed="rId3" cstate="print">
            <a:extLst>
              <a:ext uri="{28A0092B-C50C-407E-A947-70E740481C1C}">
                <a14:useLocalDpi xmlns:a14="http://schemas.microsoft.com/office/drawing/2010/main" val="0"/>
              </a:ext>
            </a:extLst>
          </a:blip>
          <a:srcRect l="15" r="15"/>
          <a:stretch>
            <a:fillRect/>
          </a:stretch>
        </p:blipFill>
        <p:spPr>
          <a:xfrm>
            <a:off x="11113536" y="68601"/>
            <a:ext cx="947400" cy="947400"/>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3900328401"/>
              </p:ext>
            </p:extLst>
          </p:nvPr>
        </p:nvGraphicFramePr>
        <p:xfrm>
          <a:off x="456722" y="1121871"/>
          <a:ext cx="5468590" cy="4124244"/>
        </p:xfrm>
        <a:graphic>
          <a:graphicData uri="http://schemas.openxmlformats.org/drawingml/2006/table">
            <a:tbl>
              <a:tblPr firstRow="1" bandRow="1">
                <a:tableStyleId>{5C22544A-7EE6-4342-B048-85BDC9FD1C3A}</a:tableStyleId>
              </a:tblPr>
              <a:tblGrid>
                <a:gridCol w="5468590">
                  <a:extLst>
                    <a:ext uri="{9D8B030D-6E8A-4147-A177-3AD203B41FA5}">
                      <a16:colId xmlns:a16="http://schemas.microsoft.com/office/drawing/2014/main" val="1661565198"/>
                    </a:ext>
                  </a:extLst>
                </a:gridCol>
              </a:tblGrid>
              <a:tr h="405684">
                <a:tc>
                  <a:txBody>
                    <a:bodyPr/>
                    <a:lstStyle/>
                    <a:p>
                      <a:pPr algn="ctr"/>
                      <a:r>
                        <a:rPr lang="en-GB" sz="1400">
                          <a:solidFill>
                            <a:srgbClr val="0097A9"/>
                          </a:solidFill>
                          <a:latin typeface="Calibri" panose="020F0502020204030204" pitchFamily="34" charset="0"/>
                          <a:cs typeface="Calibri" panose="020F0502020204030204" pitchFamily="34" charset="0"/>
                        </a:rPr>
                        <a:t>Where we are to date</a:t>
                      </a:r>
                    </a:p>
                  </a:txBody>
                  <a:tcPr anchor="ctr">
                    <a:lnL w="38100" cap="flat" cmpd="sng" algn="ctr">
                      <a:solidFill>
                        <a:srgbClr val="004F59"/>
                      </a:solidFill>
                      <a:prstDash val="solid"/>
                      <a:round/>
                      <a:headEnd type="none" w="med" len="med"/>
                      <a:tailEnd type="none" w="med" len="med"/>
                    </a:lnL>
                    <a:lnR w="38100" cap="flat" cmpd="sng" algn="ctr">
                      <a:solidFill>
                        <a:srgbClr val="004F59"/>
                      </a:solidFill>
                      <a:prstDash val="solid"/>
                      <a:round/>
                      <a:headEnd type="none" w="med" len="med"/>
                      <a:tailEnd type="none" w="med" len="med"/>
                    </a:lnR>
                    <a:lnT w="38100" cap="flat" cmpd="sng" algn="ctr">
                      <a:solidFill>
                        <a:srgbClr val="004F59"/>
                      </a:solidFill>
                      <a:prstDash val="solid"/>
                      <a:round/>
                      <a:headEnd type="none" w="med" len="med"/>
                      <a:tailEnd type="none" w="med" len="med"/>
                    </a:lnT>
                    <a:lnB w="38100" cap="flat" cmpd="sng" algn="ctr">
                      <a:solidFill>
                        <a:srgbClr val="004F59"/>
                      </a:solidFill>
                      <a:prstDash val="solid"/>
                      <a:round/>
                      <a:headEnd type="none" w="med" len="med"/>
                      <a:tailEnd type="none" w="med" len="med"/>
                    </a:lnB>
                    <a:noFill/>
                  </a:tcPr>
                </a:tc>
                <a:extLst>
                  <a:ext uri="{0D108BD9-81ED-4DB2-BD59-A6C34878D82A}">
                    <a16:rowId xmlns:a16="http://schemas.microsoft.com/office/drawing/2014/main" val="2192018965"/>
                  </a:ext>
                </a:extLst>
              </a:tr>
              <a:tr h="1756767">
                <a:tc>
                  <a:txBody>
                    <a:bodyPr/>
                    <a:lstStyle/>
                    <a:p>
                      <a:pPr marL="285750" indent="-285750">
                        <a:buFont typeface="Wingdings" panose="05000000000000000000" pitchFamily="2" charset="2"/>
                        <a:buChar char="ü"/>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RADC Portal reached </a:t>
                      </a: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750,000 requests (~8M cumulative m hours) – </a:t>
                      </a:r>
                      <a:r>
                        <a:rPr lang="en-GB" sz="1400" b="0" i="0" u="none" strike="noStrike" kern="1200" baseline="0">
                          <a:solidFill>
                            <a:schemeClr val="bg1"/>
                          </a:solidFill>
                          <a:latin typeface="Calibri" panose="020F0502020204030204" pitchFamily="34" charset="0"/>
                          <a:ea typeface="+mn-ea"/>
                          <a:cs typeface="Calibri" panose="020F0502020204030204" pitchFamily="34" charset="0"/>
                        </a:rPr>
                        <a:t>excluding China</a:t>
                      </a:r>
                    </a:p>
                    <a:p>
                      <a:pPr marL="285750" indent="-285750">
                        <a:buFont typeface="Wingdings" panose="05000000000000000000" pitchFamily="2" charset="2"/>
                        <a:buChar char="ü"/>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Facilitates workflow to over </a:t>
                      </a: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3K</a:t>
                      </a:r>
                      <a:r>
                        <a:rPr lang="en-GB" sz="1400" b="0" i="0" u="none" strike="noStrike" kern="1200" baseline="0">
                          <a:solidFill>
                            <a:schemeClr val="bg1"/>
                          </a:solidFill>
                          <a:latin typeface="Calibri" panose="020F0502020204030204" pitchFamily="34" charset="0"/>
                          <a:ea typeface="+mn-ea"/>
                          <a:cs typeface="Calibri" panose="020F0502020204030204" pitchFamily="34" charset="0"/>
                        </a:rPr>
                        <a:t> ADC resources</a:t>
                      </a:r>
                    </a:p>
                    <a:p>
                      <a:pPr marL="742950" lvl="1" indent="-285750">
                        <a:buFont typeface="Arial" panose="020B0604020202020204" pitchFamily="34" charset="0"/>
                        <a:buChar char="•"/>
                      </a:pP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4</a:t>
                      </a:r>
                      <a:r>
                        <a:rPr lang="en-GB" sz="1400" b="0" i="0" u="none" strike="noStrike" kern="1200" baseline="0">
                          <a:solidFill>
                            <a:schemeClr val="bg1"/>
                          </a:solidFill>
                          <a:latin typeface="Calibri" panose="020F0502020204030204" pitchFamily="34" charset="0"/>
                          <a:ea typeface="+mn-ea"/>
                          <a:cs typeface="Calibri" panose="020F0502020204030204" pitchFamily="34" charset="0"/>
                        </a:rPr>
                        <a:t> RADCs</a:t>
                      </a:r>
                    </a:p>
                    <a:p>
                      <a:pPr marL="742950" lvl="1" indent="-285750">
                        <a:buFont typeface="Arial" panose="020B0604020202020204" pitchFamily="34" charset="0"/>
                        <a:buChar char="•"/>
                      </a:pP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7</a:t>
                      </a:r>
                      <a:r>
                        <a:rPr lang="en-GB" sz="1400" b="0" i="0" u="none" strike="noStrike" kern="1200" baseline="0">
                          <a:solidFill>
                            <a:schemeClr val="bg1"/>
                          </a:solidFill>
                          <a:latin typeface="Calibri" panose="020F0502020204030204" pitchFamily="34" charset="0"/>
                          <a:ea typeface="+mn-ea"/>
                          <a:cs typeface="Calibri" panose="020F0502020204030204" pitchFamily="34" charset="0"/>
                        </a:rPr>
                        <a:t> local ADCs</a:t>
                      </a:r>
                    </a:p>
                    <a:p>
                      <a:pPr marL="742950" lvl="1" indent="-285750">
                        <a:buFont typeface="Arial" panose="020B0604020202020204" pitchFamily="34" charset="0"/>
                        <a:buChar cha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Analytics ADC</a:t>
                      </a:r>
                    </a:p>
                    <a:p>
                      <a:pPr marL="742950" lvl="1" indent="-285750">
                        <a:buFont typeface="Arial" panose="020B0604020202020204" pitchFamily="34" charset="0"/>
                        <a:buChar cha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Onshore Center of Excellenc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Skills Academy </a:t>
                      </a:r>
                      <a:r>
                        <a:rPr lang="en-GB" sz="1400" b="0" i="0" u="none" strike="noStrike" kern="1200" baseline="0">
                          <a:solidFill>
                            <a:schemeClr val="bg1"/>
                          </a:solidFill>
                          <a:latin typeface="Calibri" panose="020F0502020204030204" pitchFamily="34" charset="0"/>
                          <a:ea typeface="+mn-ea"/>
                          <a:cs typeface="Calibri" panose="020F0502020204030204" pitchFamily="34" charset="0"/>
                        </a:rPr>
                        <a:t>being scaled globally</a:t>
                      </a:r>
                    </a:p>
                    <a:p>
                      <a:pPr marL="285750" indent="-285750">
                        <a:buFont typeface="Wingdings" panose="05000000000000000000" pitchFamily="2" charset="2"/>
                        <a:buChar char="ü"/>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Portal serves </a:t>
                      </a: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gt;40 countries</a:t>
                      </a:r>
                      <a:r>
                        <a:rPr lang="en-GB" sz="1400" b="0" i="0" u="none" strike="noStrike" kern="1200" baseline="0">
                          <a:solidFill>
                            <a:schemeClr val="bg1"/>
                          </a:solidFill>
                          <a:latin typeface="Calibri" panose="020F0502020204030204" pitchFamily="34" charset="0"/>
                          <a:ea typeface="+mn-ea"/>
                          <a:cs typeface="Calibri" panose="020F0502020204030204" pitchFamily="34" charset="0"/>
                        </a:rPr>
                        <a:t> now including USA</a:t>
                      </a:r>
                    </a:p>
                    <a:p>
                      <a:pPr marL="285750" indent="-285750">
                        <a:buFont typeface="Wingdings" panose="05000000000000000000" pitchFamily="2" charset="2"/>
                        <a:buChar char="ü"/>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First stage </a:t>
                      </a: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Levvia integration</a:t>
                      </a:r>
                      <a:endParaRPr lang="en-GB" sz="1400" b="0" i="0" u="none" strike="noStrike" kern="1200" baseline="0">
                        <a:solidFill>
                          <a:schemeClr val="bg1"/>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Concluded as THE workflow tool for Global Audit</a:t>
                      </a:r>
                    </a:p>
                    <a:p>
                      <a:pPr marL="285750" indent="-285750">
                        <a:buFont typeface="Wingdings" panose="05000000000000000000" pitchFamily="2" charset="2"/>
                        <a:buChar char="ü"/>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Additional required functionality in RADC Execution Plan now live</a:t>
                      </a:r>
                    </a:p>
                    <a:p>
                      <a:pPr marL="285750" indent="-285750">
                        <a:buFont typeface="Wingdings" panose="05000000000000000000" pitchFamily="2" charset="2"/>
                        <a:buChar char="ü"/>
                      </a:pPr>
                      <a:r>
                        <a:rPr lang="en-GB" sz="1400" b="0" i="0" u="none" strike="noStrike" kern="1200" baseline="0">
                          <a:solidFill>
                            <a:schemeClr val="tx1"/>
                          </a:solidFill>
                          <a:highlight>
                            <a:srgbClr val="FFFF00"/>
                          </a:highlight>
                          <a:latin typeface="Calibri" panose="020F0502020204030204" pitchFamily="34" charset="0"/>
                          <a:ea typeface="+mn-ea"/>
                          <a:cs typeface="Calibri" panose="020F0502020204030204" pitchFamily="34" charset="0"/>
                        </a:rPr>
                        <a:t>Japan transition from current system to RADC Portal by March 2022</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Capacity concerns due to growth in user base</a:t>
                      </a:r>
                    </a:p>
                    <a:p>
                      <a:pPr marL="285750" indent="-285750">
                        <a:buFont typeface="Calibri" panose="020F0502020204030204" pitchFamily="34" charset="0"/>
                        <a:buChar cha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Significant development backlog</a:t>
                      </a:r>
                    </a:p>
                    <a:p>
                      <a:pPr marL="628650" lvl="1" indent="-171450">
                        <a:buFont typeface="Arial" panose="020B0604020202020204" pitchFamily="34" charset="0"/>
                        <a:buChar cha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Need to retain current state functionality in new platforms </a:t>
                      </a:r>
                    </a:p>
                    <a:p>
                      <a:pPr marL="628650" lvl="1" indent="-171450">
                        <a:buFont typeface="Arial" panose="020B0604020202020204" pitchFamily="34" charset="0"/>
                        <a:buChar cha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Significant business case opportunities not being realised</a:t>
                      </a:r>
                      <a:endParaRPr lang="en-GB" sz="1400" b="0" i="0" u="none" strike="noStrike" kern="1200" baseline="0">
                        <a:solidFill>
                          <a:srgbClr val="FF0000"/>
                        </a:solidFill>
                        <a:latin typeface="Calibri" panose="020F0502020204030204" pitchFamily="34" charset="0"/>
                        <a:ea typeface="+mn-ea"/>
                        <a:cs typeface="Calibri" panose="020F0502020204030204" pitchFamily="34" charset="0"/>
                      </a:endParaRPr>
                    </a:p>
                  </a:txBody>
                  <a:tcPr>
                    <a:lnL w="38100" cap="flat" cmpd="sng" algn="ctr">
                      <a:solidFill>
                        <a:srgbClr val="004F59"/>
                      </a:solidFill>
                      <a:prstDash val="solid"/>
                      <a:round/>
                      <a:headEnd type="none" w="med" len="med"/>
                      <a:tailEnd type="none" w="med" len="med"/>
                    </a:lnL>
                    <a:lnR w="38100" cap="flat" cmpd="sng" algn="ctr">
                      <a:solidFill>
                        <a:srgbClr val="004F59"/>
                      </a:solidFill>
                      <a:prstDash val="solid"/>
                      <a:round/>
                      <a:headEnd type="none" w="med" len="med"/>
                      <a:tailEnd type="none" w="med" len="med"/>
                    </a:lnR>
                    <a:lnT w="38100" cap="flat" cmpd="sng" algn="ctr">
                      <a:solidFill>
                        <a:srgbClr val="004F59"/>
                      </a:solidFill>
                      <a:prstDash val="solid"/>
                      <a:round/>
                      <a:headEnd type="none" w="med" len="med"/>
                      <a:tailEnd type="none" w="med" len="med"/>
                    </a:lnT>
                    <a:lnB w="38100" cap="flat" cmpd="sng" algn="ctr">
                      <a:solidFill>
                        <a:srgbClr val="004F59"/>
                      </a:solidFill>
                      <a:prstDash val="solid"/>
                      <a:round/>
                      <a:headEnd type="none" w="med" len="med"/>
                      <a:tailEnd type="none" w="med" len="med"/>
                    </a:lnB>
                    <a:noFill/>
                  </a:tcPr>
                </a:tc>
                <a:extLst>
                  <a:ext uri="{0D108BD9-81ED-4DB2-BD59-A6C34878D82A}">
                    <a16:rowId xmlns:a16="http://schemas.microsoft.com/office/drawing/2014/main" val="428806785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042633590"/>
              </p:ext>
            </p:extLst>
          </p:nvPr>
        </p:nvGraphicFramePr>
        <p:xfrm>
          <a:off x="6199633" y="1121870"/>
          <a:ext cx="5387604" cy="4124243"/>
        </p:xfrm>
        <a:graphic>
          <a:graphicData uri="http://schemas.openxmlformats.org/drawingml/2006/table">
            <a:tbl>
              <a:tblPr firstRow="1" bandRow="1">
                <a:tableStyleId>{5C22544A-7EE6-4342-B048-85BDC9FD1C3A}</a:tableStyleId>
              </a:tblPr>
              <a:tblGrid>
                <a:gridCol w="5387604">
                  <a:extLst>
                    <a:ext uri="{9D8B030D-6E8A-4147-A177-3AD203B41FA5}">
                      <a16:colId xmlns:a16="http://schemas.microsoft.com/office/drawing/2014/main" val="1661565198"/>
                    </a:ext>
                  </a:extLst>
                </a:gridCol>
              </a:tblGrid>
              <a:tr h="460295">
                <a:tc>
                  <a:txBody>
                    <a:bodyPr/>
                    <a:lstStyle/>
                    <a:p>
                      <a:pPr marL="0" algn="ctr" defTabSz="1219170" rtl="0" eaLnBrk="1" latinLnBrk="0" hangingPunct="1"/>
                      <a:r>
                        <a:rPr lang="en-GB" sz="1400" b="1" kern="1200">
                          <a:solidFill>
                            <a:srgbClr val="0097A9"/>
                          </a:solidFill>
                          <a:latin typeface="Calibri" panose="020F0502020204030204" pitchFamily="34" charset="0"/>
                          <a:ea typeface="+mn-ea"/>
                          <a:cs typeface="Calibri" panose="020F0502020204030204" pitchFamily="34" charset="0"/>
                        </a:rPr>
                        <a:t>Future scale</a:t>
                      </a:r>
                    </a:p>
                  </a:txBody>
                  <a:tcPr anchor="ctr">
                    <a:lnL w="38100" cap="flat" cmpd="sng" algn="ctr">
                      <a:solidFill>
                        <a:srgbClr val="004F59"/>
                      </a:solidFill>
                      <a:prstDash val="solid"/>
                      <a:round/>
                      <a:headEnd type="none" w="med" len="med"/>
                      <a:tailEnd type="none" w="med" len="med"/>
                    </a:lnL>
                    <a:lnR w="38100" cap="flat" cmpd="sng" algn="ctr">
                      <a:solidFill>
                        <a:srgbClr val="004F59"/>
                      </a:solidFill>
                      <a:prstDash val="solid"/>
                      <a:round/>
                      <a:headEnd type="none" w="med" len="med"/>
                      <a:tailEnd type="none" w="med" len="med"/>
                    </a:lnR>
                    <a:lnT w="38100" cap="flat" cmpd="sng" algn="ctr">
                      <a:solidFill>
                        <a:srgbClr val="004F59"/>
                      </a:solidFill>
                      <a:prstDash val="solid"/>
                      <a:round/>
                      <a:headEnd type="none" w="med" len="med"/>
                      <a:tailEnd type="none" w="med" len="med"/>
                    </a:lnT>
                    <a:lnB w="38100" cap="flat" cmpd="sng" algn="ctr">
                      <a:solidFill>
                        <a:srgbClr val="004F59"/>
                      </a:solidFill>
                      <a:prstDash val="solid"/>
                      <a:round/>
                      <a:headEnd type="none" w="med" len="med"/>
                      <a:tailEnd type="none" w="med" len="med"/>
                    </a:lnB>
                    <a:noFill/>
                  </a:tcPr>
                </a:tc>
                <a:extLst>
                  <a:ext uri="{0D108BD9-81ED-4DB2-BD59-A6C34878D82A}">
                    <a16:rowId xmlns:a16="http://schemas.microsoft.com/office/drawing/2014/main" val="2192018965"/>
                  </a:ext>
                </a:extLst>
              </a:tr>
              <a:tr h="3663948">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Significant growth expected in next 2 years</a:t>
                      </a:r>
                    </a:p>
                    <a:p>
                      <a:pPr marL="628650" marR="0" lvl="1"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User base increase to c. </a:t>
                      </a: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10K+ </a:t>
                      </a:r>
                      <a:r>
                        <a:rPr lang="en-GB" sz="1400" b="0" i="0" u="none" strike="noStrike" kern="1200" baseline="0">
                          <a:solidFill>
                            <a:schemeClr val="bg1"/>
                          </a:solidFill>
                          <a:latin typeface="Calibri" panose="020F0502020204030204" pitchFamily="34" charset="0"/>
                          <a:ea typeface="+mn-ea"/>
                          <a:cs typeface="Calibri" panose="020F0502020204030204" pitchFamily="34" charset="0"/>
                        </a:rPr>
                        <a:t>heads</a:t>
                      </a:r>
                    </a:p>
                    <a:p>
                      <a:pPr marL="628650" marR="0" lvl="1"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Catalogue increase </a:t>
                      </a: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5%</a:t>
                      </a:r>
                    </a:p>
                    <a:p>
                      <a:pPr marL="628650" marR="0" lvl="1"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1K+ </a:t>
                      </a:r>
                      <a:r>
                        <a:rPr lang="en-GB" sz="1400" b="0" i="0" u="none" strike="noStrike" kern="1200" baseline="0">
                          <a:solidFill>
                            <a:schemeClr val="bg1"/>
                          </a:solidFill>
                          <a:latin typeface="Calibri" panose="020F0502020204030204" pitchFamily="34" charset="0"/>
                          <a:ea typeface="+mn-ea"/>
                          <a:cs typeface="Calibri" panose="020F0502020204030204" pitchFamily="34" charset="0"/>
                        </a:rPr>
                        <a:t>teams and </a:t>
                      </a: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up to 14</a:t>
                      </a:r>
                      <a:r>
                        <a:rPr lang="en-GB" sz="1400" b="0" i="0" u="none" strike="noStrike" kern="1200" baseline="0">
                          <a:solidFill>
                            <a:schemeClr val="bg1"/>
                          </a:solidFill>
                          <a:latin typeface="Calibri" panose="020F0502020204030204" pitchFamily="34" charset="0"/>
                          <a:ea typeface="+mn-ea"/>
                          <a:cs typeface="Calibri" panose="020F0502020204030204" pitchFamily="34" charset="0"/>
                        </a:rPr>
                        <a:t> additional centre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Integration with </a:t>
                      </a:r>
                    </a:p>
                    <a:p>
                      <a:pPr marL="628650" marR="0" lvl="1"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Omnia </a:t>
                      </a:r>
                      <a:r>
                        <a:rPr lang="en-GB" sz="1400" b="0" i="0" u="none" strike="noStrike" kern="1200" baseline="0">
                          <a:solidFill>
                            <a:schemeClr val="bg1"/>
                          </a:solidFill>
                          <a:latin typeface="Calibri" panose="020F0502020204030204" pitchFamily="34" charset="0"/>
                          <a:ea typeface="+mn-ea"/>
                          <a:cs typeface="Calibri" panose="020F0502020204030204" pitchFamily="34" charset="0"/>
                        </a:rPr>
                        <a:t>(dev effort required to retain existing functionality)</a:t>
                      </a:r>
                    </a:p>
                    <a:p>
                      <a:pPr marL="628650" marR="0" lvl="1"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kern="1200" baseline="0">
                          <a:solidFill>
                            <a:srgbClr val="92D050"/>
                          </a:solidFill>
                          <a:latin typeface="Calibri" panose="020F0502020204030204" pitchFamily="34" charset="0"/>
                          <a:ea typeface="+mn-ea"/>
                          <a:cs typeface="Calibri" panose="020F0502020204030204" pitchFamily="34" charset="0"/>
                        </a:rPr>
                        <a:t>Levvia</a:t>
                      </a:r>
                      <a:r>
                        <a:rPr lang="en-GB" sz="1400" b="0" i="0" u="none" strike="noStrike" kern="1200" baseline="0">
                          <a:solidFill>
                            <a:schemeClr val="bg1"/>
                          </a:solidFill>
                          <a:latin typeface="Calibri" panose="020F0502020204030204" pitchFamily="34" charset="0"/>
                          <a:ea typeface="+mn-ea"/>
                          <a:cs typeface="Calibri" panose="020F0502020204030204" pitchFamily="34" charset="0"/>
                        </a:rPr>
                        <a:t> (dev effort required to retain existing functionality)</a:t>
                      </a:r>
                    </a:p>
                    <a:p>
                      <a:pPr marL="171450" indent="-171450" algn="l" defTabSz="1219170" rtl="0" eaLnBrk="1" latinLnBrk="0" hangingPunct="1">
                        <a:buFont typeface="Arial" panose="020B0604020202020204" pitchFamily="34" charset="0"/>
                        <a:buChar cha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Global deployment of RADC Execution Plan functionality</a:t>
                      </a:r>
                    </a:p>
                    <a:p>
                      <a:pPr marL="171450" indent="-171450" algn="l" defTabSz="1219170" rtl="0" eaLnBrk="1" latinLnBrk="0" hangingPunct="1">
                        <a:buFont typeface="Arial" panose="020B0604020202020204" pitchFamily="34" charset="0"/>
                        <a:buChar cha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Rzeszow transition plans dependent on dev efforts</a:t>
                      </a:r>
                    </a:p>
                    <a:p>
                      <a:pPr marL="171450" indent="-171450" algn="l" defTabSz="1219170" rtl="0" eaLnBrk="1" latinLnBrk="0" hangingPunct="1">
                        <a:buFont typeface="Arial" panose="020B0604020202020204" pitchFamily="34" charset="0"/>
                        <a:buChar cha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Global analytics teams interested in using the portal</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Significant volume of enhancements and future integrations</a:t>
                      </a:r>
                    </a:p>
                    <a:p>
                      <a:pPr marL="171450" indent="-171450">
                        <a:buFont typeface="Arial" panose="020B0604020202020204" pitchFamily="34" charset="0"/>
                        <a:buChar cha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Positive interest from US based teams</a:t>
                      </a:r>
                    </a:p>
                    <a:p>
                      <a:pPr marL="171450" indent="-171450">
                        <a:buFont typeface="Arial" panose="020B0604020202020204" pitchFamily="34" charset="0"/>
                        <a:buChar char="•"/>
                      </a:pPr>
                      <a:r>
                        <a:rPr lang="en-GB" sz="1400" b="0" i="0" u="none" strike="noStrike" kern="1200" baseline="0">
                          <a:solidFill>
                            <a:schemeClr val="bg1"/>
                          </a:solidFill>
                          <a:latin typeface="Calibri" panose="020F0502020204030204" pitchFamily="34" charset="0"/>
                          <a:ea typeface="+mn-ea"/>
                          <a:cs typeface="Calibri" panose="020F0502020204030204" pitchFamily="34" charset="0"/>
                        </a:rPr>
                        <a:t>Potential cross-service line interest– from Financial Advisory</a:t>
                      </a:r>
                    </a:p>
                    <a:p>
                      <a:pPr marL="0" indent="0">
                        <a:buFont typeface="Arial" panose="020B0604020202020204" pitchFamily="34" charset="0"/>
                        <a:buNone/>
                      </a:pPr>
                      <a:endParaRPr lang="en-GB" sz="1400" b="0" i="0" u="none" strike="noStrike" kern="1200" baseline="0">
                        <a:solidFill>
                          <a:schemeClr val="bg1"/>
                        </a:solidFill>
                        <a:latin typeface="Calibri" panose="020F0502020204030204" pitchFamily="34" charset="0"/>
                        <a:ea typeface="+mn-ea"/>
                        <a:cs typeface="Calibri" panose="020F0502020204030204" pitchFamily="34" charset="0"/>
                      </a:endParaRPr>
                    </a:p>
                  </a:txBody>
                  <a:tcPr>
                    <a:lnL w="38100" cap="flat" cmpd="sng" algn="ctr">
                      <a:solidFill>
                        <a:srgbClr val="004F59"/>
                      </a:solidFill>
                      <a:prstDash val="solid"/>
                      <a:round/>
                      <a:headEnd type="none" w="med" len="med"/>
                      <a:tailEnd type="none" w="med" len="med"/>
                    </a:lnL>
                    <a:lnR w="38100" cap="flat" cmpd="sng" algn="ctr">
                      <a:solidFill>
                        <a:srgbClr val="004F59"/>
                      </a:solidFill>
                      <a:prstDash val="solid"/>
                      <a:round/>
                      <a:headEnd type="none" w="med" len="med"/>
                      <a:tailEnd type="none" w="med" len="med"/>
                    </a:lnR>
                    <a:lnT w="38100" cap="flat" cmpd="sng" algn="ctr">
                      <a:solidFill>
                        <a:srgbClr val="004F59"/>
                      </a:solidFill>
                      <a:prstDash val="solid"/>
                      <a:round/>
                      <a:headEnd type="none" w="med" len="med"/>
                      <a:tailEnd type="none" w="med" len="med"/>
                    </a:lnT>
                    <a:lnB w="38100" cap="flat" cmpd="sng" algn="ctr">
                      <a:solidFill>
                        <a:srgbClr val="004F59"/>
                      </a:solidFill>
                      <a:prstDash val="solid"/>
                      <a:round/>
                      <a:headEnd type="none" w="med" len="med"/>
                      <a:tailEnd type="none" w="med" len="med"/>
                    </a:lnB>
                    <a:noFill/>
                  </a:tcPr>
                </a:tc>
                <a:extLst>
                  <a:ext uri="{0D108BD9-81ED-4DB2-BD59-A6C34878D82A}">
                    <a16:rowId xmlns:a16="http://schemas.microsoft.com/office/drawing/2014/main" val="4288067857"/>
                  </a:ext>
                </a:extLst>
              </a:tr>
            </a:tbl>
          </a:graphicData>
        </a:graphic>
      </p:graphicFrame>
    </p:spTree>
    <p:extLst>
      <p:ext uri="{BB962C8B-B14F-4D97-AF65-F5344CB8AC3E}">
        <p14:creationId xmlns:p14="http://schemas.microsoft.com/office/powerpoint/2010/main" val="21342569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79CFB8E1-D662-4233-ACD8-579A7B5BC495}"/>
              </a:ext>
            </a:extLst>
          </p:cNvPr>
          <p:cNvSpPr>
            <a:spLocks noGrp="1"/>
          </p:cNvSpPr>
          <p:nvPr>
            <p:ph type="subTitle" idx="1"/>
          </p:nvPr>
        </p:nvSpPr>
        <p:spPr>
          <a:xfrm>
            <a:off x="1071513" y="948968"/>
            <a:ext cx="10048973" cy="5129745"/>
          </a:xfrm>
        </p:spPr>
        <p:txBody>
          <a:bodyPr vert="horz" lIns="91440" tIns="45720" rIns="91440" bIns="45720" rtlCol="0" anchor="t">
            <a:normAutofit/>
          </a:bodyPr>
          <a:lstStyle/>
          <a:p>
            <a:r>
              <a:rPr lang="en-US" b="1">
                <a:solidFill>
                  <a:schemeClr val="accent1"/>
                </a:solidFill>
                <a:latin typeface="Open Sans"/>
                <a:ea typeface="Open Sans" panose="020B0606030504020204" pitchFamily="34" charset="0"/>
                <a:cs typeface="Open Sans" panose="020B0606030504020204" pitchFamily="34" charset="0"/>
              </a:rPr>
              <a:t>Best Practices to follow in our “Virtual” PI Planning</a:t>
            </a:r>
          </a:p>
          <a:p>
            <a:r>
              <a:rPr lang="en-US" b="1">
                <a:solidFill>
                  <a:schemeClr val="accent1"/>
                </a:solidFill>
                <a:latin typeface="Open Sans"/>
                <a:ea typeface="Open Sans" panose="020B0606030504020204" pitchFamily="34" charset="0"/>
                <a:cs typeface="Open Sans" panose="020B0606030504020204" pitchFamily="34" charset="0"/>
              </a:rPr>
              <a:t>(Meeting Etiquettes)</a:t>
            </a:r>
          </a:p>
          <a:p>
            <a:pPr algn="l"/>
            <a:endParaRPr lang="en-US">
              <a:latin typeface="Open Sans" panose="020B0606030504020204" pitchFamily="34" charset="0"/>
              <a:ea typeface="Open Sans" panose="020B0606030504020204" pitchFamily="34" charset="0"/>
              <a:cs typeface="Open Sans" panose="020B0606030504020204" pitchFamily="34" charset="0"/>
            </a:endParaRPr>
          </a:p>
          <a:p>
            <a:pPr marL="342900" indent="-342900" algn="l">
              <a:buFontTx/>
              <a:buChar char="-"/>
            </a:pPr>
            <a:r>
              <a:rPr lang="en-US" sz="1600">
                <a:latin typeface="Open Sans"/>
                <a:ea typeface="Open Sans" panose="020B0606030504020204" pitchFamily="34" charset="0"/>
                <a:cs typeface="Open Sans" panose="020B0606030504020204" pitchFamily="34" charset="0"/>
              </a:rPr>
              <a:t>Every participant is encouraged to join the meeting with Zoom Video.</a:t>
            </a:r>
          </a:p>
          <a:p>
            <a:pPr marL="342900" indent="-342900" algn="l">
              <a:buFontTx/>
              <a:buChar char="-"/>
            </a:pPr>
            <a:r>
              <a:rPr lang="en-US" sz="1600">
                <a:latin typeface="Open Sans"/>
                <a:ea typeface="Open Sans" panose="020B0606030504020204" pitchFamily="34" charset="0"/>
                <a:cs typeface="Open Sans" panose="020B0606030504020204" pitchFamily="34" charset="0"/>
              </a:rPr>
              <a:t>Video is Mandatory for those speaking or presenting in the PI. </a:t>
            </a:r>
          </a:p>
          <a:p>
            <a:pPr marL="342900" indent="-342900" algn="l">
              <a:buFontTx/>
              <a:buChar char="-"/>
            </a:pPr>
            <a:r>
              <a:rPr lang="en-US" sz="1600">
                <a:latin typeface="Open Sans"/>
                <a:ea typeface="Open Sans" panose="020B0606030504020204" pitchFamily="34" charset="0"/>
                <a:cs typeface="Open Sans" panose="020B0606030504020204" pitchFamily="34" charset="0"/>
              </a:rPr>
              <a:t>Mute your mic at all times unless speaking. </a:t>
            </a:r>
          </a:p>
          <a:p>
            <a:pPr marL="342900" indent="-342900" algn="l">
              <a:buFontTx/>
              <a:buChar char="-"/>
            </a:pPr>
            <a:r>
              <a:rPr lang="en-US" sz="1600">
                <a:latin typeface="Open Sans"/>
                <a:ea typeface="Open Sans" panose="020B0606030504020204" pitchFamily="34" charset="0"/>
                <a:cs typeface="Open Sans" panose="020B0606030504020204" pitchFamily="34" charset="0"/>
              </a:rPr>
              <a:t>Treat this meeting as if we are collocated for the One Team experience.</a:t>
            </a:r>
          </a:p>
          <a:p>
            <a:pPr marL="342900" indent="-342900" algn="l">
              <a:buFontTx/>
              <a:buChar char="-"/>
            </a:pPr>
            <a:r>
              <a:rPr lang="en-US" sz="1600">
                <a:latin typeface="Open Sans"/>
                <a:ea typeface="Open Sans" panose="020B0606030504020204" pitchFamily="34" charset="0"/>
                <a:cs typeface="Open Sans" panose="020B0606030504020204" pitchFamily="34" charset="0"/>
              </a:rPr>
              <a:t>If you want to ask a question, follow these steps:</a:t>
            </a:r>
          </a:p>
          <a:p>
            <a:pPr marL="799465" lvl="1" indent="-342900" algn="l">
              <a:buFontTx/>
              <a:buChar char="-"/>
            </a:pPr>
            <a:r>
              <a:rPr lang="en-US" sz="1600">
                <a:latin typeface="Open Sans"/>
                <a:ea typeface="Open Sans" panose="020B0606030504020204" pitchFamily="34" charset="0"/>
                <a:cs typeface="Open Sans" panose="020B0606030504020204" pitchFamily="34" charset="0"/>
              </a:rPr>
              <a:t>At the bottom of Zoom window, Click on Manage Participants option.</a:t>
            </a:r>
          </a:p>
          <a:p>
            <a:pPr marL="799465" lvl="1" indent="-342900" algn="l">
              <a:buFontTx/>
              <a:buChar char="-"/>
            </a:pPr>
            <a:r>
              <a:rPr lang="en-US" sz="1600">
                <a:latin typeface="Open Sans"/>
                <a:ea typeface="Open Sans" panose="020B0606030504020204" pitchFamily="34" charset="0"/>
                <a:cs typeface="Open Sans" panose="020B0606030504020204" pitchFamily="34" charset="0"/>
              </a:rPr>
              <a:t>A panel of participants list shall open on the right pane of the window.</a:t>
            </a:r>
          </a:p>
          <a:p>
            <a:pPr marL="799465" lvl="1" indent="-342900" algn="l">
              <a:buFontTx/>
              <a:buChar char="-"/>
            </a:pPr>
            <a:r>
              <a:rPr lang="en-US" sz="1600">
                <a:latin typeface="Open Sans"/>
                <a:ea typeface="Open Sans" panose="020B0606030504020204" pitchFamily="34" charset="0"/>
                <a:cs typeface="Open Sans" panose="020B0606030504020204" pitchFamily="34" charset="0"/>
              </a:rPr>
              <a:t>Click on “</a:t>
            </a:r>
            <a:r>
              <a:rPr lang="en-US" sz="1600" b="1">
                <a:latin typeface="Open Sans"/>
                <a:ea typeface="Open Sans" panose="020B0606030504020204" pitchFamily="34" charset="0"/>
                <a:cs typeface="Open Sans" panose="020B0606030504020204" pitchFamily="34" charset="0"/>
              </a:rPr>
              <a:t>Raise a Hand</a:t>
            </a:r>
            <a:r>
              <a:rPr lang="en-US" sz="1600">
                <a:latin typeface="Open Sans"/>
                <a:ea typeface="Open Sans" panose="020B0606030504020204" pitchFamily="34" charset="0"/>
                <a:cs typeface="Open Sans" panose="020B0606030504020204" pitchFamily="34" charset="0"/>
              </a:rPr>
              <a:t>” icon.</a:t>
            </a:r>
          </a:p>
          <a:p>
            <a:pPr marL="342900" lvl="1" indent="-342900" algn="l">
              <a:spcBef>
                <a:spcPts val="1001"/>
              </a:spcBef>
              <a:buFontTx/>
              <a:buChar char="-"/>
            </a:pPr>
            <a:r>
              <a:rPr lang="en-US" sz="1600">
                <a:latin typeface="Open Sans"/>
                <a:ea typeface="Open Sans" panose="020B0606030504020204" pitchFamily="34" charset="0"/>
                <a:cs typeface="Open Sans" panose="020B0606030504020204" pitchFamily="34" charset="0"/>
              </a:rPr>
              <a:t>This is a Virtual PI due to current circumstances. Let's coordinate to collaborate and make this a  successful PI event.</a:t>
            </a:r>
          </a:p>
        </p:txBody>
      </p:sp>
    </p:spTree>
    <p:extLst>
      <p:ext uri="{BB962C8B-B14F-4D97-AF65-F5344CB8AC3E}">
        <p14:creationId xmlns:p14="http://schemas.microsoft.com/office/powerpoint/2010/main" val="13624713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BF1E4E-ACD4-4BD8-939B-FCCD16AC8A6F}"/>
              </a:ext>
            </a:extLst>
          </p:cNvPr>
          <p:cNvPicPr>
            <a:picLocks noChangeAspect="1"/>
          </p:cNvPicPr>
          <p:nvPr/>
        </p:nvPicPr>
        <p:blipFill>
          <a:blip r:embed="rId2"/>
          <a:stretch>
            <a:fillRect/>
          </a:stretch>
        </p:blipFill>
        <p:spPr>
          <a:xfrm>
            <a:off x="585216" y="65097"/>
            <a:ext cx="10960608" cy="6690595"/>
          </a:xfrm>
          <a:prstGeom prst="rect">
            <a:avLst/>
          </a:prstGeom>
        </p:spPr>
      </p:pic>
      <p:sp>
        <p:nvSpPr>
          <p:cNvPr id="6" name="Rectangle 5">
            <a:extLst>
              <a:ext uri="{FF2B5EF4-FFF2-40B4-BE49-F238E27FC236}">
                <a16:creationId xmlns:a16="http://schemas.microsoft.com/office/drawing/2014/main" id="{2366480E-6D13-44C8-9CCC-038EB707E488}"/>
              </a:ext>
            </a:extLst>
          </p:cNvPr>
          <p:cNvSpPr/>
          <p:nvPr/>
        </p:nvSpPr>
        <p:spPr>
          <a:xfrm>
            <a:off x="8193024" y="4474465"/>
            <a:ext cx="1670304" cy="14630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171891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FBD2273-D8F8-4BC6-9989-AE46BDA26063}"/>
              </a:ext>
            </a:extLst>
          </p:cNvPr>
          <p:cNvGraphicFramePr>
            <a:graphicFrameLocks noGrp="1"/>
          </p:cNvGraphicFramePr>
          <p:nvPr>
            <p:extLst>
              <p:ext uri="{D42A27DB-BD31-4B8C-83A1-F6EECF244321}">
                <p14:modId xmlns:p14="http://schemas.microsoft.com/office/powerpoint/2010/main" val="3794947991"/>
              </p:ext>
            </p:extLst>
          </p:nvPr>
        </p:nvGraphicFramePr>
        <p:xfrm>
          <a:off x="247577" y="334102"/>
          <a:ext cx="11519872" cy="6591789"/>
        </p:xfrm>
        <a:graphic>
          <a:graphicData uri="http://schemas.openxmlformats.org/drawingml/2006/table">
            <a:tbl>
              <a:tblPr firstRow="1" firstCol="1">
                <a:tableStyleId>{073A0DAA-6AF3-43AB-8588-CEC1D06C72B9}</a:tableStyleId>
              </a:tblPr>
              <a:tblGrid>
                <a:gridCol w="4219987">
                  <a:extLst>
                    <a:ext uri="{9D8B030D-6E8A-4147-A177-3AD203B41FA5}">
                      <a16:colId xmlns:a16="http://schemas.microsoft.com/office/drawing/2014/main" val="792060426"/>
                    </a:ext>
                  </a:extLst>
                </a:gridCol>
                <a:gridCol w="1194785">
                  <a:extLst>
                    <a:ext uri="{9D8B030D-6E8A-4147-A177-3AD203B41FA5}">
                      <a16:colId xmlns:a16="http://schemas.microsoft.com/office/drawing/2014/main" val="2163654045"/>
                    </a:ext>
                  </a:extLst>
                </a:gridCol>
                <a:gridCol w="2378715">
                  <a:extLst>
                    <a:ext uri="{9D8B030D-6E8A-4147-A177-3AD203B41FA5}">
                      <a16:colId xmlns:a16="http://schemas.microsoft.com/office/drawing/2014/main" val="4292997195"/>
                    </a:ext>
                  </a:extLst>
                </a:gridCol>
                <a:gridCol w="537328">
                  <a:extLst>
                    <a:ext uri="{9D8B030D-6E8A-4147-A177-3AD203B41FA5}">
                      <a16:colId xmlns:a16="http://schemas.microsoft.com/office/drawing/2014/main" val="2152155282"/>
                    </a:ext>
                  </a:extLst>
                </a:gridCol>
                <a:gridCol w="537328">
                  <a:extLst>
                    <a:ext uri="{9D8B030D-6E8A-4147-A177-3AD203B41FA5}">
                      <a16:colId xmlns:a16="http://schemas.microsoft.com/office/drawing/2014/main" val="2805195837"/>
                    </a:ext>
                  </a:extLst>
                </a:gridCol>
                <a:gridCol w="490193">
                  <a:extLst>
                    <a:ext uri="{9D8B030D-6E8A-4147-A177-3AD203B41FA5}">
                      <a16:colId xmlns:a16="http://schemas.microsoft.com/office/drawing/2014/main" val="2771148117"/>
                    </a:ext>
                  </a:extLst>
                </a:gridCol>
                <a:gridCol w="575035">
                  <a:extLst>
                    <a:ext uri="{9D8B030D-6E8A-4147-A177-3AD203B41FA5}">
                      <a16:colId xmlns:a16="http://schemas.microsoft.com/office/drawing/2014/main" val="3197705583"/>
                    </a:ext>
                  </a:extLst>
                </a:gridCol>
                <a:gridCol w="584462">
                  <a:extLst>
                    <a:ext uri="{9D8B030D-6E8A-4147-A177-3AD203B41FA5}">
                      <a16:colId xmlns:a16="http://schemas.microsoft.com/office/drawing/2014/main" val="4238107078"/>
                    </a:ext>
                  </a:extLst>
                </a:gridCol>
                <a:gridCol w="480767">
                  <a:extLst>
                    <a:ext uri="{9D8B030D-6E8A-4147-A177-3AD203B41FA5}">
                      <a16:colId xmlns:a16="http://schemas.microsoft.com/office/drawing/2014/main" val="372272013"/>
                    </a:ext>
                  </a:extLst>
                </a:gridCol>
                <a:gridCol w="521272">
                  <a:extLst>
                    <a:ext uri="{9D8B030D-6E8A-4147-A177-3AD203B41FA5}">
                      <a16:colId xmlns:a16="http://schemas.microsoft.com/office/drawing/2014/main" val="1812577372"/>
                    </a:ext>
                  </a:extLst>
                </a:gridCol>
              </a:tblGrid>
              <a:tr h="1918904">
                <a:tc>
                  <a:txBody>
                    <a:bodyPr/>
                    <a:lstStyle/>
                    <a:p>
                      <a:pPr algn="ctr" fontAlgn="b"/>
                      <a:r>
                        <a:rPr lang="en-US" sz="1000" u="none" strike="noStrike">
                          <a:effectLst/>
                          <a:latin typeface="+mn-lt"/>
                          <a:ea typeface="Open Sans" panose="020B0606030504020204" pitchFamily="34" charset="0"/>
                          <a:cs typeface="Open Sans" panose="020B0606030504020204" pitchFamily="34" charset="0"/>
                        </a:rPr>
                        <a:t>Feature</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4">
                        <a:lumMod val="50000"/>
                      </a:schemeClr>
                    </a:solidFill>
                  </a:tcPr>
                </a:tc>
                <a:tc>
                  <a:txBody>
                    <a:bodyPr/>
                    <a:lstStyle/>
                    <a:p>
                      <a:pPr algn="ctr" fontAlgn="b"/>
                      <a:r>
                        <a:rPr lang="en-US" sz="1000" b="1" i="0" u="none" strike="noStrike">
                          <a:solidFill>
                            <a:srgbClr val="000000"/>
                          </a:solidFill>
                          <a:effectLst/>
                          <a:latin typeface="+mn-lt"/>
                          <a:ea typeface="Open Sans" panose="020B0606030504020204" pitchFamily="34" charset="0"/>
                          <a:cs typeface="Open Sans" panose="020B0606030504020204" pitchFamily="34" charset="0"/>
                        </a:rPr>
                        <a:t>Team</a:t>
                      </a:r>
                    </a:p>
                  </a:txBody>
                  <a:tcPr marL="4075" marR="4075" marT="4075" marB="0" vert="vert270" anchor="ctr">
                    <a:solidFill>
                      <a:srgbClr val="00B0F0"/>
                    </a:solidFill>
                  </a:tcPr>
                </a:tc>
                <a:tc>
                  <a:txBody>
                    <a:bodyPr/>
                    <a:lstStyle/>
                    <a:p>
                      <a:pPr algn="ctr" fontAlgn="b"/>
                      <a:r>
                        <a:rPr lang="en-US" sz="1000" b="1" i="0" u="none" strike="noStrike">
                          <a:solidFill>
                            <a:srgbClr val="000000"/>
                          </a:solidFill>
                          <a:effectLst/>
                          <a:latin typeface="+mn-lt"/>
                          <a:ea typeface="Open Sans" panose="020B0606030504020204" pitchFamily="34" charset="0"/>
                          <a:cs typeface="Open Sans" panose="020B0606030504020204" pitchFamily="34" charset="0"/>
                        </a:rPr>
                        <a:t>Dependency</a:t>
                      </a:r>
                    </a:p>
                  </a:txBody>
                  <a:tcPr marL="4075" marR="4075" marT="4075" marB="0" vert="vert270" anchor="ctr">
                    <a:solidFill>
                      <a:srgbClr val="FF9900"/>
                    </a:solidFill>
                  </a:tcPr>
                </a:tc>
                <a:tc>
                  <a:txBody>
                    <a:bodyPr/>
                    <a:lstStyle/>
                    <a:p>
                      <a:pPr algn="ctr" fontAlgn="b"/>
                      <a:r>
                        <a:rPr lang="en-GB" sz="1000" b="0" u="none">
                          <a:latin typeface="+mn-lt"/>
                        </a:rPr>
                        <a:t>DWW Acceleration</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marL="0" indent="0" algn="ctr" defTabSz="914367">
                        <a:spcBef>
                          <a:spcPts val="452"/>
                        </a:spcBef>
                        <a:buFont typeface="Arial"/>
                        <a:buNone/>
                        <a:defRPr/>
                      </a:pPr>
                      <a:r>
                        <a:rPr lang="en-US" sz="1000" b="0" u="none">
                          <a:latin typeface="+mn-lt"/>
                          <a:cs typeface="Calibri"/>
                        </a:rPr>
                        <a:t>Ramp up RADC Usage</a:t>
                      </a: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mn-lt"/>
                          <a:ea typeface="Open Sans" panose="020B0606030504020204" pitchFamily="34" charset="0"/>
                          <a:cs typeface="Open Sans" panose="020B0606030504020204" pitchFamily="34" charset="0"/>
                        </a:rPr>
                        <a:t>Expand RADC Catalog</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mn-lt"/>
                          <a:ea typeface="Open Sans" panose="020B0606030504020204" pitchFamily="34" charset="0"/>
                          <a:cs typeface="Open Sans" panose="020B0606030504020204" pitchFamily="34" charset="0"/>
                        </a:rPr>
                        <a:t>Transition to Omnia/Levvia</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mn-lt"/>
                          <a:ea typeface="Open Sans" panose="020B0606030504020204" pitchFamily="34" charset="0"/>
                          <a:cs typeface="Open Sans" panose="020B0606030504020204" pitchFamily="34" charset="0"/>
                        </a:rPr>
                        <a:t>Monitoring Quality &amp; Adoption</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mn-lt"/>
                          <a:ea typeface="Open Sans" panose="020B0606030504020204" pitchFamily="34" charset="0"/>
                          <a:cs typeface="Open Sans" panose="020B0606030504020204" pitchFamily="34" charset="0"/>
                        </a:rPr>
                        <a:t>Automate  Bots</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mn-lt"/>
                          <a:ea typeface="Open Sans" panose="020B0606030504020204" pitchFamily="34" charset="0"/>
                          <a:cs typeface="Open Sans" panose="020B0606030504020204" pitchFamily="34" charset="0"/>
                        </a:rPr>
                        <a:t>Support and Ongoing Maintenance</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extLst>
                  <a:ext uri="{0D108BD9-81ED-4DB2-BD59-A6C34878D82A}">
                    <a16:rowId xmlns:a16="http://schemas.microsoft.com/office/drawing/2014/main" val="452334751"/>
                  </a:ext>
                </a:extLst>
              </a:tr>
              <a:tr h="292231">
                <a:tc>
                  <a:txBody>
                    <a:bodyPr/>
                    <a:lstStyle/>
                    <a:p>
                      <a:pPr algn="l" fontAlgn="b"/>
                      <a:r>
                        <a:rPr lang="en-US" sz="1100" b="1" i="0" u="none" strike="noStrike">
                          <a:solidFill>
                            <a:schemeClr val="accent4"/>
                          </a:solidFill>
                          <a:effectLst/>
                          <a:latin typeface="+mn-lt"/>
                          <a:ea typeface="Open Sans" panose="020B0606030504020204" pitchFamily="34" charset="0"/>
                          <a:cs typeface="Open Sans" panose="020B0606030504020204" pitchFamily="34" charset="0"/>
                        </a:rPr>
                        <a:t>MIGRATE AO TO AZURE</a:t>
                      </a:r>
                    </a:p>
                  </a:txBody>
                  <a:tcPr marL="4075" marR="4075" marT="4075" marB="0" anchor="ctr">
                    <a:solidFill>
                      <a:schemeClr val="accent3"/>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ll</a:t>
                      </a: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solidFill>
                      <a:schemeClr val="accent3"/>
                    </a:solidFill>
                  </a:tcPr>
                </a:tc>
                <a:extLst>
                  <a:ext uri="{0D108BD9-81ED-4DB2-BD59-A6C34878D82A}">
                    <a16:rowId xmlns:a16="http://schemas.microsoft.com/office/drawing/2014/main" val="2245126670"/>
                  </a:ext>
                </a:extLst>
              </a:tr>
              <a:tr h="188536">
                <a:tc>
                  <a:txBody>
                    <a:bodyPr/>
                    <a:lstStyle/>
                    <a:p>
                      <a:pPr algn="l" fontAlgn="b"/>
                      <a:r>
                        <a:rPr lang="en-US" sz="1100" b="1" i="0" u="none" strike="noStrike">
                          <a:solidFill>
                            <a:schemeClr val="accent4"/>
                          </a:solidFill>
                          <a:effectLst/>
                          <a:latin typeface="+mn-lt"/>
                          <a:ea typeface="Open Sans" panose="020B0606030504020204" pitchFamily="34" charset="0"/>
                          <a:cs typeface="Open Sans" panose="020B0606030504020204" pitchFamily="34" charset="0"/>
                        </a:rPr>
                        <a:t>SUPPORT RADC FOR LEVVIA V2</a:t>
                      </a: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extLst>
                  <a:ext uri="{0D108BD9-81ED-4DB2-BD59-A6C34878D82A}">
                    <a16:rowId xmlns:a16="http://schemas.microsoft.com/office/drawing/2014/main" val="990911571"/>
                  </a:ext>
                </a:extLst>
              </a:tr>
              <a:tr h="258281">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Support for Levvia_Link from Levvia</a:t>
                      </a:r>
                    </a:p>
                    <a:p>
                      <a:pPr algn="l" fontAlgn="b"/>
                      <a:endParaRPr lang="en-US" sz="1100" b="0" i="0" u="none" strike="noStrike">
                        <a:solidFill>
                          <a:schemeClr val="bg1"/>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Jaguars</a:t>
                      </a:r>
                    </a:p>
                  </a:txBody>
                  <a:tcPr marL="4075" marR="4075" marT="4075" marB="0" anchor="ct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Levvia for full testing</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578989787"/>
                  </a:ext>
                </a:extLst>
              </a:tr>
              <a:tr h="303423">
                <a:tc>
                  <a:txBody>
                    <a:bodyPr/>
                    <a:lstStyle/>
                    <a:p>
                      <a:pPr algn="l" fontAlgn="b"/>
                      <a:r>
                        <a:rPr lang="en-US" sz="1100" b="0" i="0" u="none" strike="noStrike">
                          <a:solidFill>
                            <a:schemeClr val="bg1"/>
                          </a:solidFill>
                          <a:effectLst/>
                          <a:latin typeface="+mn-lt"/>
                          <a:ea typeface="Open Sans" panose="020B0606030504020204" pitchFamily="34" charset="0"/>
                          <a:cs typeface="Open Sans" panose="020B0606030504020204" pitchFamily="34" charset="0"/>
                        </a:rPr>
                        <a:t>RADC Portal Title Bar_Levvia</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Jamaica</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1760672206"/>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Support for Levvia_Enhanced Portfolio Filtering</a:t>
                      </a:r>
                    </a:p>
                    <a:p>
                      <a:pPr algn="l" fontAlgn="b"/>
                      <a:endParaRPr lang="en-US" sz="1100" b="0" i="0" u="none" strike="noStrike">
                        <a:solidFill>
                          <a:schemeClr val="bg1"/>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001035"/>
                    </a:solidFill>
                  </a:tcPr>
                </a:tc>
                <a:tc>
                  <a:txBody>
                    <a:bodyPr/>
                    <a:lstStyle/>
                    <a:p>
                      <a:pPr algn="ctr" fontAlgn="b"/>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Jamaica</a:t>
                      </a:r>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Levvia APIs</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683563605"/>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Support for Levvia_Using Levvia Entities/Merge 5.1 entities</a:t>
                      </a:r>
                    </a:p>
                    <a:p>
                      <a:pPr marL="0" algn="l" defTabSz="914388" rtl="0" eaLnBrk="1" fontAlgn="b" latinLnBrk="0" hangingPunct="1"/>
                      <a:endParaRPr lang="en-US" sz="1100" b="0" u="none" strike="noStrike" kern="1200">
                        <a:solidFill>
                          <a:schemeClr val="bg1"/>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Jaguars</a:t>
                      </a:r>
                    </a:p>
                  </a:txBody>
                  <a:tcPr marL="4075" marR="4075" marT="4075" marB="0" anchor="ct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Levvia APIs</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1404086791"/>
                  </a:ext>
                </a:extLst>
              </a:tr>
              <a:tr h="61477">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Carryforward of Entities</a:t>
                      </a:r>
                    </a:p>
                    <a:p>
                      <a:pPr marL="0" algn="l" defTabSz="914388" rtl="0" eaLnBrk="1" fontAlgn="b" latinLnBrk="0" hangingPunct="1"/>
                      <a:endParaRPr lang="en-US" sz="1100" b="0" u="none" strike="noStrike" kern="1200">
                        <a:solidFill>
                          <a:schemeClr val="bg1"/>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001035"/>
                    </a:solidFill>
                  </a:tcPr>
                </a:tc>
                <a:tc>
                  <a:txBody>
                    <a:bodyPr/>
                    <a:lstStyle/>
                    <a:p>
                      <a:pPr algn="ctr" fontAlgn="b"/>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Jaguars</a:t>
                      </a:r>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3228044948"/>
                  </a:ext>
                </a:extLst>
              </a:tr>
              <a:tr h="230187">
                <a:tc>
                  <a:txBody>
                    <a:bodyPr/>
                    <a:lstStyle/>
                    <a:p>
                      <a:pPr algn="l" fontAlgn="b"/>
                      <a:r>
                        <a:rPr lang="en-US" sz="1100" b="1" i="0" u="none" strike="noStrike">
                          <a:solidFill>
                            <a:schemeClr val="accent4"/>
                          </a:solidFill>
                          <a:effectLst/>
                          <a:latin typeface="+mn-lt"/>
                          <a:ea typeface="Open Sans" panose="020B0606030504020204" pitchFamily="34" charset="0"/>
                          <a:cs typeface="Open Sans" panose="020B0606030504020204" pitchFamily="34" charset="0"/>
                        </a:rPr>
                        <a:t>ONBOARD JAPAN DELIVERY CENTER</a:t>
                      </a: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extLst>
                  <a:ext uri="{0D108BD9-81ED-4DB2-BD59-A6C34878D82A}">
                    <a16:rowId xmlns:a16="http://schemas.microsoft.com/office/drawing/2014/main" val="4277563591"/>
                  </a:ext>
                </a:extLst>
              </a:tr>
              <a:tr h="177127">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Calendar View _Ability to view Requests/capacity by User(s)</a:t>
                      </a:r>
                      <a:endParaRPr lang="en-US" sz="1100" b="1" i="0" u="none" strike="noStrike">
                        <a:solidFill>
                          <a:schemeClr val="bg1"/>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001035"/>
                    </a:solidFill>
                  </a:tcPr>
                </a:tc>
                <a:tc>
                  <a:txBody>
                    <a:bodyPr/>
                    <a:lstStyle/>
                    <a:p>
                      <a:pPr algn="ctr" fontAlgn="b"/>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Jaguars</a:t>
                      </a:r>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Language selection for translation</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851452518"/>
                  </a:ext>
                </a:extLst>
              </a:tr>
              <a:tr h="303423">
                <a:tc>
                  <a:txBody>
                    <a:bodyPr/>
                    <a:lstStyle/>
                    <a:p>
                      <a:pPr algn="l" fontAlgn="b"/>
                      <a:r>
                        <a:rPr lang="en-US" sz="1100" b="1" i="0" u="none" strike="noStrike">
                          <a:solidFill>
                            <a:schemeClr val="bg1"/>
                          </a:solidFill>
                          <a:effectLst/>
                          <a:latin typeface="+mn-lt"/>
                          <a:ea typeface="Open Sans" panose="020B0606030504020204" pitchFamily="34" charset="0"/>
                          <a:cs typeface="Open Sans" panose="020B0606030504020204" pitchFamily="34" charset="0"/>
                        </a:rPr>
                        <a:t>Translation of RADC_Language Selection</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utocr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4260354743"/>
                  </a:ext>
                </a:extLst>
              </a:tr>
              <a:tr h="303423">
                <a:tc>
                  <a:txBody>
                    <a:bodyPr/>
                    <a:lstStyle/>
                    <a:p>
                      <a:pPr algn="l" fontAlgn="b"/>
                      <a:r>
                        <a:rPr lang="en-US" sz="1100" b="1" i="0" u="none" strike="noStrike">
                          <a:solidFill>
                            <a:schemeClr val="bg1"/>
                          </a:solidFill>
                          <a:effectLst/>
                          <a:latin typeface="+mn-lt"/>
                          <a:ea typeface="Open Sans" panose="020B0606030504020204" pitchFamily="34" charset="0"/>
                          <a:cs typeface="Open Sans" panose="020B0606030504020204" pitchFamily="34" charset="0"/>
                        </a:rPr>
                        <a:t>Translation of RADC_ List View, inc Filtering</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utocr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3741660256"/>
                  </a:ext>
                </a:extLst>
              </a:tr>
              <a:tr h="303423">
                <a:tc>
                  <a:txBody>
                    <a:bodyPr/>
                    <a:lstStyle/>
                    <a:p>
                      <a:pPr algn="l" fontAlgn="b"/>
                      <a:r>
                        <a:rPr lang="en-US" sz="1100" b="1" i="0" u="none" strike="noStrike">
                          <a:solidFill>
                            <a:schemeClr val="bg1"/>
                          </a:solidFill>
                          <a:effectLst/>
                          <a:latin typeface="+mn-lt"/>
                          <a:ea typeface="Open Sans" panose="020B0606030504020204" pitchFamily="34" charset="0"/>
                          <a:cs typeface="Open Sans" panose="020B0606030504020204" pitchFamily="34" charset="0"/>
                        </a:rPr>
                        <a:t>Translation of RADC_Quick Edit</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utocr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3606090981"/>
                  </a:ext>
                </a:extLst>
              </a:tr>
              <a:tr h="303423">
                <a:tc>
                  <a:txBody>
                    <a:bodyPr/>
                    <a:lstStyle/>
                    <a:p>
                      <a:pPr algn="l" fontAlgn="b"/>
                      <a:r>
                        <a:rPr lang="en-US" sz="1100" b="1" i="0" u="none" strike="noStrike">
                          <a:solidFill>
                            <a:schemeClr val="bg1"/>
                          </a:solidFill>
                          <a:effectLst/>
                          <a:latin typeface="+mn-lt"/>
                          <a:ea typeface="Open Sans" panose="020B0606030504020204" pitchFamily="34" charset="0"/>
                          <a:cs typeface="Open Sans" panose="020B0606030504020204" pitchFamily="34" charset="0"/>
                        </a:rPr>
                        <a:t>Translation of RADC_Extract List</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utocr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172568953"/>
                  </a:ext>
                </a:extLst>
              </a:tr>
              <a:tr h="303423">
                <a:tc>
                  <a:txBody>
                    <a:bodyPr/>
                    <a:lstStyle/>
                    <a:p>
                      <a:pPr algn="l" fontAlgn="b"/>
                      <a:r>
                        <a:rPr lang="en-US" sz="1100" b="1" i="0" u="none" strike="noStrike">
                          <a:solidFill>
                            <a:schemeClr val="bg1"/>
                          </a:solidFill>
                          <a:effectLst/>
                          <a:latin typeface="+mn-lt"/>
                          <a:ea typeface="Open Sans" panose="020B0606030504020204" pitchFamily="34" charset="0"/>
                          <a:cs typeface="Open Sans" panose="020B0606030504020204" pitchFamily="34" charset="0"/>
                        </a:rPr>
                        <a:t>Translation of RADC_Action Dialogs</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Technok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1458736683"/>
                  </a:ext>
                </a:extLst>
              </a:tr>
              <a:tr h="303423">
                <a:tc>
                  <a:txBody>
                    <a:bodyPr/>
                    <a:lstStyle/>
                    <a:p>
                      <a:pPr algn="l" fontAlgn="b"/>
                      <a:r>
                        <a:rPr lang="en-US" sz="1100" b="1" i="0" u="none" strike="noStrike">
                          <a:solidFill>
                            <a:schemeClr val="bg1"/>
                          </a:solidFill>
                          <a:effectLst/>
                          <a:latin typeface="+mn-lt"/>
                          <a:ea typeface="Open Sans" panose="020B0606030504020204" pitchFamily="34" charset="0"/>
                          <a:cs typeface="Open Sans" panose="020B0606030504020204" pitchFamily="34" charset="0"/>
                        </a:rPr>
                        <a:t>Translation of RADC_ADC Details</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Technok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1480307349"/>
                  </a:ext>
                </a:extLst>
              </a:tr>
              <a:tr h="303423">
                <a:tc>
                  <a:txBody>
                    <a:bodyPr/>
                    <a:lstStyle/>
                    <a:p>
                      <a:pPr algn="l" fontAlgn="b"/>
                      <a:r>
                        <a:rPr lang="en-US" sz="1100" b="1" i="0" u="none" strike="noStrike">
                          <a:solidFill>
                            <a:schemeClr val="bg1"/>
                          </a:solidFill>
                          <a:effectLst/>
                          <a:latin typeface="+mn-lt"/>
                          <a:ea typeface="Open Sans" panose="020B0606030504020204" pitchFamily="34" charset="0"/>
                          <a:cs typeface="Open Sans" panose="020B0606030504020204" pitchFamily="34" charset="0"/>
                        </a:rPr>
                        <a:t>Translation of RADC_Message and Alerts</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utocr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4131104924"/>
                  </a:ext>
                </a:extLst>
              </a:tr>
            </a:tbl>
          </a:graphicData>
        </a:graphic>
      </p:graphicFrame>
      <p:sp>
        <p:nvSpPr>
          <p:cNvPr id="5" name="Title 1">
            <a:extLst>
              <a:ext uri="{FF2B5EF4-FFF2-40B4-BE49-F238E27FC236}">
                <a16:creationId xmlns:a16="http://schemas.microsoft.com/office/drawing/2014/main" id="{3251E91F-7239-4E7A-9875-42D199409359}"/>
              </a:ext>
            </a:extLst>
          </p:cNvPr>
          <p:cNvSpPr txBox="1">
            <a:spLocks/>
          </p:cNvSpPr>
          <p:nvPr/>
        </p:nvSpPr>
        <p:spPr>
          <a:xfrm>
            <a:off x="247577" y="0"/>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Business Value – Feature Mapping | </a:t>
            </a:r>
            <a:r>
              <a:rPr lang="en-US" sz="1801" b="1">
                <a:latin typeface="Open Sans" panose="020B0606030504020204" pitchFamily="34" charset="0"/>
                <a:ea typeface="Open Sans" panose="020B0606030504020204" pitchFamily="34" charset="0"/>
                <a:cs typeface="Open Sans" panose="020B0606030504020204" pitchFamily="34" charset="0"/>
              </a:rPr>
              <a:t>RADC</a:t>
            </a:r>
            <a:endPar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07714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FBD2273-D8F8-4BC6-9989-AE46BDA26063}"/>
              </a:ext>
            </a:extLst>
          </p:cNvPr>
          <p:cNvGraphicFramePr>
            <a:graphicFrameLocks noGrp="1"/>
          </p:cNvGraphicFramePr>
          <p:nvPr>
            <p:extLst>
              <p:ext uri="{D42A27DB-BD31-4B8C-83A1-F6EECF244321}">
                <p14:modId xmlns:p14="http://schemas.microsoft.com/office/powerpoint/2010/main" val="1906573001"/>
              </p:ext>
            </p:extLst>
          </p:nvPr>
        </p:nvGraphicFramePr>
        <p:xfrm>
          <a:off x="247577" y="334102"/>
          <a:ext cx="11519872" cy="6111117"/>
        </p:xfrm>
        <a:graphic>
          <a:graphicData uri="http://schemas.openxmlformats.org/drawingml/2006/table">
            <a:tbl>
              <a:tblPr firstRow="1" firstCol="1">
                <a:tableStyleId>{073A0DAA-6AF3-43AB-8588-CEC1D06C72B9}</a:tableStyleId>
              </a:tblPr>
              <a:tblGrid>
                <a:gridCol w="4219987">
                  <a:extLst>
                    <a:ext uri="{9D8B030D-6E8A-4147-A177-3AD203B41FA5}">
                      <a16:colId xmlns:a16="http://schemas.microsoft.com/office/drawing/2014/main" val="792060426"/>
                    </a:ext>
                  </a:extLst>
                </a:gridCol>
                <a:gridCol w="1194785">
                  <a:extLst>
                    <a:ext uri="{9D8B030D-6E8A-4147-A177-3AD203B41FA5}">
                      <a16:colId xmlns:a16="http://schemas.microsoft.com/office/drawing/2014/main" val="2163654045"/>
                    </a:ext>
                  </a:extLst>
                </a:gridCol>
                <a:gridCol w="2378715">
                  <a:extLst>
                    <a:ext uri="{9D8B030D-6E8A-4147-A177-3AD203B41FA5}">
                      <a16:colId xmlns:a16="http://schemas.microsoft.com/office/drawing/2014/main" val="4292997195"/>
                    </a:ext>
                  </a:extLst>
                </a:gridCol>
                <a:gridCol w="537328">
                  <a:extLst>
                    <a:ext uri="{9D8B030D-6E8A-4147-A177-3AD203B41FA5}">
                      <a16:colId xmlns:a16="http://schemas.microsoft.com/office/drawing/2014/main" val="2152155282"/>
                    </a:ext>
                  </a:extLst>
                </a:gridCol>
                <a:gridCol w="537328">
                  <a:extLst>
                    <a:ext uri="{9D8B030D-6E8A-4147-A177-3AD203B41FA5}">
                      <a16:colId xmlns:a16="http://schemas.microsoft.com/office/drawing/2014/main" val="2805195837"/>
                    </a:ext>
                  </a:extLst>
                </a:gridCol>
                <a:gridCol w="490193">
                  <a:extLst>
                    <a:ext uri="{9D8B030D-6E8A-4147-A177-3AD203B41FA5}">
                      <a16:colId xmlns:a16="http://schemas.microsoft.com/office/drawing/2014/main" val="2771148117"/>
                    </a:ext>
                  </a:extLst>
                </a:gridCol>
                <a:gridCol w="575035">
                  <a:extLst>
                    <a:ext uri="{9D8B030D-6E8A-4147-A177-3AD203B41FA5}">
                      <a16:colId xmlns:a16="http://schemas.microsoft.com/office/drawing/2014/main" val="3197705583"/>
                    </a:ext>
                  </a:extLst>
                </a:gridCol>
                <a:gridCol w="584462">
                  <a:extLst>
                    <a:ext uri="{9D8B030D-6E8A-4147-A177-3AD203B41FA5}">
                      <a16:colId xmlns:a16="http://schemas.microsoft.com/office/drawing/2014/main" val="4238107078"/>
                    </a:ext>
                  </a:extLst>
                </a:gridCol>
                <a:gridCol w="480767">
                  <a:extLst>
                    <a:ext uri="{9D8B030D-6E8A-4147-A177-3AD203B41FA5}">
                      <a16:colId xmlns:a16="http://schemas.microsoft.com/office/drawing/2014/main" val="372272013"/>
                    </a:ext>
                  </a:extLst>
                </a:gridCol>
                <a:gridCol w="521272">
                  <a:extLst>
                    <a:ext uri="{9D8B030D-6E8A-4147-A177-3AD203B41FA5}">
                      <a16:colId xmlns:a16="http://schemas.microsoft.com/office/drawing/2014/main" val="1812577372"/>
                    </a:ext>
                  </a:extLst>
                </a:gridCol>
              </a:tblGrid>
              <a:tr h="2060306">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Feature</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solidFill>
                      <a:schemeClr val="accent4">
                        <a:lumMod val="50000"/>
                      </a:schemeClr>
                    </a:solidFill>
                  </a:tcPr>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Team</a:t>
                      </a:r>
                    </a:p>
                  </a:txBody>
                  <a:tcPr marL="4075" marR="4075" marT="4075" marB="0" vert="vert270" anchor="ctr">
                    <a:solidFill>
                      <a:srgbClr val="00B0F0"/>
                    </a:solidFill>
                  </a:tcPr>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Dependency</a:t>
                      </a:r>
                    </a:p>
                  </a:txBody>
                  <a:tcPr marL="4075" marR="4075" marT="4075" marB="0" vert="vert270" anchor="ctr">
                    <a:solidFill>
                      <a:srgbClr val="FF9900"/>
                    </a:solidFill>
                  </a:tcPr>
                </a:tc>
                <a:tc>
                  <a:txBody>
                    <a:bodyPr/>
                    <a:lstStyle/>
                    <a:p>
                      <a:pPr algn="ctr" fontAlgn="b"/>
                      <a:r>
                        <a:rPr lang="en-GB" sz="1000" b="0" u="none">
                          <a:latin typeface="+mn-lt"/>
                        </a:rPr>
                        <a:t>DWW Acceleration</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marL="0" indent="0" algn="ctr" defTabSz="914367">
                        <a:spcBef>
                          <a:spcPts val="452"/>
                        </a:spcBef>
                        <a:buFont typeface="Arial"/>
                        <a:buNone/>
                        <a:defRPr/>
                      </a:pPr>
                      <a:r>
                        <a:rPr lang="en-US" sz="1000" b="0" u="none">
                          <a:latin typeface="+mn-lt"/>
                          <a:cs typeface="Calibri"/>
                        </a:rPr>
                        <a:t>Ramp up RADC Usage</a:t>
                      </a: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mn-lt"/>
                          <a:ea typeface="Open Sans" panose="020B0606030504020204" pitchFamily="34" charset="0"/>
                          <a:cs typeface="Open Sans" panose="020B0606030504020204" pitchFamily="34" charset="0"/>
                        </a:rPr>
                        <a:t>Expand RADC Catalog</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mn-lt"/>
                          <a:ea typeface="Open Sans" panose="020B0606030504020204" pitchFamily="34" charset="0"/>
                          <a:cs typeface="Open Sans" panose="020B0606030504020204" pitchFamily="34" charset="0"/>
                        </a:rPr>
                        <a:t>Transition to Omnia/Levvia</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mn-lt"/>
                          <a:ea typeface="Open Sans" panose="020B0606030504020204" pitchFamily="34" charset="0"/>
                          <a:cs typeface="Open Sans" panose="020B0606030504020204" pitchFamily="34" charset="0"/>
                        </a:rPr>
                        <a:t>Monitoring Quality &amp; Adoption</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mn-lt"/>
                          <a:ea typeface="Open Sans" panose="020B0606030504020204" pitchFamily="34" charset="0"/>
                          <a:cs typeface="Open Sans" panose="020B0606030504020204" pitchFamily="34" charset="0"/>
                        </a:rPr>
                        <a:t>Automate  Bots</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mn-lt"/>
                          <a:ea typeface="Open Sans" panose="020B0606030504020204" pitchFamily="34" charset="0"/>
                          <a:cs typeface="Open Sans" panose="020B0606030504020204" pitchFamily="34" charset="0"/>
                        </a:rPr>
                        <a:t>Support and Ongoing Maintenance</a:t>
                      </a:r>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extLst>
                  <a:ext uri="{0D108BD9-81ED-4DB2-BD59-A6C34878D82A}">
                    <a16:rowId xmlns:a16="http://schemas.microsoft.com/office/drawing/2014/main" val="452334751"/>
                  </a:ext>
                </a:extLst>
              </a:tr>
              <a:tr h="255356">
                <a:tc>
                  <a:txBody>
                    <a:bodyPr/>
                    <a:lstStyle/>
                    <a:p>
                      <a:pPr algn="l" fontAlgn="b"/>
                      <a:r>
                        <a:rPr lang="en-US" sz="1100" b="1" i="0" u="none" strike="noStrike">
                          <a:solidFill>
                            <a:srgbClr val="001035"/>
                          </a:solidFill>
                          <a:effectLst/>
                          <a:latin typeface="+mn-lt"/>
                          <a:ea typeface="Open Sans" panose="020B0606030504020204" pitchFamily="34" charset="0"/>
                          <a:cs typeface="Open Sans" panose="020B0606030504020204" pitchFamily="34" charset="0"/>
                        </a:rPr>
                        <a:t>RADC BUSY SEASON ENHANCEMENTS</a:t>
                      </a: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extLst>
                  <a:ext uri="{0D108BD9-81ED-4DB2-BD59-A6C34878D82A}">
                    <a16:rowId xmlns:a16="http://schemas.microsoft.com/office/drawing/2014/main" val="990911571"/>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Performance Improvements to support Skills Academy /increased Users</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ll</a:t>
                      </a:r>
                    </a:p>
                  </a:txBody>
                  <a:tcPr marL="4075" marR="4075" marT="4075" marB="0" anchor="ct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Database Analysi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X</a:t>
                      </a:r>
                    </a:p>
                  </a:txBody>
                  <a:tcPr marL="4075" marR="4075" marT="4075" marB="0" anchor="b"/>
                </a:tc>
                <a:extLst>
                  <a:ext uri="{0D108BD9-81ED-4DB2-BD59-A6C34878D82A}">
                    <a16:rowId xmlns:a16="http://schemas.microsoft.com/office/drawing/2014/main" val="2762958436"/>
                  </a:ext>
                </a:extLst>
              </a:tr>
              <a:tr h="186572">
                <a:tc>
                  <a:txBody>
                    <a:bodyPr/>
                    <a:lstStyle/>
                    <a:p>
                      <a:pPr algn="l" fontAlgn="b"/>
                      <a:r>
                        <a:rPr lang="en-US" sz="1100" b="0" i="0" u="none" strike="noStrike">
                          <a:solidFill>
                            <a:schemeClr val="bg1"/>
                          </a:solidFill>
                          <a:effectLst/>
                          <a:latin typeface="+mn-lt"/>
                          <a:ea typeface="Open Sans" panose="020B0606030504020204" pitchFamily="34" charset="0"/>
                          <a:cs typeface="Open Sans" panose="020B0606030504020204" pitchFamily="34" charset="0"/>
                        </a:rPr>
                        <a:t>List View_ Created By</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utocr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X</a:t>
                      </a:r>
                    </a:p>
                  </a:txBody>
                  <a:tcPr marL="4075" marR="4075" marT="4075" marB="0" anchor="b"/>
                </a:tc>
                <a:extLst>
                  <a:ext uri="{0D108BD9-81ED-4DB2-BD59-A6C34878D82A}">
                    <a16:rowId xmlns:a16="http://schemas.microsoft.com/office/drawing/2014/main" val="4147442882"/>
                  </a:ext>
                </a:extLst>
              </a:tr>
              <a:tr h="346099">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Ability to Reorder Columns</a:t>
                      </a:r>
                    </a:p>
                    <a:p>
                      <a:pPr algn="l" fontAlgn="b"/>
                      <a:endParaRPr lang="en-US" sz="1100" b="0" i="0" u="none" strike="noStrike">
                        <a:solidFill>
                          <a:schemeClr val="bg1"/>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utocr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X</a:t>
                      </a:r>
                    </a:p>
                  </a:txBody>
                  <a:tcPr marL="4075" marR="4075" marT="4075" marB="0" anchor="b"/>
                </a:tc>
                <a:extLst>
                  <a:ext uri="{0D108BD9-81ED-4DB2-BD59-A6C34878D82A}">
                    <a16:rowId xmlns:a16="http://schemas.microsoft.com/office/drawing/2014/main" val="1763004184"/>
                  </a:ext>
                </a:extLst>
              </a:tr>
              <a:tr h="229154">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Ability for RADC user to create Iconfirm project from ADC portal</a:t>
                      </a:r>
                    </a:p>
                  </a:txBody>
                  <a:tcPr marL="4075" marR="4075" marT="4075" marB="0" anchor="ctr">
                    <a:solidFill>
                      <a:srgbClr val="001035"/>
                    </a:solidFill>
                  </a:tcPr>
                </a:tc>
                <a:tc>
                  <a:txBody>
                    <a:bodyPr/>
                    <a:lstStyle/>
                    <a:p>
                      <a:pPr algn="ctr" fontAlgn="b"/>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Technokats</a:t>
                      </a:r>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Iconfirm permission change</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2455313125"/>
                  </a:ext>
                </a:extLst>
              </a:tr>
              <a:tr h="303423">
                <a:tc>
                  <a:txBody>
                    <a:bodyPr/>
                    <a:lstStyle/>
                    <a:p>
                      <a:pPr algn="l" fontAlgn="b"/>
                      <a:r>
                        <a:rPr lang="en-US" sz="1100" b="1" i="0" u="none" strike="noStrike">
                          <a:solidFill>
                            <a:srgbClr val="001035"/>
                          </a:solidFill>
                          <a:effectLst/>
                          <a:latin typeface="+mn-lt"/>
                          <a:ea typeface="Open Sans" panose="020B0606030504020204" pitchFamily="34" charset="0"/>
                          <a:cs typeface="Open Sans" panose="020B0606030504020204" pitchFamily="34" charset="0"/>
                        </a:rPr>
                        <a:t>AUTO SCHEDULING ROADMAP</a:t>
                      </a:r>
                    </a:p>
                  </a:txBody>
                  <a:tcPr marL="4075" marR="4075" marT="4075" marB="0" anchor="ctr">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1035"/>
                        </a:solidFill>
                        <a:effectLst/>
                        <a:uLnTx/>
                        <a:uFillTx/>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1035"/>
                        </a:solidFill>
                        <a:effectLst/>
                        <a:uLnTx/>
                        <a:uFillTx/>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extLst>
                  <a:ext uri="{0D108BD9-81ED-4DB2-BD59-A6C34878D82A}">
                    <a16:rowId xmlns:a16="http://schemas.microsoft.com/office/drawing/2014/main" val="3174237798"/>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Auto-Scheduling: Assign Teams to Member Firms</a:t>
                      </a:r>
                    </a:p>
                  </a:txBody>
                  <a:tcPr marL="4075" marR="4075" marT="4075" marB="0" anchor="ctr">
                    <a:solidFill>
                      <a:srgbClr val="001035"/>
                    </a:solidFill>
                  </a:tcPr>
                </a:tc>
                <a:tc>
                  <a:txBody>
                    <a:bodyPr/>
                    <a:lstStyle/>
                    <a:p>
                      <a:pPr algn="ctr" fontAlgn="b"/>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Autocrats</a:t>
                      </a:r>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X</a:t>
                      </a:r>
                    </a:p>
                  </a:txBody>
                  <a:tcPr marL="4075" marR="4075" marT="4075" marB="0" anchor="b">
                    <a:solidFill>
                      <a:schemeClr val="bg1">
                        <a:lumMod val="85000"/>
                      </a:schemeClr>
                    </a:solidFill>
                  </a:tcPr>
                </a:tc>
                <a:extLst>
                  <a:ext uri="{0D108BD9-81ED-4DB2-BD59-A6C34878D82A}">
                    <a16:rowId xmlns:a16="http://schemas.microsoft.com/office/drawing/2014/main" val="1441826899"/>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Auto-Scheduling: View Office in List view/Assignment view</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utocrats</a:t>
                      </a:r>
                    </a:p>
                  </a:txBody>
                  <a:tcPr marL="4075" marR="4075" marT="4075" marB="0" anchor="ctr">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X</a:t>
                      </a:r>
                    </a:p>
                  </a:txBody>
                  <a:tcPr marL="4075" marR="4075" marT="4075" marB="0" anchor="b">
                    <a:solidFill>
                      <a:schemeClr val="bg1">
                        <a:lumMod val="85000"/>
                      </a:schemeClr>
                    </a:solidFill>
                  </a:tcPr>
                </a:tc>
                <a:extLst>
                  <a:ext uri="{0D108BD9-81ED-4DB2-BD59-A6C34878D82A}">
                    <a16:rowId xmlns:a16="http://schemas.microsoft.com/office/drawing/2014/main" val="953999054"/>
                  </a:ext>
                </a:extLst>
              </a:tr>
              <a:tr h="303423">
                <a:tc>
                  <a:txBody>
                    <a:bodyPr/>
                    <a:lstStyle/>
                    <a:p>
                      <a:pPr algn="l" fontAlgn="b"/>
                      <a:r>
                        <a:rPr lang="en-US" sz="1100" b="1" i="0" u="none" strike="noStrike">
                          <a:solidFill>
                            <a:srgbClr val="001035"/>
                          </a:solidFill>
                          <a:effectLst/>
                          <a:latin typeface="+mn-lt"/>
                          <a:ea typeface="Open Sans" panose="020B0606030504020204" pitchFamily="34" charset="0"/>
                          <a:cs typeface="Open Sans" panose="020B0606030504020204" pitchFamily="34" charset="0"/>
                        </a:rPr>
                        <a:t>GLOBAL RADC CONFIGURATION ENHANCMENTS</a:t>
                      </a:r>
                    </a:p>
                  </a:txBody>
                  <a:tcPr marL="4075" marR="4075" marT="4075" marB="0" anchor="ctr">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1035"/>
                        </a:solidFill>
                        <a:effectLst/>
                        <a:uLnTx/>
                        <a:uFillTx/>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100" b="1" i="0" u="none" strike="noStrike">
                        <a:solidFill>
                          <a:srgbClr val="001035"/>
                        </a:solidFill>
                        <a:effectLst/>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1035"/>
                        </a:solidFill>
                        <a:effectLst/>
                        <a:uLnTx/>
                        <a:uFillTx/>
                        <a:latin typeface="+mn-lt"/>
                        <a:ea typeface="Open Sans" panose="020B0606030504020204" pitchFamily="34" charset="0"/>
                        <a:cs typeface="Open Sans" panose="020B0606030504020204" pitchFamily="34" charset="0"/>
                      </a:endParaRPr>
                    </a:p>
                  </a:txBody>
                  <a:tcPr marL="4075" marR="4075" marT="4075" marB="0" anchor="b">
                    <a:solidFill>
                      <a:srgbClr val="62B5E5"/>
                    </a:solidFill>
                  </a:tcPr>
                </a:tc>
                <a:extLst>
                  <a:ext uri="{0D108BD9-81ED-4DB2-BD59-A6C34878D82A}">
                    <a16:rowId xmlns:a16="http://schemas.microsoft.com/office/drawing/2014/main" val="295400206"/>
                  </a:ext>
                </a:extLst>
              </a:tr>
              <a:tr h="0">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RADC Execution Plan Task Bulk Upload</a:t>
                      </a:r>
                    </a:p>
                    <a:p>
                      <a:pPr algn="l" fontAlgn="b"/>
                      <a:endParaRPr lang="en-US" sz="1100" b="0" i="0" u="none" strike="noStrike">
                        <a:solidFill>
                          <a:schemeClr val="bg1"/>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Technok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X</a:t>
                      </a:r>
                    </a:p>
                  </a:txBody>
                  <a:tcPr marL="4075" marR="4075" marT="4075" marB="0" anchor="b"/>
                </a:tc>
                <a:extLst>
                  <a:ext uri="{0D108BD9-81ED-4DB2-BD59-A6C34878D82A}">
                    <a16:rowId xmlns:a16="http://schemas.microsoft.com/office/drawing/2014/main" val="2302664960"/>
                  </a:ext>
                </a:extLst>
              </a:tr>
              <a:tr h="303423">
                <a:tc>
                  <a:txBody>
                    <a:bodyPr/>
                    <a:lstStyle/>
                    <a:p>
                      <a:pPr algn="l" fontAlgn="b"/>
                      <a:r>
                        <a:rPr lang="en-US" sz="1100" b="0" i="0" u="none" strike="noStrike">
                          <a:solidFill>
                            <a:schemeClr val="bg1"/>
                          </a:solidFill>
                          <a:effectLst/>
                          <a:latin typeface="+mn-lt"/>
                          <a:ea typeface="Open Sans" panose="020B0606030504020204" pitchFamily="34" charset="0"/>
                          <a:cs typeface="Open Sans" panose="020B0606030504020204" pitchFamily="34" charset="0"/>
                        </a:rPr>
                        <a:t>Allow removal of field even if request is in use</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Technok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1146233344"/>
                  </a:ext>
                </a:extLst>
              </a:tr>
              <a:tr h="266891">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100" b="1" u="none" strike="noStrike" kern="1200">
                          <a:solidFill>
                            <a:srgbClr val="001035"/>
                          </a:solidFill>
                          <a:effectLst/>
                          <a:latin typeface="+mn-lt"/>
                          <a:ea typeface="Open Sans" panose="020B0606030504020204" pitchFamily="34" charset="0"/>
                          <a:cs typeface="Open Sans" panose="020B0606030504020204" pitchFamily="34" charset="0"/>
                        </a:rPr>
                        <a:t>RADC Omnia Integration</a:t>
                      </a: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solidFill>
                      <a:schemeClr val="accent3"/>
                    </a:solidFill>
                  </a:tcPr>
                </a:tc>
                <a:extLst>
                  <a:ext uri="{0D108BD9-81ED-4DB2-BD59-A6C34878D82A}">
                    <a16:rowId xmlns:a16="http://schemas.microsoft.com/office/drawing/2014/main" val="1104709953"/>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100" b="1" u="none" strike="noStrike" kern="1200">
                          <a:solidFill>
                            <a:schemeClr val="bg1"/>
                          </a:solidFill>
                          <a:effectLst/>
                          <a:latin typeface="+mn-lt"/>
                          <a:ea typeface="Open Sans" panose="020B0606030504020204" pitchFamily="34" charset="0"/>
                          <a:cs typeface="Open Sans" panose="020B0606030504020204" pitchFamily="34" charset="0"/>
                        </a:rPr>
                        <a:t>RADC Portal Title Bar_Omnia</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Jamaica</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758439550"/>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100" b="1" u="none" strike="noStrike" kern="1200">
                          <a:solidFill>
                            <a:schemeClr val="bg1"/>
                          </a:solidFill>
                          <a:effectLst/>
                          <a:latin typeface="+mn-lt"/>
                          <a:ea typeface="Open Sans" panose="020B0606030504020204" pitchFamily="34" charset="0"/>
                          <a:cs typeface="Open Sans" panose="020B0606030504020204" pitchFamily="34" charset="0"/>
                        </a:rPr>
                        <a:t>RADC Listing_Omnia UX</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Jamaica</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X</a:t>
                      </a: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1208481740"/>
                  </a:ext>
                </a:extLst>
              </a:tr>
            </a:tbl>
          </a:graphicData>
        </a:graphic>
      </p:graphicFrame>
      <p:sp>
        <p:nvSpPr>
          <p:cNvPr id="5" name="Title 1">
            <a:extLst>
              <a:ext uri="{FF2B5EF4-FFF2-40B4-BE49-F238E27FC236}">
                <a16:creationId xmlns:a16="http://schemas.microsoft.com/office/drawing/2014/main" id="{3251E91F-7239-4E7A-9875-42D199409359}"/>
              </a:ext>
            </a:extLst>
          </p:cNvPr>
          <p:cNvSpPr txBox="1">
            <a:spLocks/>
          </p:cNvSpPr>
          <p:nvPr/>
        </p:nvSpPr>
        <p:spPr>
          <a:xfrm>
            <a:off x="247577" y="0"/>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Business Value – Feature Mapping | </a:t>
            </a:r>
            <a:r>
              <a:rPr lang="en-US" sz="1801" b="1">
                <a:latin typeface="Open Sans" panose="020B0606030504020204" pitchFamily="34" charset="0"/>
                <a:ea typeface="Open Sans" panose="020B0606030504020204" pitchFamily="34" charset="0"/>
                <a:cs typeface="Open Sans" panose="020B0606030504020204" pitchFamily="34" charset="0"/>
              </a:rPr>
              <a:t>RADC</a:t>
            </a:r>
            <a:endPar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072147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FBD2273-D8F8-4BC6-9989-AE46BDA26063}"/>
              </a:ext>
            </a:extLst>
          </p:cNvPr>
          <p:cNvGraphicFramePr>
            <a:graphicFrameLocks noGrp="1"/>
          </p:cNvGraphicFramePr>
          <p:nvPr>
            <p:extLst>
              <p:ext uri="{D42A27DB-BD31-4B8C-83A1-F6EECF244321}">
                <p14:modId xmlns:p14="http://schemas.microsoft.com/office/powerpoint/2010/main" val="2571444624"/>
              </p:ext>
            </p:extLst>
          </p:nvPr>
        </p:nvGraphicFramePr>
        <p:xfrm>
          <a:off x="247577" y="525553"/>
          <a:ext cx="11519872" cy="5258374"/>
        </p:xfrm>
        <a:graphic>
          <a:graphicData uri="http://schemas.openxmlformats.org/drawingml/2006/table">
            <a:tbl>
              <a:tblPr firstRow="1" firstCol="1">
                <a:tableStyleId>{073A0DAA-6AF3-43AB-8588-CEC1D06C72B9}</a:tableStyleId>
              </a:tblPr>
              <a:tblGrid>
                <a:gridCol w="4219987">
                  <a:extLst>
                    <a:ext uri="{9D8B030D-6E8A-4147-A177-3AD203B41FA5}">
                      <a16:colId xmlns:a16="http://schemas.microsoft.com/office/drawing/2014/main" val="792060426"/>
                    </a:ext>
                  </a:extLst>
                </a:gridCol>
                <a:gridCol w="1194785">
                  <a:extLst>
                    <a:ext uri="{9D8B030D-6E8A-4147-A177-3AD203B41FA5}">
                      <a16:colId xmlns:a16="http://schemas.microsoft.com/office/drawing/2014/main" val="2163654045"/>
                    </a:ext>
                  </a:extLst>
                </a:gridCol>
                <a:gridCol w="2378715">
                  <a:extLst>
                    <a:ext uri="{9D8B030D-6E8A-4147-A177-3AD203B41FA5}">
                      <a16:colId xmlns:a16="http://schemas.microsoft.com/office/drawing/2014/main" val="4292997195"/>
                    </a:ext>
                  </a:extLst>
                </a:gridCol>
                <a:gridCol w="537328">
                  <a:extLst>
                    <a:ext uri="{9D8B030D-6E8A-4147-A177-3AD203B41FA5}">
                      <a16:colId xmlns:a16="http://schemas.microsoft.com/office/drawing/2014/main" val="2152155282"/>
                    </a:ext>
                  </a:extLst>
                </a:gridCol>
                <a:gridCol w="537328">
                  <a:extLst>
                    <a:ext uri="{9D8B030D-6E8A-4147-A177-3AD203B41FA5}">
                      <a16:colId xmlns:a16="http://schemas.microsoft.com/office/drawing/2014/main" val="2805195837"/>
                    </a:ext>
                  </a:extLst>
                </a:gridCol>
                <a:gridCol w="490193">
                  <a:extLst>
                    <a:ext uri="{9D8B030D-6E8A-4147-A177-3AD203B41FA5}">
                      <a16:colId xmlns:a16="http://schemas.microsoft.com/office/drawing/2014/main" val="2771148117"/>
                    </a:ext>
                  </a:extLst>
                </a:gridCol>
                <a:gridCol w="575035">
                  <a:extLst>
                    <a:ext uri="{9D8B030D-6E8A-4147-A177-3AD203B41FA5}">
                      <a16:colId xmlns:a16="http://schemas.microsoft.com/office/drawing/2014/main" val="3197705583"/>
                    </a:ext>
                  </a:extLst>
                </a:gridCol>
                <a:gridCol w="584462">
                  <a:extLst>
                    <a:ext uri="{9D8B030D-6E8A-4147-A177-3AD203B41FA5}">
                      <a16:colId xmlns:a16="http://schemas.microsoft.com/office/drawing/2014/main" val="4238107078"/>
                    </a:ext>
                  </a:extLst>
                </a:gridCol>
                <a:gridCol w="480767">
                  <a:extLst>
                    <a:ext uri="{9D8B030D-6E8A-4147-A177-3AD203B41FA5}">
                      <a16:colId xmlns:a16="http://schemas.microsoft.com/office/drawing/2014/main" val="372272013"/>
                    </a:ext>
                  </a:extLst>
                </a:gridCol>
                <a:gridCol w="521272">
                  <a:extLst>
                    <a:ext uri="{9D8B030D-6E8A-4147-A177-3AD203B41FA5}">
                      <a16:colId xmlns:a16="http://schemas.microsoft.com/office/drawing/2014/main" val="1812577372"/>
                    </a:ext>
                  </a:extLst>
                </a:gridCol>
              </a:tblGrid>
              <a:tr h="2122547">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Feature</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solidFill>
                      <a:schemeClr val="accent4">
                        <a:lumMod val="50000"/>
                      </a:schemeClr>
                    </a:solidFill>
                  </a:tcPr>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Team</a:t>
                      </a:r>
                    </a:p>
                  </a:txBody>
                  <a:tcPr marL="4075" marR="4075" marT="4075" marB="0" vert="vert270" anchor="ctr">
                    <a:solidFill>
                      <a:srgbClr val="00B0F0"/>
                    </a:solidFill>
                  </a:tcPr>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Dependency</a:t>
                      </a:r>
                    </a:p>
                  </a:txBody>
                  <a:tcPr marL="4075" marR="4075" marT="4075" marB="0" vert="vert270" anchor="ctr">
                    <a:solidFill>
                      <a:srgbClr val="FF9900"/>
                    </a:solidFill>
                  </a:tcPr>
                </a:tc>
                <a:tc>
                  <a:txBody>
                    <a:bodyPr/>
                    <a:lstStyle/>
                    <a:p>
                      <a:pPr algn="ctr" fontAlgn="b"/>
                      <a:r>
                        <a:rPr lang="en-GB" sz="1000" b="0" u="none"/>
                        <a:t>DWW Acceleration</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marL="0" indent="0" algn="ctr" defTabSz="914367">
                        <a:spcBef>
                          <a:spcPts val="452"/>
                        </a:spcBef>
                        <a:buFont typeface="Arial"/>
                        <a:buNone/>
                        <a:defRPr/>
                      </a:pPr>
                      <a:r>
                        <a:rPr lang="en-US" sz="1000" b="0" u="none">
                          <a:cs typeface="Calibri"/>
                        </a:rPr>
                        <a:t>Ramp up RADC Usage</a:t>
                      </a: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Expand RADC Catalog</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Transition to Omnia/Levvia</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Monitoring Quality &amp; Adoption</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Automate  Bots</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Support and Ongoing Maintenance</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extLst>
                  <a:ext uri="{0D108BD9-81ED-4DB2-BD59-A6C34878D82A}">
                    <a16:rowId xmlns:a16="http://schemas.microsoft.com/office/drawing/2014/main" val="452334751"/>
                  </a:ext>
                </a:extLst>
              </a:tr>
              <a:tr h="323337">
                <a:tc>
                  <a:txBody>
                    <a:bodyPr/>
                    <a:lstStyle/>
                    <a:p>
                      <a:pPr algn="l" fontAlgn="b"/>
                      <a:r>
                        <a:rPr lang="en-US" sz="1100" b="1" i="0" u="none" strike="noStrike">
                          <a:solidFill>
                            <a:srgbClr val="001035"/>
                          </a:solidFill>
                          <a:effectLst/>
                          <a:latin typeface="+mn-lt"/>
                          <a:ea typeface="Open Sans" panose="020B0606030504020204" pitchFamily="34" charset="0"/>
                          <a:cs typeface="Open Sans" panose="020B0606030504020204" pitchFamily="34" charset="0"/>
                        </a:rPr>
                        <a:t>RADC Stretch</a:t>
                      </a: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extLst>
                  <a:ext uri="{0D108BD9-81ED-4DB2-BD59-A6C34878D82A}">
                    <a16:rowId xmlns:a16="http://schemas.microsoft.com/office/drawing/2014/main" val="990911571"/>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100" b="0" u="none" strike="noStrike" kern="1200">
                          <a:solidFill>
                            <a:schemeClr val="bg1"/>
                          </a:solidFill>
                          <a:effectLst/>
                          <a:latin typeface="+mn-lt"/>
                          <a:ea typeface="Open Sans" panose="020B0606030504020204" pitchFamily="34" charset="0"/>
                          <a:cs typeface="Open Sans" panose="020B0606030504020204" pitchFamily="34" charset="0"/>
                        </a:rPr>
                        <a:t>Ability to document Comments (Bulk Upload, Multi Submit, Copy/Carryforward)</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utocrats</a:t>
                      </a: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X</a:t>
                      </a:r>
                    </a:p>
                  </a:txBody>
                  <a:tcPr marL="4075" marR="4075" marT="4075" marB="0" anchor="b"/>
                </a:tc>
                <a:extLst>
                  <a:ext uri="{0D108BD9-81ED-4DB2-BD59-A6C34878D82A}">
                    <a16:rowId xmlns:a16="http://schemas.microsoft.com/office/drawing/2014/main" val="498896853"/>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rPr>
                        <a:t>RADC Request Configuration Bulk Upload</a:t>
                      </a:r>
                    </a:p>
                    <a:p>
                      <a:pPr algn="l" fontAlgn="b"/>
                      <a:endParaRPr lang="en-US" sz="1100" b="0" i="0" u="none" strike="noStrike">
                        <a:solidFill>
                          <a:schemeClr val="bg1"/>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Technokats</a:t>
                      </a: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tc>
                <a:extLst>
                  <a:ext uri="{0D108BD9-81ED-4DB2-BD59-A6C34878D82A}">
                    <a16:rowId xmlns:a16="http://schemas.microsoft.com/office/drawing/2014/main" val="2302664960"/>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100" b="0" u="none" strike="noStrike" kern="1200">
                          <a:solidFill>
                            <a:schemeClr val="bg1"/>
                          </a:solidFill>
                          <a:effectLst/>
                          <a:latin typeface="+mn-lt"/>
                          <a:ea typeface="Open Sans" panose="020B0606030504020204" pitchFamily="34" charset="0"/>
                          <a:cs typeface="Open Sans" panose="020B0606030504020204" pitchFamily="34" charset="0"/>
                        </a:rPr>
                        <a:t>Auto </a:t>
                      </a:r>
                      <a:r>
                        <a:rPr lang="en-US" sz="1100" b="0" u="none" strike="noStrike" kern="1200" err="1">
                          <a:solidFill>
                            <a:schemeClr val="bg1"/>
                          </a:solidFill>
                          <a:effectLst/>
                          <a:latin typeface="+mn-lt"/>
                          <a:ea typeface="Open Sans" panose="020B0606030504020204" pitchFamily="34" charset="0"/>
                          <a:cs typeface="Open Sans" panose="020B0606030504020204" pitchFamily="34" charset="0"/>
                        </a:rPr>
                        <a:t>Assign_Set</a:t>
                      </a:r>
                      <a:r>
                        <a:rPr lang="en-US" sz="1100" b="0" u="none" strike="noStrike" kern="1200">
                          <a:solidFill>
                            <a:schemeClr val="bg1"/>
                          </a:solidFill>
                          <a:effectLst/>
                          <a:latin typeface="+mn-lt"/>
                          <a:ea typeface="Open Sans" panose="020B0606030504020204" pitchFamily="34" charset="0"/>
                          <a:cs typeface="Open Sans" panose="020B0606030504020204" pitchFamily="34" charset="0"/>
                        </a:rPr>
                        <a:t> team by default</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utocrats</a:t>
                      </a: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3819577967"/>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100" b="0" u="none" strike="noStrike" kern="1200">
                          <a:solidFill>
                            <a:schemeClr val="bg1"/>
                          </a:solidFill>
                          <a:effectLst/>
                          <a:latin typeface="+mn-lt"/>
                          <a:ea typeface="Open Sans" panose="020B0606030504020204" pitchFamily="34" charset="0"/>
                          <a:cs typeface="Open Sans" panose="020B0606030504020204" pitchFamily="34" charset="0"/>
                        </a:rPr>
                        <a:t>JP Translation_Admin screen </a:t>
                      </a: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Kalini</a:t>
                      </a: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tc>
                <a:extLst>
                  <a:ext uri="{0D108BD9-81ED-4DB2-BD59-A6C34878D82A}">
                    <a16:rowId xmlns:a16="http://schemas.microsoft.com/office/drawing/2014/main" val="123900044"/>
                  </a:ext>
                </a:extLst>
              </a:tr>
              <a:tr h="313242">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1035"/>
                          </a:solidFill>
                          <a:effectLst/>
                          <a:uLnTx/>
                          <a:uFillTx/>
                          <a:latin typeface="+mn-lt"/>
                          <a:ea typeface="Open Sans" panose="020B0606030504020204" pitchFamily="34" charset="0"/>
                          <a:cs typeface="Open Sans" panose="020B0606030504020204" pitchFamily="34" charset="0"/>
                        </a:rPr>
                        <a:t>Document Transfer Enhancements</a:t>
                      </a: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extLst>
                  <a:ext uri="{0D108BD9-81ED-4DB2-BD59-A6C34878D82A}">
                    <a16:rowId xmlns:a16="http://schemas.microsoft.com/office/drawing/2014/main" val="3999986511"/>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100" b="0" kern="1200">
                          <a:solidFill>
                            <a:schemeClr val="lt1"/>
                          </a:solidFill>
                          <a:effectLst/>
                          <a:latin typeface="+mn-lt"/>
                          <a:ea typeface="+mn-ea"/>
                          <a:cs typeface="+mn-cs"/>
                        </a:rPr>
                        <a:t>Prevent uploading of working papers protected using DCRM</a:t>
                      </a:r>
                      <a:endParaRPr lang="en-US" sz="1100" b="0" u="none" strike="noStrike" kern="1200" noProof="0">
                        <a:solidFill>
                          <a:schemeClr val="bg1"/>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001035"/>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lang="en-US" sz="1100" b="1" u="none" strike="noStrike" kern="1200">
                          <a:solidFill>
                            <a:schemeClr val="tx1"/>
                          </a:solidFill>
                          <a:effectLst/>
                          <a:latin typeface="+mn-lt"/>
                          <a:ea typeface="Open Sans" panose="020B0606030504020204" pitchFamily="34" charset="0"/>
                          <a:cs typeface="Open Sans" panose="020B0606030504020204" pitchFamily="34" charset="0"/>
                        </a:rPr>
                        <a:t>Jamaica</a:t>
                      </a:r>
                    </a:p>
                  </a:txBody>
                  <a:tcPr marL="4075" marR="4075" marT="4075" marB="0" anchor="ctr">
                    <a:solidFill>
                      <a:schemeClr val="bg2"/>
                    </a:solidFill>
                  </a:tcPr>
                </a:tc>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endParaRPr lang="en-US" sz="1100" b="1" u="none" strike="noStrike" kern="1200">
                        <a:solidFill>
                          <a:schemeClr val="tx1"/>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bg2"/>
                    </a:solidFill>
                  </a:tcPr>
                </a:tc>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endParaRPr lang="en-US" sz="1100" b="1" u="none" strike="noStrike" kern="1200">
                        <a:solidFill>
                          <a:schemeClr val="tx1"/>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2"/>
                    </a:solidFill>
                  </a:tcPr>
                </a:tc>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endParaRPr lang="en-US" sz="1100" b="1" u="none" strike="noStrike" kern="1200" noProof="0">
                        <a:solidFill>
                          <a:schemeClr val="tx1"/>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2"/>
                    </a:solidFill>
                  </a:tcPr>
                </a:tc>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endParaRPr lang="en-US" sz="1100" b="1" u="none" strike="noStrike" kern="1200">
                        <a:solidFill>
                          <a:schemeClr val="tx1"/>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2"/>
                    </a:solidFill>
                  </a:tcPr>
                </a:tc>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endParaRPr lang="en-US" sz="1100" b="1" u="none" strike="noStrike" kern="1200">
                        <a:solidFill>
                          <a:schemeClr val="tx1"/>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2"/>
                    </a:solidFill>
                  </a:tcPr>
                </a:tc>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endParaRPr lang="en-US" sz="1100" b="1" u="none" strike="noStrike" kern="1200">
                        <a:solidFill>
                          <a:schemeClr val="tx1"/>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2"/>
                    </a:solidFill>
                  </a:tcPr>
                </a:tc>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endParaRPr lang="en-US" sz="1100" b="1" u="none" strike="noStrike" kern="1200">
                        <a:solidFill>
                          <a:schemeClr val="tx1"/>
                        </a:solidFill>
                        <a:effectLst/>
                        <a:latin typeface="+mn-lt"/>
                        <a:ea typeface="Open Sans" panose="020B0606030504020204" pitchFamily="34" charset="0"/>
                        <a:cs typeface="Open Sans" panose="020B0606030504020204" pitchFamily="34" charset="0"/>
                      </a:endParaRPr>
                    </a:p>
                  </a:txBody>
                  <a:tcPr marL="4075" marR="4075" marT="4075" marB="0" anchor="b">
                    <a:solidFill>
                      <a:schemeClr val="bg2"/>
                    </a:solidFill>
                  </a:tcPr>
                </a:tc>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100" b="1" u="none" strike="noStrike" kern="1200" noProof="0">
                          <a:solidFill>
                            <a:schemeClr val="tx1"/>
                          </a:solidFill>
                          <a:effectLst/>
                          <a:latin typeface="+mn-lt"/>
                          <a:ea typeface="Open Sans" panose="020B0606030504020204" pitchFamily="34" charset="0"/>
                          <a:cs typeface="Open Sans" panose="020B0606030504020204" pitchFamily="34" charset="0"/>
                        </a:rPr>
                        <a:t>X</a:t>
                      </a:r>
                    </a:p>
                  </a:txBody>
                  <a:tcPr marL="4075" marR="4075" marT="4075" marB="0" anchor="b">
                    <a:solidFill>
                      <a:schemeClr val="bg2"/>
                    </a:solidFill>
                  </a:tcPr>
                </a:tc>
                <a:extLst>
                  <a:ext uri="{0D108BD9-81ED-4DB2-BD59-A6C34878D82A}">
                    <a16:rowId xmlns:a16="http://schemas.microsoft.com/office/drawing/2014/main" val="2565310128"/>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1035"/>
                          </a:solidFill>
                          <a:effectLst/>
                          <a:uLnTx/>
                          <a:uFillTx/>
                          <a:latin typeface="+mn-lt"/>
                          <a:ea typeface="Open Sans" panose="020B0606030504020204" pitchFamily="34" charset="0"/>
                          <a:cs typeface="Open Sans" panose="020B0606030504020204" pitchFamily="34" charset="0"/>
                        </a:rPr>
                        <a:t>Omnia Working Paper Transition</a:t>
                      </a:r>
                    </a:p>
                  </a:txBody>
                  <a:tcPr marL="4075" marR="4075" marT="4075" marB="0" anchor="ctr">
                    <a:solidFill>
                      <a:schemeClr val="accent3"/>
                    </a:solidFill>
                  </a:tcPr>
                </a:tc>
                <a:tc>
                  <a:txBody>
                    <a:bodyPr/>
                    <a:lstStyle/>
                    <a:p>
                      <a:pPr algn="ctr" fontAlgn="b"/>
                      <a:endParaRPr lang="en-US" sz="11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accent3"/>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solidFill>
                      <a:schemeClr val="accent3"/>
                    </a:solidFill>
                  </a:tcPr>
                </a:tc>
                <a:extLst>
                  <a:ext uri="{0D108BD9-81ED-4DB2-BD59-A6C34878D82A}">
                    <a16:rowId xmlns:a16="http://schemas.microsoft.com/office/drawing/2014/main" val="3082947814"/>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100" b="0" kern="1200">
                          <a:solidFill>
                            <a:schemeClr val="lt1"/>
                          </a:solidFill>
                          <a:effectLst/>
                          <a:latin typeface="+mn-lt"/>
                          <a:ea typeface="+mn-ea"/>
                          <a:cs typeface="+mn-cs"/>
                        </a:rPr>
                        <a:t>Option to merge working paper ref number and name​</a:t>
                      </a:r>
                      <a:endParaRPr kumimoji="0" lang="en-US" sz="1100" b="0" i="0" u="none" strike="noStrike" kern="1200" cap="none" spc="0" normalizeH="0" baseline="0" noProof="0">
                        <a:ln>
                          <a:noFill/>
                        </a:ln>
                        <a:solidFill>
                          <a:schemeClr val="bg1"/>
                        </a:solidFill>
                        <a:effectLst/>
                        <a:uLnTx/>
                        <a:uFillTx/>
                        <a:latin typeface="+mn-lt"/>
                        <a:ea typeface="Open Sans" panose="020B0606030504020204" pitchFamily="34" charset="0"/>
                        <a:cs typeface="Open Sans" panose="020B0606030504020204" pitchFamily="34" charset="0"/>
                      </a:endParaRPr>
                    </a:p>
                  </a:txBody>
                  <a:tcPr marL="4075" marR="4075" marT="4075" marB="0" anchor="ctr">
                    <a:solidFill>
                      <a:srgbClr val="00103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Jamaica</a:t>
                      </a:r>
                    </a:p>
                  </a:txBody>
                  <a:tcPr marL="4075" marR="4075" marT="4075" marB="0" anchor="ctr">
                    <a:solidFill>
                      <a:schemeClr val="bg1">
                        <a:lumMod val="85000"/>
                      </a:schemeClr>
                    </a:solidFill>
                  </a:tcPr>
                </a:tc>
                <a:tc>
                  <a:txBody>
                    <a:bodyPr/>
                    <a:lstStyle/>
                    <a:p>
                      <a:pPr algn="ctr" fontAlgn="b"/>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chemeClr val="bg1">
                        <a:lumMod val="85000"/>
                      </a:schemeClr>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chemeClr val="bg1">
                        <a:lumMod val="85000"/>
                      </a:schemeClr>
                    </a:solidFill>
                  </a:tcPr>
                </a:tc>
                <a:extLst>
                  <a:ext uri="{0D108BD9-81ED-4DB2-BD59-A6C34878D82A}">
                    <a16:rowId xmlns:a16="http://schemas.microsoft.com/office/drawing/2014/main" val="3712586672"/>
                  </a:ext>
                </a:extLst>
              </a:tr>
              <a:tr h="303423">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1035"/>
                          </a:solidFill>
                          <a:effectLst/>
                          <a:uLnTx/>
                          <a:uFillTx/>
                          <a:latin typeface="+mn-lt"/>
                          <a:ea typeface="Open Sans" panose="020B0606030504020204" pitchFamily="34" charset="0"/>
                          <a:cs typeface="Open Sans" panose="020B0606030504020204" pitchFamily="34" charset="0"/>
                        </a:rPr>
                        <a:t>Tech Debt</a:t>
                      </a:r>
                      <a:r>
                        <a:rPr lang="en-US" sz="1100" b="1">
                          <a:solidFill>
                            <a:srgbClr val="001035"/>
                          </a:solidFill>
                          <a:latin typeface="+mn-lt"/>
                          <a:ea typeface="Open Sans" panose="020B0606030504020204" pitchFamily="34" charset="0"/>
                          <a:cs typeface="Open Sans" panose="020B0606030504020204" pitchFamily="34" charset="0"/>
                        </a:rPr>
                        <a:t> </a:t>
                      </a:r>
                      <a:r>
                        <a:rPr kumimoji="0" lang="en-US" sz="1100" b="1" i="0" u="none" strike="noStrike" kern="1200" cap="none" spc="0" normalizeH="0" baseline="0" noProof="0">
                          <a:ln>
                            <a:noFill/>
                          </a:ln>
                          <a:solidFill>
                            <a:srgbClr val="001035"/>
                          </a:solidFill>
                          <a:effectLst/>
                          <a:uLnTx/>
                          <a:uFillTx/>
                          <a:latin typeface="+mn-lt"/>
                          <a:ea typeface="Open Sans" panose="020B0606030504020204" pitchFamily="34" charset="0"/>
                          <a:cs typeface="Open Sans" panose="020B0606030504020204" pitchFamily="34" charset="0"/>
                        </a:rPr>
                        <a:t>and Defect Fixes</a:t>
                      </a:r>
                    </a:p>
                  </a:txBody>
                  <a:tcPr marL="4075" marR="4075" marT="4075" marB="0" anchor="ctr">
                    <a:solidFill>
                      <a:srgbClr val="62B5E5"/>
                    </a:solidFill>
                  </a:tcPr>
                </a:tc>
                <a:tc>
                  <a:txBody>
                    <a:bodyPr/>
                    <a:lstStyle/>
                    <a:p>
                      <a:pPr algn="ctr" fontAlgn="b"/>
                      <a:r>
                        <a:rPr lang="en-US" sz="1100" b="1" i="0" u="none" strike="noStrike">
                          <a:solidFill>
                            <a:srgbClr val="000000"/>
                          </a:solidFill>
                          <a:effectLst/>
                          <a:latin typeface="+mn-lt"/>
                          <a:ea typeface="Open Sans" panose="020B0606030504020204" pitchFamily="34" charset="0"/>
                          <a:cs typeface="Open Sans" panose="020B0606030504020204" pitchFamily="34" charset="0"/>
                        </a:rPr>
                        <a:t>All</a:t>
                      </a:r>
                    </a:p>
                  </a:txBody>
                  <a:tcPr marL="4075" marR="4075" marT="4075" marB="0" anchor="ctr">
                    <a:solidFill>
                      <a:srgbClr val="62B5E5"/>
                    </a:solidFill>
                  </a:tcPr>
                </a:tc>
                <a:tc>
                  <a:txBody>
                    <a:bodyPr/>
                    <a:lstStyle/>
                    <a:p>
                      <a:pPr algn="ctr" fontAlgn="b"/>
                      <a:endParaRPr lang="en-US" sz="1000" b="1" i="0" u="none" strike="noStrike">
                        <a:solidFill>
                          <a:srgbClr val="000000"/>
                        </a:solidFill>
                        <a:effectLst/>
                        <a:latin typeface="+mn-lt"/>
                        <a:ea typeface="Open Sans" panose="020B0606030504020204" pitchFamily="34" charset="0"/>
                        <a:cs typeface="Open Sans" panose="020B0606030504020204" pitchFamily="34" charset="0"/>
                      </a:endParaRPr>
                    </a:p>
                  </a:txBody>
                  <a:tcPr marL="4075" marR="4075" marT="4075" marB="0" anchor="ctr">
                    <a:solidFill>
                      <a:srgbClr val="62B5E5"/>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solidFill>
                      <a:srgbClr val="62B5E5"/>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b">
                    <a:solidFill>
                      <a:srgbClr val="62B5E5"/>
                    </a:solidFill>
                  </a:tcPr>
                </a:tc>
                <a:extLst>
                  <a:ext uri="{0D108BD9-81ED-4DB2-BD59-A6C34878D82A}">
                    <a16:rowId xmlns:a16="http://schemas.microsoft.com/office/drawing/2014/main" val="3796561803"/>
                  </a:ext>
                </a:extLst>
              </a:tr>
            </a:tbl>
          </a:graphicData>
        </a:graphic>
      </p:graphicFrame>
      <p:sp>
        <p:nvSpPr>
          <p:cNvPr id="5" name="Title 1">
            <a:extLst>
              <a:ext uri="{FF2B5EF4-FFF2-40B4-BE49-F238E27FC236}">
                <a16:creationId xmlns:a16="http://schemas.microsoft.com/office/drawing/2014/main" id="{3251E91F-7239-4E7A-9875-42D199409359}"/>
              </a:ext>
            </a:extLst>
          </p:cNvPr>
          <p:cNvSpPr txBox="1">
            <a:spLocks/>
          </p:cNvSpPr>
          <p:nvPr/>
        </p:nvSpPr>
        <p:spPr>
          <a:xfrm>
            <a:off x="247577" y="0"/>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685792" rtl="0" eaLnBrk="1" fontAlgn="auto" latinLnBrk="0" hangingPunct="1">
              <a:lnSpc>
                <a:spcPct val="90000"/>
              </a:lnSpc>
              <a:spcBef>
                <a:spcPct val="0"/>
              </a:spcBef>
              <a:spcAft>
                <a:spcPts val="0"/>
              </a:spcAft>
              <a:buClrTx/>
              <a:buSzTx/>
              <a:buFontTx/>
              <a:buNone/>
              <a:tabLst/>
              <a:defRPr/>
            </a:pPr>
            <a:r>
              <a:rPr kumimoji="0" lang="en-US" sz="1801" b="1" i="0"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Business Value – Feature Mapping | </a:t>
            </a:r>
            <a:r>
              <a:rPr kumimoji="0" lang="en-US" sz="1801"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ADC</a:t>
            </a:r>
            <a:endParaRPr kumimoji="0" lang="en-US" sz="1801" b="1" i="0"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12473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BFB0C01-4024-4DDF-BB08-6AA678F60360}"/>
              </a:ext>
            </a:extLst>
          </p:cNvPr>
          <p:cNvGraphicFramePr>
            <a:graphicFrameLocks noGrp="1"/>
          </p:cNvGraphicFramePr>
          <p:nvPr>
            <p:extLst>
              <p:ext uri="{D42A27DB-BD31-4B8C-83A1-F6EECF244321}">
                <p14:modId xmlns:p14="http://schemas.microsoft.com/office/powerpoint/2010/main" val="34281970"/>
              </p:ext>
            </p:extLst>
          </p:nvPr>
        </p:nvGraphicFramePr>
        <p:xfrm>
          <a:off x="231355" y="813321"/>
          <a:ext cx="11641336" cy="4296850"/>
        </p:xfrm>
        <a:graphic>
          <a:graphicData uri="http://schemas.openxmlformats.org/drawingml/2006/table">
            <a:tbl>
              <a:tblPr firstRow="1" firstCol="1">
                <a:tableStyleId>{073A0DAA-6AF3-43AB-8588-CEC1D06C72B9}</a:tableStyleId>
              </a:tblPr>
              <a:tblGrid>
                <a:gridCol w="4326107">
                  <a:extLst>
                    <a:ext uri="{9D8B030D-6E8A-4147-A177-3AD203B41FA5}">
                      <a16:colId xmlns:a16="http://schemas.microsoft.com/office/drawing/2014/main" val="792060426"/>
                    </a:ext>
                  </a:extLst>
                </a:gridCol>
                <a:gridCol w="1444041">
                  <a:extLst>
                    <a:ext uri="{9D8B030D-6E8A-4147-A177-3AD203B41FA5}">
                      <a16:colId xmlns:a16="http://schemas.microsoft.com/office/drawing/2014/main" val="2618122881"/>
                    </a:ext>
                  </a:extLst>
                </a:gridCol>
                <a:gridCol w="774693">
                  <a:extLst>
                    <a:ext uri="{9D8B030D-6E8A-4147-A177-3AD203B41FA5}">
                      <a16:colId xmlns:a16="http://schemas.microsoft.com/office/drawing/2014/main" val="2152155282"/>
                    </a:ext>
                  </a:extLst>
                </a:gridCol>
                <a:gridCol w="906244">
                  <a:extLst>
                    <a:ext uri="{9D8B030D-6E8A-4147-A177-3AD203B41FA5}">
                      <a16:colId xmlns:a16="http://schemas.microsoft.com/office/drawing/2014/main" val="2805195837"/>
                    </a:ext>
                  </a:extLst>
                </a:gridCol>
                <a:gridCol w="906244">
                  <a:extLst>
                    <a:ext uri="{9D8B030D-6E8A-4147-A177-3AD203B41FA5}">
                      <a16:colId xmlns:a16="http://schemas.microsoft.com/office/drawing/2014/main" val="2771148117"/>
                    </a:ext>
                  </a:extLst>
                </a:gridCol>
                <a:gridCol w="847777">
                  <a:extLst>
                    <a:ext uri="{9D8B030D-6E8A-4147-A177-3AD203B41FA5}">
                      <a16:colId xmlns:a16="http://schemas.microsoft.com/office/drawing/2014/main" val="3197705583"/>
                    </a:ext>
                  </a:extLst>
                </a:gridCol>
                <a:gridCol w="862391">
                  <a:extLst>
                    <a:ext uri="{9D8B030D-6E8A-4147-A177-3AD203B41FA5}">
                      <a16:colId xmlns:a16="http://schemas.microsoft.com/office/drawing/2014/main" val="4238107078"/>
                    </a:ext>
                  </a:extLst>
                </a:gridCol>
                <a:gridCol w="716222">
                  <a:extLst>
                    <a:ext uri="{9D8B030D-6E8A-4147-A177-3AD203B41FA5}">
                      <a16:colId xmlns:a16="http://schemas.microsoft.com/office/drawing/2014/main" val="372272013"/>
                    </a:ext>
                  </a:extLst>
                </a:gridCol>
                <a:gridCol w="857617">
                  <a:extLst>
                    <a:ext uri="{9D8B030D-6E8A-4147-A177-3AD203B41FA5}">
                      <a16:colId xmlns:a16="http://schemas.microsoft.com/office/drawing/2014/main" val="1812577372"/>
                    </a:ext>
                  </a:extLst>
                </a:gridCol>
              </a:tblGrid>
              <a:tr h="2485679">
                <a:tc>
                  <a:txBody>
                    <a:bodyPr/>
                    <a:lstStyle/>
                    <a:p>
                      <a:pPr algn="ctr" fontAlgn="b"/>
                      <a:r>
                        <a:rPr lang="en-US" sz="1000" u="none" strike="noStrike">
                          <a:effectLst/>
                          <a:latin typeface="Open Sans"/>
                          <a:ea typeface="Open Sans"/>
                          <a:cs typeface="Open Sans"/>
                        </a:rPr>
                        <a:t>FEATURES</a:t>
                      </a:r>
                      <a:endParaRPr lang="en-US" sz="1000" b="1" i="0" u="none" strike="noStrike">
                        <a:solidFill>
                          <a:srgbClr val="000000"/>
                        </a:solidFill>
                        <a:effectLst/>
                        <a:latin typeface="Open Sans"/>
                        <a:ea typeface="Open Sans"/>
                        <a:cs typeface="Open Sans"/>
                      </a:endParaRPr>
                    </a:p>
                  </a:txBody>
                  <a:tcPr marL="4075" marR="4075" marT="4075" marB="0" anchor="ctr">
                    <a:solidFill>
                      <a:schemeClr val="accent4">
                        <a:lumMod val="50000"/>
                      </a:schemeClr>
                    </a:solidFill>
                  </a:tcPr>
                </a:tc>
                <a:tc>
                  <a:txBody>
                    <a:bodyPr/>
                    <a:lstStyle/>
                    <a:p>
                      <a:pPr algn="ctr" fontAlgn="b"/>
                      <a:r>
                        <a:rPr lang="en-US" sz="1000" b="1" i="0" u="none" strike="noStrike">
                          <a:solidFill>
                            <a:srgbClr val="000000"/>
                          </a:solidFill>
                          <a:effectLst/>
                          <a:latin typeface="Open Sans"/>
                          <a:ea typeface="Open Sans"/>
                          <a:cs typeface="Open Sans"/>
                        </a:rPr>
                        <a:t>Team</a:t>
                      </a:r>
                    </a:p>
                  </a:txBody>
                  <a:tcPr marL="4075" marR="4075" marT="4075" marB="0" vert="vert270" anchor="ctr">
                    <a:solidFill>
                      <a:srgbClr val="00B0F0"/>
                    </a:solidFill>
                  </a:tcPr>
                </a:tc>
                <a:tc>
                  <a:txBody>
                    <a:bodyPr/>
                    <a:lstStyle/>
                    <a:p>
                      <a:pPr algn="ctr" fontAlgn="b"/>
                      <a:r>
                        <a:rPr lang="en-US" sz="1000" u="none" strike="noStrike">
                          <a:effectLst/>
                          <a:latin typeface="Open Sans"/>
                          <a:ea typeface="Open Sans"/>
                          <a:cs typeface="Open Sans"/>
                        </a:rPr>
                        <a:t>Continued DWW Acceleration</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RADC Ramp Up</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Expand RADC Catalog</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Transition to Omnia/Levvia</a:t>
                      </a:r>
                      <a:endParaRPr lang="en-US" sz="1000" b="1" i="0" u="none" strike="noStrike" err="1">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Monitoring Quality &amp; Adoption</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Automate  Bots</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Support and Ongoing Maintenance</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extLst>
                  <a:ext uri="{0D108BD9-81ED-4DB2-BD59-A6C34878D82A}">
                    <a16:rowId xmlns:a16="http://schemas.microsoft.com/office/drawing/2014/main" val="452334751"/>
                  </a:ext>
                </a:extLst>
              </a:tr>
              <a:tr h="277480">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000" b="1" i="0" u="none" strike="noStrike">
                          <a:solidFill>
                            <a:schemeClr val="bg1"/>
                          </a:solidFill>
                          <a:effectLst/>
                          <a:latin typeface="Open Sans"/>
                          <a:ea typeface="Open Sans"/>
                          <a:cs typeface="Open Sans"/>
                        </a:rPr>
                        <a:t>DIAGNOSTICS QLIKVIEW (QV) &amp; DATABASE (CORE)</a:t>
                      </a:r>
                    </a:p>
                  </a:txBody>
                  <a:tcPr marL="4075" marR="4075" marT="4075" marB="0" anchor="ctr">
                    <a:solidFill>
                      <a:schemeClr val="accent4">
                        <a:lumMod val="50000"/>
                      </a:schemeClr>
                    </a:solidFill>
                  </a:tcPr>
                </a:tc>
                <a:tc>
                  <a:txBody>
                    <a:bodyPr/>
                    <a:lstStyle/>
                    <a:p>
                      <a:pPr algn="ctr" fontAlgn="b"/>
                      <a:endPar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912464878"/>
                  </a:ext>
                </a:extLst>
              </a:tr>
              <a:tr h="292323">
                <a:tc>
                  <a:txBody>
                    <a:bodyPr/>
                    <a:lstStyle/>
                    <a:p>
                      <a:pPr marL="228600" indent="-228600">
                        <a:buFont typeface="+mj-lt"/>
                        <a:buAutoNum type="arabicPeriod"/>
                      </a:pPr>
                      <a:r>
                        <a:rPr lang="en-US" sz="1000" b="0">
                          <a:latin typeface="Open Sans"/>
                          <a:ea typeface="Open Sans"/>
                          <a:cs typeface="Open Sans"/>
                        </a:rPr>
                        <a:t>Qlikview: Working Paper Report</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Open Sans"/>
                          <a:ea typeface="Open Sans"/>
                          <a:cs typeface="Open Sans"/>
                        </a:rPr>
                        <a:t>Data Dynamics</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r>
                        <a:rPr lang="en-US" sz="1000" b="1" i="0" u="none" strike="noStrike">
                          <a:solidFill>
                            <a:srgbClr val="000000"/>
                          </a:solidFill>
                          <a:effectLst/>
                          <a:latin typeface="Open Sans"/>
                          <a:ea typeface="Open Sans"/>
                          <a:cs typeface="Open Sans"/>
                        </a:rPr>
                        <a:t>X</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578989787"/>
                  </a:ext>
                </a:extLst>
              </a:tr>
              <a:tr h="277480">
                <a:tc>
                  <a:txBody>
                    <a:bodyPr/>
                    <a:lstStyle/>
                    <a:p>
                      <a:pPr marL="0" indent="0">
                        <a:buFont typeface="+mj-lt"/>
                        <a:buNone/>
                      </a:pPr>
                      <a:r>
                        <a:rPr lang="en-US" sz="1000" b="0">
                          <a:latin typeface="Open Sans"/>
                          <a:ea typeface="Open Sans"/>
                          <a:cs typeface="Open Sans"/>
                        </a:rPr>
                        <a:t>2.   </a:t>
                      </a:r>
                      <a:r>
                        <a:rPr lang="en-US" sz="1000" b="0" i="0" u="none" strike="noStrike" noProof="0">
                          <a:solidFill>
                            <a:schemeClr val="bg1"/>
                          </a:solidFill>
                          <a:latin typeface="Open Sans"/>
                        </a:rPr>
                        <a:t>Qlikview &amp; Quality Dashboards: Risk Decisions in Benchmarking </a:t>
                      </a:r>
                      <a:endParaRPr lang="en-US" sz="1000" b="0">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Open Sans"/>
                          <a:ea typeface="Open Sans"/>
                          <a:cs typeface="Open Sans"/>
                        </a:rPr>
                        <a:t>Data Dynamics</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r>
                        <a:rPr lang="en-US" sz="1000" b="1" i="0" u="none" strike="noStrike">
                          <a:solidFill>
                            <a:srgbClr val="000000"/>
                          </a:solidFill>
                          <a:effectLst/>
                          <a:latin typeface="Open Sans"/>
                          <a:ea typeface="Open Sans"/>
                          <a:cs typeface="Open Sans"/>
                        </a:rPr>
                        <a:t>X</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a:ea typeface="Open Sans"/>
                        <a:cs typeface="Open Sans"/>
                      </a:endParaRPr>
                    </a:p>
                  </a:txBody>
                  <a:tcPr marL="4075" marR="4075" marT="4075" marB="0" anchor="b"/>
                </a:tc>
                <a:extLst>
                  <a:ext uri="{0D108BD9-81ED-4DB2-BD59-A6C34878D82A}">
                    <a16:rowId xmlns:a16="http://schemas.microsoft.com/office/drawing/2014/main" val="320782646"/>
                  </a:ext>
                </a:extLst>
              </a:tr>
              <a:tr h="377533">
                <a:tc>
                  <a:txBody>
                    <a:bodyPr/>
                    <a:lstStyle/>
                    <a:p>
                      <a:pPr marL="228600" indent="-228600" algn="l" fontAlgn="b">
                        <a:buFont typeface="+mj-lt"/>
                        <a:buAutoNum type="arabicPeriod" startAt="3"/>
                      </a:pPr>
                      <a:r>
                        <a:rPr lang="en-US" sz="1000" b="0" i="0" u="none" strike="noStrike">
                          <a:solidFill>
                            <a:schemeClr val="bg1"/>
                          </a:solidFill>
                          <a:effectLst/>
                          <a:latin typeface="Open Sans"/>
                          <a:ea typeface="Open Sans"/>
                          <a:cs typeface="Open Sans"/>
                        </a:rPr>
                        <a:t>DB: Minor enhancements to Audit Quality Milestones (supplemental data files)</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Open Sans"/>
                          <a:ea typeface="Open Sans"/>
                          <a:cs typeface="Open Sans"/>
                        </a:rPr>
                        <a:t>Data Dynamics</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r>
                        <a:rPr lang="en-US" sz="1000" b="1" i="0" u="none" strike="noStrike">
                          <a:solidFill>
                            <a:srgbClr val="000000"/>
                          </a:solidFill>
                          <a:effectLst/>
                          <a:latin typeface="Open Sans"/>
                          <a:ea typeface="Open Sans"/>
                          <a:cs typeface="Open Sans"/>
                        </a:rPr>
                        <a:t>X</a:t>
                      </a:r>
                    </a:p>
                  </a:txBody>
                  <a:tcPr marL="4075" marR="4075" marT="4075" marB="0" anchor="b"/>
                </a:tc>
                <a:extLst>
                  <a:ext uri="{0D108BD9-81ED-4DB2-BD59-A6C34878D82A}">
                    <a16:rowId xmlns:a16="http://schemas.microsoft.com/office/drawing/2014/main" val="2469651322"/>
                  </a:ext>
                </a:extLst>
              </a:tr>
              <a:tr h="285750">
                <a:tc>
                  <a:txBody>
                    <a:bodyPr/>
                    <a:lstStyle/>
                    <a:p>
                      <a:pPr marL="0" indent="0" algn="l" fontAlgn="b">
                        <a:buNone/>
                      </a:pPr>
                      <a:r>
                        <a:rPr lang="en-US" sz="1000" b="0" i="0" u="none" strike="noStrike">
                          <a:solidFill>
                            <a:schemeClr val="bg1"/>
                          </a:solidFill>
                          <a:effectLst/>
                          <a:latin typeface="Open Sans"/>
                          <a:ea typeface="Open Sans"/>
                          <a:cs typeface="Open Sans"/>
                        </a:rPr>
                        <a:t>4.  </a:t>
                      </a:r>
                      <a:r>
                        <a:rPr lang="en-US" sz="1000" b="0" i="0" u="none" strike="noStrike" noProof="0">
                          <a:solidFill>
                            <a:schemeClr val="bg1"/>
                          </a:solidFill>
                          <a:effectLst/>
                          <a:latin typeface="Open Sans"/>
                        </a:rPr>
                        <a:t> Performance Enhancements to Qlikview and Quality Dashboards</a:t>
                      </a:r>
                      <a:endParaRPr lang="en-US" sz="1000" b="1" i="0" u="none" strike="noStrike" noProof="0">
                        <a:effectLst/>
                      </a:endParaRPr>
                    </a:p>
                    <a:p>
                      <a:pPr marL="0" lvl="0" indent="0" algn="l">
                        <a:buNone/>
                      </a:pPr>
                      <a:endParaRPr lang="en-US" sz="1000" b="0" i="0" u="none" strike="noStrike">
                        <a:solidFill>
                          <a:schemeClr val="bg1"/>
                        </a:solidFill>
                        <a:effectLst/>
                        <a:latin typeface="Open Sans"/>
                        <a:ea typeface="Open Sans"/>
                        <a:cs typeface="Open Sans"/>
                      </a:endParaRP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Open Sans"/>
                          <a:ea typeface="Open Sans"/>
                          <a:cs typeface="Open Sans"/>
                        </a:rPr>
                        <a:t>Data Dynamics</a:t>
                      </a: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a:ea typeface="Open Sans"/>
                        <a:cs typeface="Open Sans"/>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r>
                        <a:rPr lang="en-US" sz="1000" b="1" i="0" u="none" strike="noStrike">
                          <a:solidFill>
                            <a:srgbClr val="000000"/>
                          </a:solidFill>
                          <a:effectLst/>
                          <a:latin typeface="Open Sans"/>
                          <a:ea typeface="Open Sans"/>
                          <a:cs typeface="Open Sans"/>
                        </a:rPr>
                        <a:t>X</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extLst>
                  <a:ext uri="{0D108BD9-81ED-4DB2-BD59-A6C34878D82A}">
                    <a16:rowId xmlns:a16="http://schemas.microsoft.com/office/drawing/2014/main" val="3976660942"/>
                  </a:ext>
                </a:extLst>
              </a:tr>
              <a:tr h="277480">
                <a:tc>
                  <a:txBody>
                    <a:bodyPr/>
                    <a:lstStyle/>
                    <a:p>
                      <a:pPr marL="0" indent="0" algn="l" fontAlgn="b">
                        <a:buFont typeface="+mj-lt"/>
                        <a:buNone/>
                      </a:pPr>
                      <a:endParaRPr lang="en-US" sz="1000" b="0" i="0" u="none" strike="noStrike">
                        <a:solidFill>
                          <a:schemeClr val="bg1"/>
                        </a:solidFill>
                        <a:effectLst/>
                        <a:latin typeface="Open Sans"/>
                        <a:ea typeface="Open Sans"/>
                        <a:cs typeface="Open Sans"/>
                      </a:endParaRP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lang="en-US" sz="1000" b="1" i="0" u="none" strike="noStrike">
                        <a:solidFill>
                          <a:srgbClr val="000000"/>
                        </a:solidFill>
                        <a:effectLst/>
                        <a:latin typeface="Open Sans"/>
                        <a:ea typeface="Open Sans"/>
                        <a:cs typeface="Open Sans"/>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b"/>
                </a:tc>
                <a:tc>
                  <a:txBody>
                    <a:bodyPr/>
                    <a:lstStyle/>
                    <a:p>
                      <a:pPr algn="ctr" fontAlgn="b"/>
                      <a:endParaRPr lang="en-US" sz="1000" b="1" i="0" u="none" strike="noStrike">
                        <a:solidFill>
                          <a:srgbClr val="000000"/>
                        </a:solidFill>
                        <a:effectLst/>
                        <a:latin typeface="Open Sans"/>
                        <a:ea typeface="Open Sans"/>
                        <a:cs typeface="Open Sans"/>
                      </a:endParaRPr>
                    </a:p>
                  </a:txBody>
                  <a:tcPr marL="4075" marR="4075" marT="4075" marB="0" anchor="b"/>
                </a:tc>
                <a:extLst>
                  <a:ext uri="{0D108BD9-81ED-4DB2-BD59-A6C34878D82A}">
                    <a16:rowId xmlns:a16="http://schemas.microsoft.com/office/drawing/2014/main" val="2246484272"/>
                  </a:ext>
                </a:extLst>
              </a:tr>
            </a:tbl>
          </a:graphicData>
        </a:graphic>
      </p:graphicFrame>
      <p:sp>
        <p:nvSpPr>
          <p:cNvPr id="4" name="Title 1">
            <a:extLst>
              <a:ext uri="{FF2B5EF4-FFF2-40B4-BE49-F238E27FC236}">
                <a16:creationId xmlns:a16="http://schemas.microsoft.com/office/drawing/2014/main" id="{DF132C2F-19E4-4E49-B70A-03886CF0AF13}"/>
              </a:ext>
            </a:extLst>
          </p:cNvPr>
          <p:cNvSpPr txBox="1">
            <a:spLocks/>
          </p:cNvSpPr>
          <p:nvPr/>
        </p:nvSpPr>
        <p:spPr>
          <a:xfrm>
            <a:off x="231355" y="30716"/>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Business Value – Feature Mapping | </a:t>
            </a:r>
            <a:r>
              <a:rPr lang="en-US" sz="1801" b="1">
                <a:latin typeface="Open Sans" panose="020B0606030504020204" pitchFamily="34" charset="0"/>
                <a:ea typeface="Open Sans" panose="020B0606030504020204" pitchFamily="34" charset="0"/>
                <a:cs typeface="Open Sans" panose="020B0606030504020204" pitchFamily="34" charset="0"/>
              </a:rPr>
              <a:t>Diagnostics (QV, DQD, AQMs, DB)</a:t>
            </a:r>
            <a:endPar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46163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47A132D-3FAE-48C5-BD5F-C01213AAD2F4}"/>
              </a:ext>
            </a:extLst>
          </p:cNvPr>
          <p:cNvGraphicFramePr>
            <a:graphicFrameLocks noGrp="1"/>
          </p:cNvGraphicFramePr>
          <p:nvPr>
            <p:extLst>
              <p:ext uri="{D42A27DB-BD31-4B8C-83A1-F6EECF244321}">
                <p14:modId xmlns:p14="http://schemas.microsoft.com/office/powerpoint/2010/main" val="2710854789"/>
              </p:ext>
            </p:extLst>
          </p:nvPr>
        </p:nvGraphicFramePr>
        <p:xfrm>
          <a:off x="378635" y="418126"/>
          <a:ext cx="11575913" cy="5332676"/>
        </p:xfrm>
        <a:graphic>
          <a:graphicData uri="http://schemas.openxmlformats.org/drawingml/2006/table">
            <a:tbl>
              <a:tblPr firstRow="1" firstCol="1">
                <a:tableStyleId>{073A0DAA-6AF3-43AB-8588-CEC1D06C72B9}</a:tableStyleId>
              </a:tblPr>
              <a:tblGrid>
                <a:gridCol w="4301863">
                  <a:extLst>
                    <a:ext uri="{9D8B030D-6E8A-4147-A177-3AD203B41FA5}">
                      <a16:colId xmlns:a16="http://schemas.microsoft.com/office/drawing/2014/main" val="792060426"/>
                    </a:ext>
                  </a:extLst>
                </a:gridCol>
                <a:gridCol w="1464926">
                  <a:extLst>
                    <a:ext uri="{9D8B030D-6E8A-4147-A177-3AD203B41FA5}">
                      <a16:colId xmlns:a16="http://schemas.microsoft.com/office/drawing/2014/main" val="2735579964"/>
                    </a:ext>
                  </a:extLst>
                </a:gridCol>
                <a:gridCol w="770337">
                  <a:extLst>
                    <a:ext uri="{9D8B030D-6E8A-4147-A177-3AD203B41FA5}">
                      <a16:colId xmlns:a16="http://schemas.microsoft.com/office/drawing/2014/main" val="2152155282"/>
                    </a:ext>
                  </a:extLst>
                </a:gridCol>
                <a:gridCol w="901150">
                  <a:extLst>
                    <a:ext uri="{9D8B030D-6E8A-4147-A177-3AD203B41FA5}">
                      <a16:colId xmlns:a16="http://schemas.microsoft.com/office/drawing/2014/main" val="2805195837"/>
                    </a:ext>
                  </a:extLst>
                </a:gridCol>
                <a:gridCol w="813940">
                  <a:extLst>
                    <a:ext uri="{9D8B030D-6E8A-4147-A177-3AD203B41FA5}">
                      <a16:colId xmlns:a16="http://schemas.microsoft.com/office/drawing/2014/main" val="2771148117"/>
                    </a:ext>
                  </a:extLst>
                </a:gridCol>
                <a:gridCol w="843013">
                  <a:extLst>
                    <a:ext uri="{9D8B030D-6E8A-4147-A177-3AD203B41FA5}">
                      <a16:colId xmlns:a16="http://schemas.microsoft.com/office/drawing/2014/main" val="3197705583"/>
                    </a:ext>
                  </a:extLst>
                </a:gridCol>
                <a:gridCol w="872084">
                  <a:extLst>
                    <a:ext uri="{9D8B030D-6E8A-4147-A177-3AD203B41FA5}">
                      <a16:colId xmlns:a16="http://schemas.microsoft.com/office/drawing/2014/main" val="4238107078"/>
                    </a:ext>
                  </a:extLst>
                </a:gridCol>
                <a:gridCol w="813940">
                  <a:extLst>
                    <a:ext uri="{9D8B030D-6E8A-4147-A177-3AD203B41FA5}">
                      <a16:colId xmlns:a16="http://schemas.microsoft.com/office/drawing/2014/main" val="372272013"/>
                    </a:ext>
                  </a:extLst>
                </a:gridCol>
                <a:gridCol w="794660">
                  <a:extLst>
                    <a:ext uri="{9D8B030D-6E8A-4147-A177-3AD203B41FA5}">
                      <a16:colId xmlns:a16="http://schemas.microsoft.com/office/drawing/2014/main" val="1812577372"/>
                    </a:ext>
                  </a:extLst>
                </a:gridCol>
              </a:tblGrid>
              <a:tr h="1306161">
                <a:tc>
                  <a:txBody>
                    <a:bodyPr/>
                    <a:lstStyle/>
                    <a:p>
                      <a:pPr algn="ctr" fontAlgn="b"/>
                      <a:r>
                        <a:rPr lang="en-US" sz="1000" u="none" strike="noStrike">
                          <a:effectLst/>
                          <a:latin typeface="Open Sans"/>
                          <a:ea typeface="Open Sans"/>
                          <a:cs typeface="Open Sans"/>
                        </a:rPr>
                        <a:t>FEATURES</a:t>
                      </a:r>
                      <a:endParaRPr lang="en-US" sz="1000" b="1" i="0" u="none" strike="noStrike">
                        <a:solidFill>
                          <a:srgbClr val="000000"/>
                        </a:solidFill>
                        <a:effectLst/>
                        <a:latin typeface="Open Sans"/>
                        <a:ea typeface="Open Sans"/>
                        <a:cs typeface="Open Sans"/>
                      </a:endParaRPr>
                    </a:p>
                  </a:txBody>
                  <a:tcPr marL="4075" marR="4075" marT="4075" marB="0" anchor="ctr">
                    <a:solidFill>
                      <a:schemeClr val="accent4">
                        <a:lumMod val="50000"/>
                      </a:schemeClr>
                    </a:solidFill>
                  </a:tcPr>
                </a:tc>
                <a:tc>
                  <a:txBody>
                    <a:bodyPr/>
                    <a:lstStyle/>
                    <a:p>
                      <a:pPr algn="ctr" fontAlgn="b"/>
                      <a:r>
                        <a:rPr lang="en-US" sz="1000" b="1" i="0" u="none" strike="noStrike">
                          <a:solidFill>
                            <a:srgbClr val="000000"/>
                          </a:solidFill>
                          <a:effectLst/>
                          <a:latin typeface="Open Sans"/>
                          <a:ea typeface="Open Sans"/>
                          <a:cs typeface="Open Sans"/>
                        </a:rPr>
                        <a:t>Team</a:t>
                      </a:r>
                    </a:p>
                  </a:txBody>
                  <a:tcPr marL="4075" marR="4075" marT="4075" marB="0" vert="vert270" anchor="ctr">
                    <a:solidFill>
                      <a:srgbClr val="00B0F0"/>
                    </a:solidFill>
                  </a:tcPr>
                </a:tc>
                <a:tc>
                  <a:txBody>
                    <a:bodyPr/>
                    <a:lstStyle/>
                    <a:p>
                      <a:pPr algn="ctr" fontAlgn="b"/>
                      <a:r>
                        <a:rPr lang="en-US" sz="1000" u="none" strike="noStrike">
                          <a:effectLst/>
                          <a:latin typeface="Open Sans"/>
                          <a:ea typeface="Open Sans"/>
                          <a:cs typeface="Open Sans"/>
                        </a:rPr>
                        <a:t>Continued DWW Acceleration</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RADC Ramp Up</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Expand RADC Catalog</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Transition to Omnia/Levvia</a:t>
                      </a:r>
                      <a:endParaRPr lang="en-US" sz="1000" b="1" i="0" u="none" strike="noStrike" err="1">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Monitoring Adoption</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Automate  Bots</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a:cs typeface="Open Sans"/>
                        </a:rPr>
                        <a:t>Support and Ongoing Maintenance</a:t>
                      </a:r>
                      <a:endParaRPr lang="en-US" sz="1000" b="1" i="0" u="none" strike="noStrike">
                        <a:solidFill>
                          <a:srgbClr val="000000"/>
                        </a:solidFill>
                        <a:effectLst/>
                        <a:latin typeface="Open Sans"/>
                        <a:ea typeface="Open Sans"/>
                        <a:cs typeface="Open Sans"/>
                      </a:endParaRPr>
                    </a:p>
                  </a:txBody>
                  <a:tcPr marL="4075" marR="4075" marT="4075" marB="0" vert="vert270" anchor="ctr">
                    <a:solidFill>
                      <a:schemeClr val="accent4">
                        <a:lumMod val="50000"/>
                      </a:schemeClr>
                    </a:solidFill>
                  </a:tcPr>
                </a:tc>
                <a:extLst>
                  <a:ext uri="{0D108BD9-81ED-4DB2-BD59-A6C34878D82A}">
                    <a16:rowId xmlns:a16="http://schemas.microsoft.com/office/drawing/2014/main" val="452334751"/>
                  </a:ext>
                </a:extLst>
              </a:tr>
              <a:tr h="325815">
                <a:tc>
                  <a:txBody>
                    <a:bodyPr/>
                    <a:lstStyle/>
                    <a:p>
                      <a:pPr lvl="0" algn="ctr">
                        <a:lnSpc>
                          <a:spcPct val="100000"/>
                        </a:lnSpc>
                        <a:spcBef>
                          <a:spcPts val="0"/>
                        </a:spcBef>
                        <a:spcAft>
                          <a:spcPts val="0"/>
                        </a:spcAft>
                        <a:buNone/>
                      </a:pPr>
                      <a:r>
                        <a:rPr lang="en-US" sz="1050" b="1" i="0" u="none" strike="noStrike" kern="1200" noProof="0">
                          <a:solidFill>
                            <a:schemeClr val="bg1"/>
                          </a:solidFill>
                          <a:effectLst/>
                          <a:latin typeface="Open Sans"/>
                          <a:ea typeface="+mn-ea"/>
                          <a:cs typeface="+mn-cs"/>
                        </a:rPr>
                        <a:t>EMS</a:t>
                      </a:r>
                    </a:p>
                    <a:p>
                      <a:pPr lvl="0" algn="l">
                        <a:buNone/>
                      </a:pPr>
                      <a:endParaRPr lang="en-US" sz="1000" b="0" i="0" u="none" strike="noStrike" baseline="0" noProof="0">
                        <a:solidFill>
                          <a:schemeClr val="bg1"/>
                        </a:solidFill>
                        <a:effectLst/>
                        <a:latin typeface="Open Sans"/>
                      </a:endParaRPr>
                    </a:p>
                  </a:txBody>
                  <a:tcPr marL="4075" marR="4075" marT="4075" marB="0" anchor="ctr">
                    <a:solidFill>
                      <a:schemeClr val="accent4">
                        <a:lumMod val="50000"/>
                      </a:schemeClr>
                    </a:solidFill>
                  </a:tcPr>
                </a:tc>
                <a:tc>
                  <a:txBody>
                    <a:bodyPr/>
                    <a:lstStyle/>
                    <a:p>
                      <a:pPr marL="0" marR="0" lvl="0" indent="0" algn="ctr" defTabSz="685800">
                        <a:lnSpc>
                          <a:spcPct val="100000"/>
                        </a:lnSpc>
                        <a:spcBef>
                          <a:spcPts val="0"/>
                        </a:spcBef>
                        <a:spcAft>
                          <a:spcPts val="0"/>
                        </a:spcAft>
                        <a:buClrTx/>
                        <a:buSzTx/>
                        <a:buNone/>
                        <a:tabLst/>
                        <a:defRPr/>
                      </a:pPr>
                      <a:endParaRPr kumimoji="0" lang="en-US" sz="1000" b="1" i="0" u="none" strike="noStrike" kern="1200" cap="none" spc="0" normalizeH="0" baseline="0" noProof="0">
                        <a:ln>
                          <a:noFill/>
                        </a:ln>
                        <a:solidFill>
                          <a:srgbClr val="000000"/>
                        </a:solidFill>
                        <a:effectLst/>
                        <a:uLnTx/>
                        <a:uFillTx/>
                        <a:latin typeface="Open Sans"/>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noProof="0">
                        <a:solidFill>
                          <a:srgbClr val="000000"/>
                        </a:solidFill>
                        <a:effectLst/>
                        <a:latin typeface="Open Sans"/>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320782646"/>
                  </a:ext>
                </a:extLst>
              </a:tr>
              <a:tr h="294967">
                <a:tc>
                  <a:txBody>
                    <a:bodyPr/>
                    <a:lstStyle/>
                    <a:p>
                      <a:pPr lvl="0" algn="l">
                        <a:lnSpc>
                          <a:spcPct val="100000"/>
                        </a:lnSpc>
                        <a:spcBef>
                          <a:spcPts val="0"/>
                        </a:spcBef>
                        <a:spcAft>
                          <a:spcPts val="0"/>
                        </a:spcAft>
                        <a:buNone/>
                      </a:pPr>
                      <a:r>
                        <a:rPr lang="en-US" sz="1000" b="0" i="0" u="none" strike="noStrike" kern="1200" baseline="0" noProof="0">
                          <a:solidFill>
                            <a:schemeClr val="bg1"/>
                          </a:solidFill>
                          <a:effectLst/>
                          <a:latin typeface="Open Sans"/>
                          <a:ea typeface="Open Sans"/>
                          <a:cs typeface="Open Sans"/>
                        </a:rPr>
                        <a:t>Defect Fixes and enhancements</a:t>
                      </a:r>
                    </a:p>
                  </a:txBody>
                  <a:tcPr marL="4075" marR="4075" marT="4075" marB="0" anchor="ctr">
                    <a:solidFill>
                      <a:schemeClr val="accent4">
                        <a:lumMod val="50000"/>
                      </a:schemeClr>
                    </a:solidFill>
                  </a:tcPr>
                </a:tc>
                <a:tc>
                  <a:txBody>
                    <a:bodyPr/>
                    <a:lstStyle/>
                    <a:p>
                      <a:pPr marL="0" marR="0" lvl="0" indent="0" algn="ctr" defTabSz="685800">
                        <a:lnSpc>
                          <a:spcPct val="100000"/>
                        </a:lnSpc>
                        <a:spcBef>
                          <a:spcPts val="0"/>
                        </a:spcBef>
                        <a:spcAft>
                          <a:spcPts val="0"/>
                        </a:spcAft>
                        <a:buClrTx/>
                        <a:buSzTx/>
                        <a:buNone/>
                        <a:tabLst/>
                        <a:defRPr/>
                      </a:pPr>
                      <a:r>
                        <a:rPr lang="en-US" sz="1000" b="1" i="0" u="none" strike="noStrike" kern="1200" cap="none" spc="0" normalizeH="0" baseline="0" noProof="0">
                          <a:ln>
                            <a:noFill/>
                          </a:ln>
                          <a:solidFill>
                            <a:srgbClr val="000000"/>
                          </a:solidFill>
                          <a:effectLst/>
                          <a:uLnTx/>
                          <a:uFillTx/>
                          <a:latin typeface="Open Sans"/>
                          <a:ea typeface="+mn-ea"/>
                          <a:cs typeface="+mn-cs"/>
                        </a:rPr>
                        <a:t>Bahamas</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marL="0" algn="ctr" defTabSz="914388" rtl="0" eaLnBrk="1" fontAlgn="b" latinLnBrk="0" hangingPunct="1"/>
                      <a:r>
                        <a:rPr lang="en-US" sz="1000" b="1" i="0" u="none" strike="noStrike" kern="1200">
                          <a:solidFill>
                            <a:srgbClr val="000000"/>
                          </a:solidFill>
                          <a:effectLst/>
                          <a:latin typeface="Open Sans"/>
                          <a:ea typeface="Open Sans"/>
                          <a:cs typeface="Open Sans"/>
                        </a:rPr>
                        <a:t>X</a:t>
                      </a:r>
                    </a:p>
                  </a:txBody>
                  <a:tcPr marL="4075" marR="4075" marT="4075" marB="0" anchor="ctr"/>
                </a:tc>
                <a:extLst>
                  <a:ext uri="{0D108BD9-81ED-4DB2-BD59-A6C34878D82A}">
                    <a16:rowId xmlns:a16="http://schemas.microsoft.com/office/drawing/2014/main" val="683563605"/>
                  </a:ext>
                </a:extLst>
              </a:tr>
              <a:tr h="294966">
                <a:tc>
                  <a:txBody>
                    <a:bodyPr/>
                    <a:lstStyle/>
                    <a:p>
                      <a:pPr lvl="0" algn="l">
                        <a:lnSpc>
                          <a:spcPct val="100000"/>
                        </a:lnSpc>
                        <a:spcBef>
                          <a:spcPts val="0"/>
                        </a:spcBef>
                        <a:spcAft>
                          <a:spcPts val="0"/>
                        </a:spcAft>
                        <a:buNone/>
                      </a:pPr>
                      <a:r>
                        <a:rPr lang="en-US" sz="1000" b="0" i="0" u="none" strike="noStrike" kern="1200" baseline="0" noProof="0">
                          <a:solidFill>
                            <a:schemeClr val="bg1"/>
                          </a:solidFill>
                          <a:effectLst/>
                          <a:latin typeface="Open Sans"/>
                          <a:ea typeface="Open Sans"/>
                          <a:cs typeface="Open Sans"/>
                        </a:rPr>
                        <a:t>P</a:t>
                      </a:r>
                      <a:r>
                        <a:rPr lang="en-US" sz="1000" b="0" i="0" u="none" strike="noStrike" kern="1200" baseline="0" noProof="0">
                          <a:solidFill>
                            <a:schemeClr val="bg1"/>
                          </a:solidFill>
                          <a:effectLst/>
                          <a:latin typeface="Open Sans"/>
                        </a:rPr>
                        <a:t>roduction Support </a:t>
                      </a:r>
                      <a:endParaRPr lang="en-US" sz="1000" b="0" i="0" u="none" strike="noStrike" kern="1200" baseline="0" noProof="0">
                        <a:solidFill>
                          <a:schemeClr val="bg1"/>
                        </a:solidFill>
                        <a:effectLst/>
                        <a:latin typeface="Open Sans"/>
                        <a:ea typeface="Open Sans"/>
                        <a:cs typeface="Open Sans"/>
                      </a:endParaRPr>
                    </a:p>
                    <a:p>
                      <a:pPr lvl="0" algn="l">
                        <a:lnSpc>
                          <a:spcPct val="100000"/>
                        </a:lnSpc>
                        <a:spcBef>
                          <a:spcPts val="0"/>
                        </a:spcBef>
                        <a:spcAft>
                          <a:spcPts val="0"/>
                        </a:spcAft>
                        <a:buNone/>
                      </a:pPr>
                      <a:endParaRPr lang="en-US" sz="1000" b="0" i="0" u="none" strike="noStrike" kern="1200" baseline="0" noProof="0">
                        <a:solidFill>
                          <a:schemeClr val="bg1"/>
                        </a:solidFill>
                        <a:effectLst/>
                        <a:latin typeface="Open Sans"/>
                        <a:ea typeface="Open Sans" panose="020B0606030504020204" pitchFamily="34" charset="0"/>
                        <a:cs typeface="Open Sans" panose="020B0606030504020204" pitchFamily="34" charset="0"/>
                      </a:endParaRPr>
                    </a:p>
                  </a:txBody>
                  <a:tcPr marL="4075" marR="4075" marT="4075" marB="0">
                    <a:solidFill>
                      <a:schemeClr val="accent4">
                        <a:lumMod val="50000"/>
                      </a:schemeClr>
                    </a:solidFill>
                  </a:tcPr>
                </a:tc>
                <a:tc>
                  <a:txBody>
                    <a:bodyPr/>
                    <a:lstStyle/>
                    <a:p>
                      <a:pPr marL="0" lvl="0" indent="0" algn="ctr" defTabSz="685800">
                        <a:lnSpc>
                          <a:spcPct val="100000"/>
                        </a:lnSpc>
                        <a:spcBef>
                          <a:spcPts val="0"/>
                        </a:spcBef>
                        <a:spcAft>
                          <a:spcPts val="0"/>
                        </a:spcAft>
                        <a:buNone/>
                        <a:tabLst/>
                        <a:defRPr/>
                      </a:pPr>
                      <a:r>
                        <a:rPr lang="en-US" sz="1000" b="1" i="0" u="none" strike="noStrike" kern="1200" cap="none" spc="0" normalizeH="0" baseline="0" noProof="0">
                          <a:ln>
                            <a:noFill/>
                          </a:ln>
                          <a:solidFill>
                            <a:srgbClr val="000000"/>
                          </a:solidFill>
                          <a:effectLst/>
                          <a:uLnTx/>
                          <a:uFillTx/>
                          <a:latin typeface="Open Sans"/>
                        </a:rPr>
                        <a:t>Bahamas</a:t>
                      </a:r>
                      <a:endParaRPr lang="en-US"/>
                    </a:p>
                  </a:txBody>
                  <a:tcPr marL="4075" marR="4075" marT="4075" marB="0"/>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tc>
                <a:tc>
                  <a:txBody>
                    <a:bodyPr/>
                    <a:lstStyle/>
                    <a:p>
                      <a:pPr marL="0" lvl="0" algn="ctr" defTabSz="914388">
                        <a:buNone/>
                      </a:pPr>
                      <a:r>
                        <a:rPr lang="en-US" sz="1000" b="1" i="0" u="none" strike="noStrike" kern="1200">
                          <a:solidFill>
                            <a:srgbClr val="000000"/>
                          </a:solidFill>
                          <a:effectLst/>
                          <a:latin typeface="Open Sans"/>
                          <a:ea typeface="Open Sans"/>
                          <a:cs typeface="Open Sans"/>
                        </a:rPr>
                        <a:t>X</a:t>
                      </a:r>
                    </a:p>
                  </a:txBody>
                  <a:tcPr marL="4075" marR="4075" marT="4075" marB="0"/>
                </a:tc>
                <a:extLst>
                  <a:ext uri="{0D108BD9-81ED-4DB2-BD59-A6C34878D82A}">
                    <a16:rowId xmlns:a16="http://schemas.microsoft.com/office/drawing/2014/main" val="4278515499"/>
                  </a:ext>
                </a:extLst>
              </a:tr>
              <a:tr h="241137">
                <a:tc>
                  <a:txBody>
                    <a:bodyPr/>
                    <a:lstStyle/>
                    <a:p>
                      <a:pPr algn="l" fontAlgn="b"/>
                      <a:r>
                        <a:rPr lang="en-US" sz="1000" b="0" i="0" u="none" strike="noStrike" kern="1200">
                          <a:solidFill>
                            <a:schemeClr val="bg1"/>
                          </a:solidFill>
                          <a:effectLst/>
                          <a:latin typeface="Open Sans"/>
                          <a:ea typeface="+mn-ea"/>
                          <a:cs typeface="+mn-cs"/>
                        </a:rPr>
                        <a:t>Cloud migration for EMS </a:t>
                      </a:r>
                    </a:p>
                  </a:txBody>
                  <a:tcPr marL="4075" marR="4075" marT="4075" marB="0" anchor="ctr">
                    <a:solidFill>
                      <a:schemeClr val="accent4">
                        <a:lumMod val="50000"/>
                      </a:schemeClr>
                    </a:solidFill>
                  </a:tcPr>
                </a:tc>
                <a:tc>
                  <a:txBody>
                    <a:bodyPr/>
                    <a:lstStyle/>
                    <a:p>
                      <a:pPr marL="0" marR="0" lvl="0" indent="0" algn="ctr" defTabSz="685800">
                        <a:lnSpc>
                          <a:spcPct val="100000"/>
                        </a:lnSpc>
                        <a:spcBef>
                          <a:spcPts val="0"/>
                        </a:spcBef>
                        <a:spcAft>
                          <a:spcPts val="0"/>
                        </a:spcAft>
                        <a:buClrTx/>
                        <a:buSzTx/>
                        <a:buNone/>
                        <a:tabLst/>
                        <a:defRPr/>
                      </a:pPr>
                      <a:r>
                        <a:rPr lang="en-US" sz="1000" b="1" i="0" u="none" strike="noStrike" kern="1200" cap="none" spc="0" normalizeH="0" baseline="0" noProof="0">
                          <a:ln>
                            <a:noFill/>
                          </a:ln>
                          <a:solidFill>
                            <a:srgbClr val="000000"/>
                          </a:solidFill>
                          <a:effectLst/>
                          <a:uLnTx/>
                          <a:uFillTx/>
                          <a:latin typeface="Open Sans"/>
                          <a:ea typeface="+mn-ea"/>
                          <a:cs typeface="+mn-cs"/>
                        </a:rPr>
                        <a:t>Bahamas</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marL="0" lvl="0" algn="ctr" defTabSz="914388">
                        <a:buNone/>
                      </a:pPr>
                      <a:r>
                        <a:rPr lang="en-US" sz="1000" b="1" i="0" u="none" strike="noStrike" kern="1200" noProof="0">
                          <a:solidFill>
                            <a:srgbClr val="000000"/>
                          </a:solidFill>
                          <a:effectLst/>
                          <a:latin typeface="Open Sans"/>
                        </a:rPr>
                        <a:t>X</a:t>
                      </a:r>
                      <a:endParaRPr lang="en-US"/>
                    </a:p>
                  </a:txBody>
                  <a:tcPr marL="4075" marR="4075" marT="4075" marB="0" anchor="ctr"/>
                </a:tc>
                <a:extLst>
                  <a:ext uri="{0D108BD9-81ED-4DB2-BD59-A6C34878D82A}">
                    <a16:rowId xmlns:a16="http://schemas.microsoft.com/office/drawing/2014/main" val="3149444555"/>
                  </a:ext>
                </a:extLst>
              </a:tr>
              <a:tr h="241137">
                <a:tc>
                  <a:txBody>
                    <a:bodyPr/>
                    <a:lstStyle/>
                    <a:p>
                      <a:pPr lvl="0" algn="ctr">
                        <a:buNone/>
                      </a:pPr>
                      <a:r>
                        <a:rPr lang="en-US" sz="1050" b="1" i="0" u="none" strike="noStrike">
                          <a:solidFill>
                            <a:schemeClr val="bg1"/>
                          </a:solidFill>
                          <a:effectLst/>
                          <a:latin typeface="Open Sans"/>
                        </a:rPr>
                        <a:t>AAT</a:t>
                      </a:r>
                    </a:p>
                  </a:txBody>
                  <a:tcPr marL="4075" marR="4075" marT="4075" marB="0" anchor="ctr">
                    <a:solidFill>
                      <a:schemeClr val="accent4">
                        <a:lumMod val="50000"/>
                      </a:schemeClr>
                    </a:solidFill>
                  </a:tcPr>
                </a:tc>
                <a:tc>
                  <a:txBody>
                    <a:bodyPr/>
                    <a:lstStyle/>
                    <a:p>
                      <a:pPr marL="0" marR="0" lvl="0" indent="0" algn="ctr">
                        <a:lnSpc>
                          <a:spcPct val="100000"/>
                        </a:lnSpc>
                        <a:spcBef>
                          <a:spcPts val="0"/>
                        </a:spcBef>
                        <a:spcAft>
                          <a:spcPts val="0"/>
                        </a:spcAft>
                        <a:buNone/>
                      </a:pPr>
                      <a:endParaRPr lang="en-US" sz="1000" b="1" i="0" u="none" strike="noStrike" kern="1200" cap="none" spc="0" normalizeH="0" baseline="0" noProof="0">
                        <a:ln>
                          <a:noFill/>
                        </a:ln>
                        <a:solidFill>
                          <a:srgbClr val="000000"/>
                        </a:solidFill>
                        <a:effectLst/>
                        <a:uLnTx/>
                        <a:uFillTx/>
                        <a:latin typeface="Open Sans"/>
                        <a:ea typeface="+mn-ea"/>
                        <a:cs typeface="+mn-cs"/>
                      </a:endParaRPr>
                    </a:p>
                  </a:txBody>
                  <a:tcPr marL="4075" marR="4075" marT="4075" marB="0" anchor="ctr"/>
                </a:tc>
                <a:tc>
                  <a:txBody>
                    <a:bodyPr/>
                    <a:lstStyle/>
                    <a:p>
                      <a:pPr lvl="0" algn="ctr">
                        <a:buNone/>
                      </a:pPr>
                      <a:endParaRPr lang="en-US" sz="1000" b="1" i="0" u="none" strike="noStrike">
                        <a:solidFill>
                          <a:srgbClr val="000000"/>
                        </a:solidFill>
                        <a:effectLst/>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marL="0" lvl="0" algn="ctr" defTabSz="914388" rtl="0" eaLnBrk="1" fontAlgn="b" latinLnBrk="0" hangingPunct="1">
                        <a:lnSpc>
                          <a:spcPct val="100000"/>
                        </a:lnSpc>
                        <a:spcBef>
                          <a:spcPts val="0"/>
                        </a:spcBef>
                        <a:spcAft>
                          <a:spcPts val="0"/>
                        </a:spcAft>
                        <a:buNone/>
                      </a:pPr>
                      <a:endParaRPr lang="en-US" sz="1000" b="1" i="0" u="none" strike="noStrike" kern="1200" noProof="0">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3928701807"/>
                  </a:ext>
                </a:extLst>
              </a:tr>
              <a:tr h="241137">
                <a:tc>
                  <a:txBody>
                    <a:bodyPr/>
                    <a:lstStyle/>
                    <a:p>
                      <a:pPr lvl="0" algn="l">
                        <a:buNone/>
                      </a:pPr>
                      <a:r>
                        <a:rPr lang="en-US" sz="1000" b="0" i="0" u="none" strike="noStrike" baseline="0">
                          <a:solidFill>
                            <a:schemeClr val="bg1"/>
                          </a:solidFill>
                          <a:effectLst/>
                          <a:latin typeface="Open Sans"/>
                          <a:ea typeface="Open Sans"/>
                          <a:cs typeface="Open Sans"/>
                        </a:rPr>
                        <a:t>Retrieve for Modification Redesign- Destruction, Rejection, Reports</a:t>
                      </a:r>
                    </a:p>
                  </a:txBody>
                  <a:tcPr marL="4075" marR="4075" marT="4075" marB="0" anchor="ctr">
                    <a:solidFill>
                      <a:schemeClr val="accent4">
                        <a:lumMod val="50000"/>
                      </a:schemeClr>
                    </a:solidFill>
                  </a:tcPr>
                </a:tc>
                <a:tc>
                  <a: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baseline="0" noProof="0">
                          <a:ln>
                            <a:noFill/>
                          </a:ln>
                          <a:solidFill>
                            <a:srgbClr val="000000"/>
                          </a:solidFill>
                          <a:effectLst/>
                          <a:uLnTx/>
                          <a:uFillTx/>
                          <a:latin typeface="Open Sans"/>
                        </a:rPr>
                        <a:t>Amigos</a:t>
                      </a:r>
                      <a:endParaRPr lang="en-US" sz="1050"/>
                    </a:p>
                    <a:p>
                      <a:pPr marL="0" lvl="0" indent="0" algn="ctr">
                        <a:lnSpc>
                          <a:spcPct val="100000"/>
                        </a:lnSpc>
                        <a:spcBef>
                          <a:spcPts val="0"/>
                        </a:spcBef>
                        <a:spcAft>
                          <a:spcPts val="0"/>
                        </a:spcAft>
                        <a:buNone/>
                      </a:pPr>
                      <a:endParaRPr lang="en-US" sz="1000" b="1" i="0" u="none" strike="noStrike" kern="1200" cap="none" spc="0" normalizeH="0" baseline="0" noProof="0">
                        <a:ln>
                          <a:noFill/>
                        </a:ln>
                        <a:solidFill>
                          <a:srgbClr val="000000"/>
                        </a:solidFill>
                        <a:effectLst/>
                        <a:uLnTx/>
                        <a:uFillTx/>
                        <a:latin typeface="Open Sans"/>
                        <a:ea typeface="+mn-ea"/>
                        <a:cs typeface="+mn-cs"/>
                      </a:endParaRPr>
                    </a:p>
                  </a:txBody>
                  <a:tcPr marL="4075" marR="4075" marT="4075" marB="0" anchor="ctr"/>
                </a:tc>
                <a:tc>
                  <a:txBody>
                    <a:bodyPr/>
                    <a:lstStyle/>
                    <a:p>
                      <a:pPr lvl="0" algn="ctr">
                        <a:buNone/>
                      </a:pPr>
                      <a:endParaRPr lang="en-US" sz="1000" b="1" i="0" u="none" strike="noStrike">
                        <a:solidFill>
                          <a:schemeClr val="tx1"/>
                        </a:solidFill>
                        <a:effectLst/>
                        <a:latin typeface="Open Sans"/>
                      </a:endParaRPr>
                    </a:p>
                  </a:txBody>
                  <a:tcPr marL="4075" marR="4075" marT="4075" marB="0" anchor="ctr"/>
                </a:tc>
                <a:tc>
                  <a:txBody>
                    <a:bodyPr/>
                    <a:lstStyle/>
                    <a:p>
                      <a:pPr lvl="0" algn="ctr">
                        <a:buNone/>
                      </a:pPr>
                      <a:endParaRPr lang="en-US" sz="1000" b="1" i="0" u="none" strike="noStrike">
                        <a:solidFill>
                          <a:schemeClr val="tx1"/>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chemeClr val="tx1"/>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chemeClr val="tx1"/>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chemeClr val="tx1"/>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chemeClr val="tx1"/>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marL="0" lvl="0" algn="ctr" defTabSz="914388" rtl="0" eaLnBrk="1" fontAlgn="b" latinLnBrk="0" hangingPunct="1">
                        <a:buNone/>
                      </a:pPr>
                      <a:r>
                        <a:rPr lang="en-US" sz="1000" b="1" i="0" u="none" strike="noStrike" kern="1200">
                          <a:solidFill>
                            <a:srgbClr val="000000"/>
                          </a:solidFill>
                          <a:effectLst/>
                          <a:latin typeface="Open Sans"/>
                          <a:ea typeface="Open Sans"/>
                          <a:cs typeface="Open Sans"/>
                        </a:rPr>
                        <a:t>x</a:t>
                      </a:r>
                    </a:p>
                  </a:txBody>
                  <a:tcPr marL="4075" marR="4075" marT="4075" marB="0" anchor="ctr"/>
                </a:tc>
                <a:extLst>
                  <a:ext uri="{0D108BD9-81ED-4DB2-BD59-A6C34878D82A}">
                    <a16:rowId xmlns:a16="http://schemas.microsoft.com/office/drawing/2014/main" val="4284833018"/>
                  </a:ext>
                </a:extLst>
              </a:tr>
              <a:tr h="241137">
                <a:tc>
                  <a:txBody>
                    <a:bodyPr/>
                    <a:lstStyle/>
                    <a:p>
                      <a:pPr marL="0" marR="0" lvl="0" indent="0" algn="l" defTabSz="914388" rtl="0" eaLnBrk="1" fontAlgn="auto" latinLnBrk="0" hangingPunct="1">
                        <a:lnSpc>
                          <a:spcPct val="100000"/>
                        </a:lnSpc>
                        <a:spcBef>
                          <a:spcPts val="0"/>
                        </a:spcBef>
                        <a:spcAft>
                          <a:spcPts val="0"/>
                        </a:spcAft>
                        <a:buFontTx/>
                        <a:buNone/>
                      </a:pPr>
                      <a:r>
                        <a:rPr lang="en-US" sz="1000" b="0" i="0" u="none" strike="noStrike" kern="1200">
                          <a:solidFill>
                            <a:schemeClr val="bg1"/>
                          </a:solidFill>
                          <a:effectLst/>
                          <a:latin typeface="Open Sans"/>
                          <a:ea typeface="Open Sans"/>
                          <a:cs typeface="Open Sans"/>
                        </a:rPr>
                        <a:t>Diamonde 2.0/Bolt 2.0 support – Retaining Passwords</a:t>
                      </a:r>
                    </a:p>
                  </a:txBody>
                  <a:tcPr marL="4075" marR="4075" marT="4075" marB="0" anchor="ctr">
                    <a:solidFill>
                      <a:schemeClr val="accent4">
                        <a:lumMod val="50000"/>
                      </a:schemeClr>
                    </a:solidFill>
                  </a:tcPr>
                </a:tc>
                <a:tc>
                  <a:txBody>
                    <a:bodyPr/>
                    <a:lstStyle/>
                    <a:p>
                      <a:pPr marL="0" lvl="0" indent="0" algn="ctr">
                        <a:lnSpc>
                          <a:spcPct val="100000"/>
                        </a:lnSpc>
                        <a:spcBef>
                          <a:spcPts val="0"/>
                        </a:spcBef>
                        <a:spcAft>
                          <a:spcPts val="0"/>
                        </a:spcAft>
                        <a:buNone/>
                      </a:pPr>
                      <a:r>
                        <a:rPr lang="en-US" sz="1000" b="1" i="0" u="none" strike="noStrike" kern="1200" cap="none" spc="0" normalizeH="0" baseline="0" noProof="0">
                          <a:ln>
                            <a:noFill/>
                          </a:ln>
                          <a:solidFill>
                            <a:srgbClr val="000000"/>
                          </a:solidFill>
                          <a:effectLst/>
                          <a:uLnTx/>
                          <a:uFillTx/>
                          <a:latin typeface="Open Sans"/>
                          <a:ea typeface="+mn-ea"/>
                          <a:cs typeface="+mn-cs"/>
                        </a:rPr>
                        <a:t>Amigos</a:t>
                      </a:r>
                    </a:p>
                  </a:txBody>
                  <a:tcPr marL="4075" marR="4075" marT="4075" marB="0" anchor="ctr"/>
                </a:tc>
                <a:tc>
                  <a:txBody>
                    <a:bodyPr/>
                    <a:lstStyle/>
                    <a:p>
                      <a:pPr lvl="0" algn="ctr">
                        <a:buNone/>
                      </a:pPr>
                      <a:endParaRPr lang="en-US" sz="1000" b="1" i="0" u="none" strike="noStrike">
                        <a:solidFill>
                          <a:schemeClr val="bg1"/>
                        </a:solidFill>
                        <a:effectLst/>
                        <a:latin typeface="Open Sans"/>
                      </a:endParaRPr>
                    </a:p>
                  </a:txBody>
                  <a:tcPr marL="4075" marR="4075" marT="4075" marB="0" anchor="ctr"/>
                </a:tc>
                <a:tc>
                  <a:txBody>
                    <a:bodyPr/>
                    <a:lstStyle/>
                    <a:p>
                      <a:pPr lvl="0" algn="ctr">
                        <a:buNone/>
                      </a:pPr>
                      <a:endParaRPr lang="en-US" sz="1000" b="1" i="0" u="none" strike="noStrike">
                        <a:solidFill>
                          <a:schemeClr val="bg1"/>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chemeClr val="bg1"/>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chemeClr val="tx1"/>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chemeClr val="bg1"/>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chemeClr val="bg1"/>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marL="0" lvl="0" algn="ctr" defTabSz="914388" rtl="0" eaLnBrk="1" fontAlgn="b" latinLnBrk="0" hangingPunct="1">
                        <a:buNone/>
                      </a:pPr>
                      <a:r>
                        <a:rPr lang="en-US" sz="1000" b="1" i="0" u="none" strike="noStrike" kern="1200">
                          <a:solidFill>
                            <a:srgbClr val="000000"/>
                          </a:solidFill>
                          <a:effectLst/>
                          <a:latin typeface="Open Sans"/>
                          <a:ea typeface="Open Sans"/>
                          <a:cs typeface="Open Sans"/>
                        </a:rPr>
                        <a:t>x</a:t>
                      </a:r>
                    </a:p>
                  </a:txBody>
                  <a:tcPr marL="4075" marR="4075" marT="4075" marB="0" anchor="ctr"/>
                </a:tc>
                <a:extLst>
                  <a:ext uri="{0D108BD9-81ED-4DB2-BD59-A6C34878D82A}">
                    <a16:rowId xmlns:a16="http://schemas.microsoft.com/office/drawing/2014/main" val="4028260646"/>
                  </a:ext>
                </a:extLst>
              </a:tr>
              <a:tr h="241137">
                <a:tc>
                  <a:txBody>
                    <a:bodyPr/>
                    <a:lstStyle/>
                    <a:p>
                      <a:pPr marL="0" marR="0" lvl="0" indent="0" algn="l" defTabSz="914388" rtl="0" eaLnBrk="1" latinLnBrk="0" hangingPunct="1">
                        <a:lnSpc>
                          <a:spcPct val="100000"/>
                        </a:lnSpc>
                        <a:spcBef>
                          <a:spcPts val="0"/>
                        </a:spcBef>
                        <a:spcAft>
                          <a:spcPts val="0"/>
                        </a:spcAft>
                        <a:buNone/>
                      </a:pPr>
                      <a:r>
                        <a:rPr lang="en-US" sz="1000" b="0" i="0" u="none" strike="noStrike" kern="1200">
                          <a:solidFill>
                            <a:schemeClr val="bg1"/>
                          </a:solidFill>
                          <a:effectLst/>
                          <a:latin typeface="Open Sans"/>
                          <a:ea typeface="Open Sans"/>
                          <a:cs typeface="Open Sans"/>
                        </a:rPr>
                        <a:t>DUNS/UHC Support (Import, Apply to archives, View, Search, Reports)</a:t>
                      </a:r>
                    </a:p>
                  </a:txBody>
                  <a:tcPr marL="4075" marR="4075" marT="4075" marB="0" anchor="ctr">
                    <a:solidFill>
                      <a:schemeClr val="accent4">
                        <a:lumMod val="50000"/>
                      </a:schemeClr>
                    </a:solidFill>
                  </a:tcPr>
                </a:tc>
                <a:tc>
                  <a:txBody>
                    <a:bodyPr/>
                    <a:lstStyle/>
                    <a:p>
                      <a:pPr marL="0" lvl="0" indent="0" algn="ctr">
                        <a:lnSpc>
                          <a:spcPct val="100000"/>
                        </a:lnSpc>
                        <a:spcBef>
                          <a:spcPts val="0"/>
                        </a:spcBef>
                        <a:spcAft>
                          <a:spcPts val="0"/>
                        </a:spcAft>
                        <a:buNone/>
                      </a:pPr>
                      <a:r>
                        <a:rPr lang="en-US" sz="1000" b="1" i="0" u="none" strike="noStrike" kern="1200" cap="none" spc="0" normalizeH="0" baseline="0" noProof="0">
                          <a:ln>
                            <a:noFill/>
                          </a:ln>
                          <a:solidFill>
                            <a:srgbClr val="000000"/>
                          </a:solidFill>
                          <a:effectLst/>
                          <a:uLnTx/>
                          <a:uFillTx/>
                          <a:latin typeface="Open Sans"/>
                        </a:rPr>
                        <a:t>Amigos</a:t>
                      </a:r>
                      <a:endParaRPr lang="en-US"/>
                    </a:p>
                  </a:txBody>
                  <a:tcPr marL="4075" marR="4075" marT="4075" marB="0" anchor="ctr"/>
                </a:tc>
                <a:tc>
                  <a:txBody>
                    <a:bodyPr/>
                    <a:lstStyle/>
                    <a:p>
                      <a:pPr lvl="0" algn="ctr">
                        <a:buNone/>
                      </a:pPr>
                      <a:endParaRPr lang="en-US" sz="1000" b="1" i="0" u="none" strike="noStrike">
                        <a:solidFill>
                          <a:srgbClr val="000000"/>
                        </a:solidFill>
                        <a:effectLst/>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Open Sans"/>
                          <a:ea typeface="Open Sans"/>
                          <a:cs typeface="Open Sans"/>
                        </a:rPr>
                        <a:t>x</a:t>
                      </a:r>
                    </a:p>
                    <a:p>
                      <a:pPr marL="0" lvl="0" algn="ctr" defTabSz="914388" rtl="0" eaLnBrk="1" fontAlgn="b" latinLnBrk="0" hangingPunct="1">
                        <a:buNone/>
                      </a:pPr>
                      <a:endParaRPr lang="en-US" sz="1000" b="1" i="0" u="none" strike="noStrike" kern="1200">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3407513786"/>
                  </a:ext>
                </a:extLst>
              </a:tr>
              <a:tr h="241137">
                <a:tc>
                  <a:txBody>
                    <a:bodyPr/>
                    <a:lstStyle/>
                    <a:p>
                      <a:pPr marL="0" marR="0" lvl="0" indent="0" algn="l" defTabSz="914388" rtl="0" eaLnBrk="1" latinLnBrk="0" hangingPunct="1">
                        <a:lnSpc>
                          <a:spcPct val="100000"/>
                        </a:lnSpc>
                        <a:spcBef>
                          <a:spcPts val="0"/>
                        </a:spcBef>
                        <a:spcAft>
                          <a:spcPts val="0"/>
                        </a:spcAft>
                        <a:buNone/>
                      </a:pPr>
                      <a:r>
                        <a:rPr lang="en-US" sz="1000" b="0" i="0" u="none" strike="noStrike" kern="1200">
                          <a:solidFill>
                            <a:schemeClr val="bg1"/>
                          </a:solidFill>
                          <a:effectLst/>
                          <a:latin typeface="Open Sans"/>
                          <a:ea typeface="Open Sans"/>
                          <a:cs typeface="Open Sans"/>
                        </a:rPr>
                        <a:t>Enhancing Levvia Integration &amp; Downloader</a:t>
                      </a:r>
                    </a:p>
                  </a:txBody>
                  <a:tcPr marL="4075" marR="4075" marT="4075" marB="0" anchor="ctr">
                    <a:solidFill>
                      <a:schemeClr val="accent4">
                        <a:lumMod val="50000"/>
                      </a:schemeClr>
                    </a:solidFill>
                  </a:tcPr>
                </a:tc>
                <a:tc>
                  <a:txBody>
                    <a:bodyPr/>
                    <a:lstStyle/>
                    <a:p>
                      <a:pPr marL="0" lvl="0" indent="0" algn="ctr">
                        <a:lnSpc>
                          <a:spcPct val="100000"/>
                        </a:lnSpc>
                        <a:spcBef>
                          <a:spcPts val="0"/>
                        </a:spcBef>
                        <a:spcAft>
                          <a:spcPts val="0"/>
                        </a:spcAft>
                        <a:buNone/>
                      </a:pPr>
                      <a:r>
                        <a:rPr lang="en-US" sz="1000" b="1" i="0" u="none" strike="noStrike" kern="1200" cap="none" spc="0" normalizeH="0" baseline="0" noProof="0">
                          <a:ln>
                            <a:noFill/>
                          </a:ln>
                          <a:solidFill>
                            <a:srgbClr val="000000"/>
                          </a:solidFill>
                          <a:effectLst/>
                          <a:uLnTx/>
                          <a:uFillTx/>
                          <a:latin typeface="Open Sans"/>
                        </a:rPr>
                        <a:t>Amigos</a:t>
                      </a:r>
                      <a:endParaRPr lang="en-US"/>
                    </a:p>
                  </a:txBody>
                  <a:tcPr marL="4075" marR="4075" marT="4075" marB="0" anchor="ctr"/>
                </a:tc>
                <a:tc>
                  <a:txBody>
                    <a:bodyPr/>
                    <a:lstStyle/>
                    <a:p>
                      <a:pPr lvl="0" algn="ctr">
                        <a:buNone/>
                      </a:pPr>
                      <a:endParaRPr lang="en-US" sz="1000" b="1" i="0" u="none" strike="noStrike">
                        <a:solidFill>
                          <a:srgbClr val="000000"/>
                        </a:solidFill>
                        <a:effectLst/>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r>
                        <a:rPr lang="en-US" sz="1000" b="1" i="0" u="none" strike="noStrike">
                          <a:solidFill>
                            <a:srgbClr val="000000"/>
                          </a:solidFill>
                          <a:effectLst/>
                          <a:latin typeface="Open Sans"/>
                          <a:ea typeface="Open Sans"/>
                          <a:cs typeface="Open Sans"/>
                        </a:rPr>
                        <a:t>x</a:t>
                      </a: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marL="0" lvl="0" algn="ctr" defTabSz="914388" rtl="0" eaLnBrk="1" fontAlgn="b" latinLnBrk="0" hangingPunct="1">
                        <a:buNone/>
                      </a:pPr>
                      <a:endParaRPr lang="en-US" sz="1000" b="1" i="0" u="none" strike="noStrike" kern="1200">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1090710699"/>
                  </a:ext>
                </a:extLst>
              </a:tr>
              <a:tr h="241137">
                <a:tc>
                  <a:txBody>
                    <a:bodyPr/>
                    <a:lstStyle/>
                    <a:p>
                      <a:pPr marL="0" lvl="0" algn="l" defTabSz="914388" rtl="0" eaLnBrk="1" latinLnBrk="0" hangingPunct="1">
                        <a:lnSpc>
                          <a:spcPct val="100000"/>
                        </a:lnSpc>
                        <a:spcBef>
                          <a:spcPts val="0"/>
                        </a:spcBef>
                        <a:spcAft>
                          <a:spcPts val="0"/>
                        </a:spcAft>
                        <a:buNone/>
                      </a:pPr>
                      <a:r>
                        <a:rPr lang="en-US" sz="1000" b="0" i="0" u="none" strike="noStrike" kern="1200" noProof="0">
                          <a:solidFill>
                            <a:schemeClr val="bg1"/>
                          </a:solidFill>
                          <a:effectLst/>
                          <a:latin typeface="Open Sans"/>
                          <a:ea typeface="Open Sans"/>
                          <a:cs typeface="Open Sans"/>
                        </a:rPr>
                        <a:t>Enhancing Omnia Archive Downloader</a:t>
                      </a:r>
                    </a:p>
                  </a:txBody>
                  <a:tcPr marL="4075" marR="4075" marT="4075" marB="0" anchor="ctr">
                    <a:solidFill>
                      <a:schemeClr val="accent4">
                        <a:lumMod val="50000"/>
                      </a:schemeClr>
                    </a:solidFill>
                  </a:tcPr>
                </a:tc>
                <a:tc>
                  <a:txBody>
                    <a:bodyPr/>
                    <a:lstStyle/>
                    <a:p>
                      <a:pPr marL="0" lvl="0" indent="0" algn="ctr">
                        <a:lnSpc>
                          <a:spcPct val="100000"/>
                        </a:lnSpc>
                        <a:spcBef>
                          <a:spcPts val="0"/>
                        </a:spcBef>
                        <a:spcAft>
                          <a:spcPts val="0"/>
                        </a:spcAft>
                        <a:buNone/>
                      </a:pPr>
                      <a:r>
                        <a:rPr lang="en-US" sz="1000" b="1" i="0" u="none" strike="noStrike" kern="1200" cap="none" spc="0" normalizeH="0" baseline="0" noProof="0">
                          <a:ln>
                            <a:noFill/>
                          </a:ln>
                          <a:solidFill>
                            <a:srgbClr val="000000"/>
                          </a:solidFill>
                          <a:effectLst/>
                          <a:uLnTx/>
                          <a:uFillTx/>
                          <a:latin typeface="Open Sans"/>
                        </a:rPr>
                        <a:t>Amigos</a:t>
                      </a:r>
                      <a:endParaRPr lang="en-US"/>
                    </a:p>
                  </a:txBody>
                  <a:tcPr marL="4075" marR="4075" marT="4075" marB="0" anchor="ctr"/>
                </a:tc>
                <a:tc>
                  <a:txBody>
                    <a:bodyPr/>
                    <a:lstStyle/>
                    <a:p>
                      <a:pPr lvl="0" algn="ctr">
                        <a:buNone/>
                      </a:pPr>
                      <a:endParaRPr lang="en-US" sz="1000" b="1" i="0" u="none" strike="noStrike">
                        <a:solidFill>
                          <a:srgbClr val="000000"/>
                        </a:solidFill>
                        <a:effectLst/>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r>
                        <a:rPr lang="en-US" sz="1000" b="1" i="0" u="none" strike="noStrike">
                          <a:solidFill>
                            <a:srgbClr val="000000"/>
                          </a:solidFill>
                          <a:effectLst/>
                          <a:latin typeface="Open Sans"/>
                          <a:ea typeface="Open Sans"/>
                          <a:cs typeface="Open Sans"/>
                        </a:rPr>
                        <a:t>x</a:t>
                      </a:r>
                    </a:p>
                  </a:txBody>
                  <a:tcPr marL="4075" marR="4075" marT="4075" marB="0" anchor="ctr"/>
                </a:tc>
                <a:extLst>
                  <a:ext uri="{0D108BD9-81ED-4DB2-BD59-A6C34878D82A}">
                    <a16:rowId xmlns:a16="http://schemas.microsoft.com/office/drawing/2014/main" val="4282562488"/>
                  </a:ext>
                </a:extLst>
              </a:tr>
              <a:tr h="241137">
                <a:tc>
                  <a:txBody>
                    <a:bodyPr/>
                    <a:lstStyle/>
                    <a:p>
                      <a:pPr lvl="0" algn="l">
                        <a:buNone/>
                      </a:pPr>
                      <a:r>
                        <a:rPr lang="en-US" sz="1000" b="0" i="0" u="none" strike="noStrike">
                          <a:solidFill>
                            <a:schemeClr val="bg1"/>
                          </a:solidFill>
                          <a:effectLst/>
                          <a:latin typeface="Open Sans"/>
                          <a:ea typeface="Open Sans"/>
                          <a:cs typeface="Open Sans"/>
                        </a:rPr>
                        <a:t>Production Support</a:t>
                      </a:r>
                    </a:p>
                  </a:txBody>
                  <a:tcPr marL="4075" marR="4075" marT="4075" marB="0" anchor="ctr">
                    <a:solidFill>
                      <a:schemeClr val="accent4">
                        <a:lumMod val="50000"/>
                      </a:schemeClr>
                    </a:solidFill>
                  </a:tcPr>
                </a:tc>
                <a:tc>
                  <a:txBody>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lang="en-US" sz="1000" b="1" i="0" u="none" strike="noStrike" kern="1200" cap="none" spc="0" normalizeH="0" baseline="0" noProof="0">
                          <a:ln>
                            <a:noFill/>
                          </a:ln>
                          <a:solidFill>
                            <a:srgbClr val="000000"/>
                          </a:solidFill>
                          <a:effectLst/>
                          <a:uLnTx/>
                          <a:uFillTx/>
                          <a:latin typeface="Open Sans"/>
                        </a:rPr>
                        <a:t>Amigos</a:t>
                      </a:r>
                      <a:endParaRPr lang="en-US" sz="1050"/>
                    </a:p>
                    <a:p>
                      <a:pPr marL="0" marR="0" lvl="0" indent="0" algn="ctr" rtl="0">
                        <a:lnSpc>
                          <a:spcPct val="100000"/>
                        </a:lnSpc>
                        <a:spcBef>
                          <a:spcPts val="0"/>
                        </a:spcBef>
                        <a:spcAft>
                          <a:spcPts val="0"/>
                        </a:spcAft>
                        <a:buFontTx/>
                        <a:buNone/>
                      </a:pPr>
                      <a:endParaRPr lang="en-US" sz="1000" b="1" i="0" u="none" strike="noStrike" kern="1200" cap="none" spc="0" normalizeH="0" baseline="0" noProof="0">
                        <a:ln>
                          <a:noFill/>
                        </a:ln>
                        <a:solidFill>
                          <a:srgbClr val="000000"/>
                        </a:solidFill>
                        <a:effectLst/>
                        <a:uLnTx/>
                        <a:uFillTx/>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r>
                        <a:rPr lang="en-US" sz="1000" b="1" i="0" u="none" strike="noStrike">
                          <a:solidFill>
                            <a:srgbClr val="000000"/>
                          </a:solidFill>
                          <a:effectLst/>
                          <a:latin typeface="Open Sans"/>
                          <a:ea typeface="Open Sans"/>
                          <a:cs typeface="Open Sans"/>
                        </a:rPr>
                        <a:t>x</a:t>
                      </a:r>
                    </a:p>
                  </a:txBody>
                  <a:tcPr marL="4075" marR="4075" marT="4075" marB="0" anchor="ctr"/>
                </a:tc>
                <a:extLst>
                  <a:ext uri="{0D108BD9-81ED-4DB2-BD59-A6C34878D82A}">
                    <a16:rowId xmlns:a16="http://schemas.microsoft.com/office/drawing/2014/main" val="3966400354"/>
                  </a:ext>
                </a:extLst>
              </a:tr>
              <a:tr h="241137">
                <a:tc>
                  <a:txBody>
                    <a:bodyPr/>
                    <a:lstStyle/>
                    <a:p>
                      <a:pPr lvl="0" algn="ctr">
                        <a:buNone/>
                      </a:pPr>
                      <a:r>
                        <a:rPr lang="en-US" sz="1000" b="1" i="0" u="none" strike="noStrike" noProof="0">
                          <a:solidFill>
                            <a:schemeClr val="bg1"/>
                          </a:solidFill>
                          <a:effectLst/>
                          <a:latin typeface="Open Sans"/>
                        </a:rPr>
                        <a:t>CMS</a:t>
                      </a:r>
                      <a:endParaRPr lang="en-US"/>
                    </a:p>
                  </a:txBody>
                  <a:tcPr marL="4075" marR="4075" marT="4075" marB="0" anchor="ctr">
                    <a:solidFill>
                      <a:schemeClr val="accent4">
                        <a:lumMod val="50000"/>
                      </a:schemeClr>
                    </a:solidFill>
                  </a:tcPr>
                </a:tc>
                <a:tc>
                  <a:txBody>
                    <a:bodyPr/>
                    <a:lstStyle/>
                    <a:p>
                      <a:pPr marL="0" marR="0" lvl="0" indent="0" algn="ctr" rtl="0">
                        <a:lnSpc>
                          <a:spcPct val="100000"/>
                        </a:lnSpc>
                        <a:spcBef>
                          <a:spcPts val="0"/>
                        </a:spcBef>
                        <a:spcAft>
                          <a:spcPts val="0"/>
                        </a:spcAft>
                        <a:buFontTx/>
                        <a:buNone/>
                      </a:pPr>
                      <a:endParaRPr lang="en-US" sz="1000" b="1" i="0" u="none" strike="noStrike" kern="1200" cap="none" spc="0" normalizeH="0" baseline="0" noProof="0">
                        <a:ln>
                          <a:noFill/>
                        </a:ln>
                        <a:solidFill>
                          <a:srgbClr val="000000"/>
                        </a:solidFill>
                        <a:effectLst/>
                        <a:uLnTx/>
                        <a:uFillTx/>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3078035153"/>
                  </a:ext>
                </a:extLst>
              </a:tr>
              <a:tr h="241137">
                <a:tc>
                  <a:txBody>
                    <a:bodyPr/>
                    <a:lstStyle/>
                    <a:p>
                      <a:pPr lvl="0" algn="l">
                        <a:lnSpc>
                          <a:spcPct val="100000"/>
                        </a:lnSpc>
                        <a:spcBef>
                          <a:spcPts val="0"/>
                        </a:spcBef>
                        <a:spcAft>
                          <a:spcPts val="0"/>
                        </a:spcAft>
                        <a:buNone/>
                      </a:pPr>
                      <a:r>
                        <a:rPr lang="en-US" sz="1000" b="0" i="0" u="none" strike="noStrike" noProof="0">
                          <a:solidFill>
                            <a:schemeClr val="bg1"/>
                          </a:solidFill>
                          <a:effectLst/>
                          <a:latin typeface="Open Sans"/>
                        </a:rPr>
                        <a:t>     Architectural runway – Technical backlogs</a:t>
                      </a:r>
                      <a:endParaRPr lang="en-US" sz="1000" b="1" i="0" u="none" strike="noStrike" noProof="0">
                        <a:effectLst/>
                      </a:endParaRPr>
                    </a:p>
                  </a:txBody>
                  <a:tcPr marL="4075" marR="4075" marT="4075" marB="0" anchor="ctr">
                    <a:solidFill>
                      <a:schemeClr val="accent4">
                        <a:lumMod val="50000"/>
                      </a:schemeClr>
                    </a:solidFill>
                  </a:tcPr>
                </a:tc>
                <a:tc>
                  <a:txBody>
                    <a:bodyPr/>
                    <a:lstStyle/>
                    <a:p>
                      <a:pPr lvl="0" algn="ctr">
                        <a:lnSpc>
                          <a:spcPct val="100000"/>
                        </a:lnSpc>
                        <a:spcBef>
                          <a:spcPts val="0"/>
                        </a:spcBef>
                        <a:spcAft>
                          <a:spcPts val="0"/>
                        </a:spcAft>
                        <a:buNone/>
                      </a:pPr>
                      <a:r>
                        <a:rPr lang="en-US" sz="1000" b="1" i="0" u="none" strike="noStrike" kern="1200" noProof="0">
                          <a:effectLst/>
                          <a:latin typeface="Open Sans"/>
                        </a:rPr>
                        <a:t>Content Fosters</a:t>
                      </a:r>
                      <a:endParaRPr lang="en-US" sz="1000" b="0" i="0" u="none" strike="noStrike" kern="1200" noProof="0">
                        <a:effectLst/>
                      </a:endParaRPr>
                    </a:p>
                  </a:txBody>
                  <a:tcPr marL="4075" marR="4075" marT="4075" marB="0" anchor="ctr"/>
                </a:tc>
                <a:tc>
                  <a:txBody>
                    <a:bodyPr/>
                    <a:lstStyle/>
                    <a:p>
                      <a:pPr lvl="0" algn="ctr">
                        <a:buNone/>
                      </a:pPr>
                      <a:endParaRPr lang="en-US" sz="1000" b="0" i="0" u="none" strike="noStrike" noProof="0">
                        <a:effectLst/>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r>
                        <a:rPr lang="en-US" sz="1000" b="0" i="0" u="none" strike="noStrike" noProof="0">
                          <a:effectLst/>
                          <a:latin typeface="Open Sans"/>
                        </a:rPr>
                        <a:t>X</a:t>
                      </a:r>
                      <a:endParaRPr lang="en-US"/>
                    </a:p>
                  </a:txBody>
                  <a:tcPr marL="4075" marR="4075" marT="4075" marB="0" anchor="ctr"/>
                </a:tc>
                <a:extLst>
                  <a:ext uri="{0D108BD9-81ED-4DB2-BD59-A6C34878D82A}">
                    <a16:rowId xmlns:a16="http://schemas.microsoft.com/office/drawing/2014/main" val="1073815740"/>
                  </a:ext>
                </a:extLst>
              </a:tr>
              <a:tr h="241137">
                <a:tc>
                  <a:txBody>
                    <a:bodyPr/>
                    <a:lstStyle/>
                    <a:p>
                      <a:pPr lvl="0" algn="l">
                        <a:buNone/>
                      </a:pPr>
                      <a:r>
                        <a:rPr lang="en-US" sz="1000" b="0" i="0" u="none" strike="noStrike">
                          <a:solidFill>
                            <a:schemeClr val="bg1"/>
                          </a:solidFill>
                          <a:effectLst/>
                          <a:latin typeface="Open Sans"/>
                        </a:rPr>
                        <a:t>     Cloud Migration</a:t>
                      </a:r>
                    </a:p>
                  </a:txBody>
                  <a:tcPr marL="4075" marR="4075" marT="4075" marB="0" anchor="ctr">
                    <a:solidFill>
                      <a:schemeClr val="accent4">
                        <a:lumMod val="50000"/>
                      </a:schemeClr>
                    </a:solidFill>
                  </a:tcPr>
                </a:tc>
                <a:tc>
                  <a:txBody>
                    <a:bodyPr/>
                    <a:lstStyle/>
                    <a:p>
                      <a:pPr lvl="0" algn="ctr">
                        <a:buNone/>
                      </a:pPr>
                      <a:r>
                        <a:rPr lang="en-US" sz="1000" b="1" i="0" u="none" strike="noStrike" kern="1200" noProof="0">
                          <a:effectLst/>
                          <a:latin typeface="Open Sans"/>
                        </a:rPr>
                        <a:t>Content Fosters</a:t>
                      </a:r>
                      <a:endParaRPr lang="en-US" sz="1000" b="1" i="0" u="none" strike="noStrike" kern="1200">
                        <a:solidFill>
                          <a:srgbClr val="000000"/>
                        </a:solidFill>
                        <a:effectLst/>
                        <a:latin typeface="Open Sans"/>
                      </a:endParaRPr>
                    </a:p>
                  </a:txBody>
                  <a:tcPr marL="4075" marR="4075" marT="4075" marB="0" anchor="ctr"/>
                </a:tc>
                <a:tc>
                  <a:txBody>
                    <a:bodyPr/>
                    <a:lstStyle/>
                    <a:p>
                      <a:pPr lvl="0" algn="ctr">
                        <a:buNone/>
                      </a:pPr>
                      <a:endParaRPr lang="en-US" sz="1000" b="0" i="0" u="none" strike="noStrike" noProof="0">
                        <a:effectLst/>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r>
                        <a:rPr lang="en-US" sz="1000" b="0" i="0" u="none" strike="noStrike" noProof="0">
                          <a:effectLst/>
                          <a:latin typeface="Open Sans"/>
                          <a:ea typeface="Open Sans"/>
                          <a:cs typeface="Open Sans"/>
                        </a:rPr>
                        <a:t>X</a:t>
                      </a:r>
                      <a:endParaRPr lang="en-US" sz="1000">
                        <a:latin typeface="Open Sans"/>
                        <a:ea typeface="Open Sans"/>
                        <a:cs typeface="Open Sans"/>
                      </a:endParaRPr>
                    </a:p>
                  </a:txBody>
                  <a:tcPr marL="4075" marR="4075" marT="4075" marB="0" anchor="ctr"/>
                </a:tc>
                <a:extLst>
                  <a:ext uri="{0D108BD9-81ED-4DB2-BD59-A6C34878D82A}">
                    <a16:rowId xmlns:a16="http://schemas.microsoft.com/office/drawing/2014/main" val="472805858"/>
                  </a:ext>
                </a:extLst>
              </a:tr>
              <a:tr h="241137">
                <a:tc>
                  <a:txBody>
                    <a:bodyPr/>
                    <a:lstStyle/>
                    <a:p>
                      <a:pPr lvl="0" algn="l">
                        <a:buNone/>
                      </a:pPr>
                      <a:r>
                        <a:rPr lang="en-US" sz="1000" b="0" i="0" u="none" strike="noStrike" noProof="0">
                          <a:solidFill>
                            <a:schemeClr val="bg1"/>
                          </a:solidFill>
                          <a:effectLst/>
                          <a:latin typeface="Open Sans"/>
                        </a:rPr>
                        <a:t>     Production support</a:t>
                      </a:r>
                      <a:endParaRPr lang="en-US" sz="1000" b="0">
                        <a:latin typeface="Open Sans"/>
                      </a:endParaRPr>
                    </a:p>
                  </a:txBody>
                  <a:tcPr marL="4075" marR="4075" marT="4075" marB="0" anchor="ctr">
                    <a:solidFill>
                      <a:schemeClr val="accent4">
                        <a:lumMod val="50000"/>
                      </a:schemeClr>
                    </a:solidFill>
                  </a:tcPr>
                </a:tc>
                <a:tc>
                  <a:txBody>
                    <a:bodyPr/>
                    <a:lstStyle/>
                    <a:p>
                      <a:pPr lvl="0" algn="ctr">
                        <a:buNone/>
                      </a:pPr>
                      <a:r>
                        <a:rPr lang="en-US" sz="1000" b="1" i="0" u="none" strike="noStrike" noProof="0">
                          <a:effectLst/>
                          <a:latin typeface="Open Sans"/>
                        </a:rPr>
                        <a:t>Content Fosters</a:t>
                      </a:r>
                      <a:endParaRPr lang="en-US" sz="1000" b="1" i="0" u="none" strike="noStrike">
                        <a:solidFill>
                          <a:srgbClr val="000000"/>
                        </a:solidFill>
                        <a:effectLst/>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lvl="0" algn="ctr">
                        <a:buNone/>
                      </a:pPr>
                      <a:r>
                        <a:rPr lang="en-US" sz="1000" b="0" i="0" u="none" strike="noStrike" noProof="0">
                          <a:effectLst/>
                          <a:latin typeface="Open Sans"/>
                          <a:ea typeface="Open Sans"/>
                          <a:cs typeface="Open Sans"/>
                        </a:rPr>
                        <a:t>X</a:t>
                      </a:r>
                      <a:endParaRPr lang="en-US" sz="1000">
                        <a:latin typeface="Open Sans"/>
                        <a:ea typeface="Open Sans"/>
                        <a:cs typeface="Open Sans"/>
                      </a:endParaRPr>
                    </a:p>
                  </a:txBody>
                  <a:tcPr marL="4075" marR="4075" marT="4075" marB="0" anchor="ctr"/>
                </a:tc>
                <a:extLst>
                  <a:ext uri="{0D108BD9-81ED-4DB2-BD59-A6C34878D82A}">
                    <a16:rowId xmlns:a16="http://schemas.microsoft.com/office/drawing/2014/main" val="3403848799"/>
                  </a:ext>
                </a:extLst>
              </a:tr>
            </a:tbl>
          </a:graphicData>
        </a:graphic>
      </p:graphicFrame>
      <p:sp>
        <p:nvSpPr>
          <p:cNvPr id="6" name="Title 1">
            <a:extLst>
              <a:ext uri="{FF2B5EF4-FFF2-40B4-BE49-F238E27FC236}">
                <a16:creationId xmlns:a16="http://schemas.microsoft.com/office/drawing/2014/main" id="{3A1B4E52-1783-4186-9061-FBE7AEA94430}"/>
              </a:ext>
            </a:extLst>
          </p:cNvPr>
          <p:cNvSpPr txBox="1">
            <a:spLocks/>
          </p:cNvSpPr>
          <p:nvPr/>
        </p:nvSpPr>
        <p:spPr>
          <a:xfrm>
            <a:off x="381413" y="42046"/>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0" b="1">
                <a:solidFill>
                  <a:schemeClr val="tx1">
                    <a:lumMod val="50000"/>
                    <a:lumOff val="50000"/>
                  </a:schemeClr>
                </a:solidFill>
                <a:latin typeface="Open Sans"/>
                <a:ea typeface="Open Sans" panose="020B0606030504020204" pitchFamily="34" charset="0"/>
                <a:cs typeface="Open Sans" panose="020B0606030504020204" pitchFamily="34" charset="0"/>
              </a:rPr>
              <a:t>Business Value – Feature Mapping | EMS, AAT &amp; CMS</a:t>
            </a:r>
          </a:p>
        </p:txBody>
      </p:sp>
    </p:spTree>
    <p:extLst>
      <p:ext uri="{BB962C8B-B14F-4D97-AF65-F5344CB8AC3E}">
        <p14:creationId xmlns:p14="http://schemas.microsoft.com/office/powerpoint/2010/main" val="847777020"/>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Rounded Rectangle 24"/>
          <p:cNvSpPr/>
          <p:nvPr/>
        </p:nvSpPr>
        <p:spPr>
          <a:xfrm>
            <a:off x="4670014" y="2388321"/>
            <a:ext cx="4888942" cy="3141808"/>
          </a:xfrm>
          <a:prstGeom prst="roundRect">
            <a:avLst>
              <a:gd name="adj" fmla="val 2397"/>
            </a:avLst>
          </a:prstGeom>
          <a:solidFill>
            <a:schemeClr val="tx1"/>
          </a:solidFill>
          <a:ln w="12700">
            <a:solidFill>
              <a:schemeClr val="bg2"/>
            </a:solidFill>
            <a:prstDash val="dash"/>
          </a:ln>
        </p:spPr>
        <p:style>
          <a:lnRef idx="2">
            <a:schemeClr val="accent4"/>
          </a:lnRef>
          <a:fillRef idx="1">
            <a:schemeClr val="lt1"/>
          </a:fillRef>
          <a:effectRef idx="0">
            <a:schemeClr val="accent4"/>
          </a:effectRef>
          <a:fontRef idx="minor">
            <a:schemeClr val="dk1"/>
          </a:fontRef>
        </p:style>
        <p:txBody>
          <a:bodyPr lIns="25781" tIns="25781" rIns="2578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4" b="1" i="0"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1" name="Rectangle 19"/>
          <p:cNvSpPr>
            <a:spLocks noChangeArrowheads="1"/>
          </p:cNvSpPr>
          <p:nvPr/>
        </p:nvSpPr>
        <p:spPr bwMode="auto">
          <a:xfrm>
            <a:off x="542797" y="2548663"/>
            <a:ext cx="1542102" cy="2869303"/>
          </a:xfrm>
          <a:prstGeom prst="rect">
            <a:avLst/>
          </a:prstGeom>
          <a:solidFill>
            <a:schemeClr val="accent4"/>
          </a:solidFill>
          <a:ln w="19050" algn="ctr">
            <a:noFill/>
            <a:miter lim="800000"/>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AU" sz="18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tratification of portfolio </a:t>
            </a:r>
            <a:br>
              <a:rPr kumimoji="0" lang="en-AU"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endParaRPr kumimoji="0" lang="en-AU" sz="1400" b="0" i="1"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7" name="Rectangle 19"/>
          <p:cNvSpPr>
            <a:spLocks noChangeArrowheads="1"/>
          </p:cNvSpPr>
          <p:nvPr/>
        </p:nvSpPr>
        <p:spPr bwMode="auto">
          <a:xfrm>
            <a:off x="2199532" y="2548663"/>
            <a:ext cx="2021190" cy="2871109"/>
          </a:xfrm>
          <a:prstGeom prst="rect">
            <a:avLst/>
          </a:prstGeom>
          <a:solidFill>
            <a:schemeClr val="accent1"/>
          </a:solidFill>
          <a:ln w="19050" algn="ctr">
            <a:noFill/>
            <a:miter lim="800000"/>
            <a:headEnd/>
            <a:tailEnd/>
          </a:ln>
        </p:spPr>
        <p:txBody>
          <a:bodyPr wrap="square" lIns="88900" tIns="88900" rIns="88900" bIns="88900" anchor="ctr"/>
          <a:lstStyle/>
          <a:p>
            <a:pPr marL="0" marR="0" lvl="0" indent="0" algn="ctr" defTabSz="914400" rtl="0" eaLnBrk="1" fontAlgn="base" latinLnBrk="0" hangingPunct="1">
              <a:lnSpc>
                <a:spcPct val="100000"/>
              </a:lnSpc>
              <a:spcBef>
                <a:spcPts val="600"/>
              </a:spcBef>
              <a:spcAft>
                <a:spcPts val="600"/>
              </a:spcAft>
              <a:buClrTx/>
              <a:buSzPct val="100000"/>
              <a:buFontTx/>
              <a:buNone/>
              <a:tabLst/>
              <a:defRPr/>
            </a:pPr>
            <a:endParaRPr kumimoji="0" lang="en-AU"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Rectangle 19"/>
          <p:cNvSpPr>
            <a:spLocks noChangeArrowheads="1"/>
          </p:cNvSpPr>
          <p:nvPr/>
        </p:nvSpPr>
        <p:spPr bwMode="auto">
          <a:xfrm>
            <a:off x="4784647" y="2548663"/>
            <a:ext cx="1633084" cy="2864073"/>
          </a:xfrm>
          <a:prstGeom prst="rect">
            <a:avLst/>
          </a:prstGeom>
          <a:solidFill>
            <a:schemeClr val="accent5"/>
          </a:solidFill>
          <a:ln w="19050" algn="ctr">
            <a:noFill/>
            <a:miter lim="800000"/>
            <a:headEnd/>
            <a:tailEnd/>
          </a:ln>
        </p:spPr>
        <p:txBody>
          <a:bodyPr wrap="square" lIns="88900" tIns="88900" rIns="88900" bIns="88900" anchor="ctr"/>
          <a:lstStyle/>
          <a:p>
            <a:pPr marL="0" marR="0" lvl="0" indent="0" algn="ctr" defTabSz="914400" rtl="0" eaLnBrk="1" fontAlgn="base" latinLnBrk="0" hangingPunct="1">
              <a:lnSpc>
                <a:spcPct val="100000"/>
              </a:lnSpc>
              <a:spcBef>
                <a:spcPts val="600"/>
              </a:spcBef>
              <a:spcAft>
                <a:spcPts val="600"/>
              </a:spcAft>
              <a:buClrTx/>
              <a:buSzPct val="100000"/>
              <a:buFontTx/>
              <a:buNone/>
              <a:tabLst/>
              <a:defRPr/>
            </a:pPr>
            <a:r>
              <a:rPr kumimoji="0" lang="en-AU" sz="18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tilizing a suite of Monitoring Tools </a:t>
            </a:r>
          </a:p>
        </p:txBody>
      </p:sp>
      <p:sp>
        <p:nvSpPr>
          <p:cNvPr id="24" name="TextBox 23">
            <a:extLst>
              <a:ext uri="{FF2B5EF4-FFF2-40B4-BE49-F238E27FC236}">
                <a16:creationId xmlns:a16="http://schemas.microsoft.com/office/drawing/2014/main" id="{72C6FA1E-06DE-440B-9D0D-CBD59457BD2F}"/>
              </a:ext>
            </a:extLst>
          </p:cNvPr>
          <p:cNvSpPr txBox="1"/>
          <p:nvPr/>
        </p:nvSpPr>
        <p:spPr>
          <a:xfrm>
            <a:off x="542798" y="1363230"/>
            <a:ext cx="11151982" cy="400110"/>
          </a:xfrm>
          <a:prstGeom prst="rect">
            <a:avLst/>
          </a:prstGeom>
          <a:solidFill>
            <a:srgbClr val="000000"/>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QMM Engagement Monitoring Program</a:t>
            </a:r>
            <a:endParaRPr kumimoji="0" lang="en-US" sz="2000" b="0" i="0" u="none" strike="noStrike" kern="0" cap="none" spc="0" normalizeH="0" baseline="0" noProof="0">
              <a:ln>
                <a:noFill/>
              </a:ln>
              <a:solidFill>
                <a:srgbClr val="FF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6" name="Picture 25">
            <a:extLst>
              <a:ext uri="{FF2B5EF4-FFF2-40B4-BE49-F238E27FC236}">
                <a16:creationId xmlns:a16="http://schemas.microsoft.com/office/drawing/2014/main" id="{A930B045-2E58-46FA-8D25-2B09AF7CE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98557" y="65113"/>
            <a:ext cx="1188868" cy="1188868"/>
          </a:xfrm>
          <a:prstGeom prst="rect">
            <a:avLst/>
          </a:prstGeom>
        </p:spPr>
      </p:pic>
      <p:sp>
        <p:nvSpPr>
          <p:cNvPr id="30" name="TextBox 29">
            <a:extLst>
              <a:ext uri="{FF2B5EF4-FFF2-40B4-BE49-F238E27FC236}">
                <a16:creationId xmlns:a16="http://schemas.microsoft.com/office/drawing/2014/main" id="{92E932A8-E38E-4167-8DD9-EB7CCD51D05D}"/>
              </a:ext>
            </a:extLst>
          </p:cNvPr>
          <p:cNvSpPr txBox="1"/>
          <p:nvPr/>
        </p:nvSpPr>
        <p:spPr>
          <a:xfrm>
            <a:off x="407489" y="366685"/>
            <a:ext cx="11679936" cy="369332"/>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2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QMM Engagement Monitoring</a:t>
            </a:r>
          </a:p>
        </p:txBody>
      </p:sp>
      <p:sp>
        <p:nvSpPr>
          <p:cNvPr id="31" name="TextBox 30">
            <a:extLst>
              <a:ext uri="{FF2B5EF4-FFF2-40B4-BE49-F238E27FC236}">
                <a16:creationId xmlns:a16="http://schemas.microsoft.com/office/drawing/2014/main" id="{F6019879-BECE-4C9E-BEAF-BFCA4C02E2F1}"/>
              </a:ext>
            </a:extLst>
          </p:cNvPr>
          <p:cNvSpPr txBox="1"/>
          <p:nvPr/>
        </p:nvSpPr>
        <p:spPr>
          <a:xfrm>
            <a:off x="407489" y="822957"/>
            <a:ext cx="11679936" cy="276999"/>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ransformed integrated processes and tools reflective of ISQM1</a:t>
            </a:r>
          </a:p>
        </p:txBody>
      </p:sp>
      <p:sp>
        <p:nvSpPr>
          <p:cNvPr id="34" name="Right Arrow 6">
            <a:extLst>
              <a:ext uri="{FF2B5EF4-FFF2-40B4-BE49-F238E27FC236}">
                <a16:creationId xmlns:a16="http://schemas.microsoft.com/office/drawing/2014/main" id="{4B70D195-2FDC-4AB8-AF68-CB7957C9FFDB}"/>
              </a:ext>
            </a:extLst>
          </p:cNvPr>
          <p:cNvSpPr/>
          <p:nvPr/>
        </p:nvSpPr>
        <p:spPr bwMode="gray">
          <a:xfrm>
            <a:off x="4282561" y="3829759"/>
            <a:ext cx="312331" cy="247969"/>
          </a:xfrm>
          <a:prstGeom prst="rightArrow">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5" name="Rectangle 19">
            <a:extLst>
              <a:ext uri="{FF2B5EF4-FFF2-40B4-BE49-F238E27FC236}">
                <a16:creationId xmlns:a16="http://schemas.microsoft.com/office/drawing/2014/main" id="{8D1858E7-38A8-4B8E-AF1C-0D720090EE64}"/>
              </a:ext>
            </a:extLst>
          </p:cNvPr>
          <p:cNvSpPr>
            <a:spLocks noChangeArrowheads="1"/>
          </p:cNvSpPr>
          <p:nvPr/>
        </p:nvSpPr>
        <p:spPr bwMode="auto">
          <a:xfrm>
            <a:off x="10061695" y="2548663"/>
            <a:ext cx="1633084" cy="2869303"/>
          </a:xfrm>
          <a:prstGeom prst="rect">
            <a:avLst/>
          </a:prstGeom>
          <a:solidFill>
            <a:schemeClr val="tx1">
              <a:lumMod val="50000"/>
            </a:schemeClr>
          </a:solidFill>
          <a:ln w="57150" algn="ctr">
            <a:solidFill>
              <a:srgbClr val="FFC000"/>
            </a:solidFill>
            <a:miter lim="800000"/>
            <a:headEnd/>
            <a:tailEnd/>
          </a:ln>
          <a:effectLst>
            <a:outerShdw blurRad="63500" sx="102000" sy="102000" algn="ctr" rotWithShape="0">
              <a:prstClr val="black">
                <a:alpha val="40000"/>
              </a:prstClr>
            </a:outerShdw>
          </a:effectLst>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AU" sz="1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QMM Platform</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AU" sz="1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AU" sz="18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riving consistency, efficiency and insights</a:t>
            </a:r>
            <a:endParaRPr kumimoji="0" lang="en-AU"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6" name="Right Arrow 6">
            <a:extLst>
              <a:ext uri="{FF2B5EF4-FFF2-40B4-BE49-F238E27FC236}">
                <a16:creationId xmlns:a16="http://schemas.microsoft.com/office/drawing/2014/main" id="{ACA33C46-4C93-41D7-B033-6F2F81A2ADE9}"/>
              </a:ext>
            </a:extLst>
          </p:cNvPr>
          <p:cNvSpPr/>
          <p:nvPr/>
        </p:nvSpPr>
        <p:spPr bwMode="gray">
          <a:xfrm>
            <a:off x="9666708" y="3829758"/>
            <a:ext cx="312331" cy="247969"/>
          </a:xfrm>
          <a:prstGeom prst="rightArrow">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Oval 26">
            <a:extLst>
              <a:ext uri="{FF2B5EF4-FFF2-40B4-BE49-F238E27FC236}">
                <a16:creationId xmlns:a16="http://schemas.microsoft.com/office/drawing/2014/main" id="{5B42AC58-EAF5-492E-B778-F2FF15A0C615}"/>
              </a:ext>
            </a:extLst>
          </p:cNvPr>
          <p:cNvSpPr/>
          <p:nvPr/>
        </p:nvSpPr>
        <p:spPr bwMode="gray">
          <a:xfrm>
            <a:off x="6549753" y="2581615"/>
            <a:ext cx="2929169" cy="2929169"/>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black"/>
              </a:solidFill>
              <a:effectLst/>
              <a:uLnTx/>
              <a:uFillTx/>
              <a:latin typeface="Verdana"/>
              <a:ea typeface="+mn-ea"/>
              <a:cs typeface="+mn-cs"/>
            </a:endParaRPr>
          </a:p>
        </p:txBody>
      </p:sp>
      <p:sp>
        <p:nvSpPr>
          <p:cNvPr id="39" name="Rectangle 38">
            <a:extLst>
              <a:ext uri="{FF2B5EF4-FFF2-40B4-BE49-F238E27FC236}">
                <a16:creationId xmlns:a16="http://schemas.microsoft.com/office/drawing/2014/main" id="{BEB78F8F-C026-4F01-894F-A108EAAF4157}"/>
              </a:ext>
            </a:extLst>
          </p:cNvPr>
          <p:cNvSpPr/>
          <p:nvPr/>
        </p:nvSpPr>
        <p:spPr>
          <a:xfrm>
            <a:off x="7094519" y="3126128"/>
            <a:ext cx="1828800" cy="1828800"/>
          </a:xfrm>
          <a:prstGeom prst="rect">
            <a:avLst/>
          </a:prstGeom>
        </p:spPr>
        <p:txBody>
          <a:bodyPr wrap="square">
            <a:prstTxWarp prst="textArchUp">
              <a:avLst>
                <a:gd name="adj" fmla="val 1058392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rchived Reviews</a:t>
            </a:r>
          </a:p>
        </p:txBody>
      </p:sp>
      <p:sp>
        <p:nvSpPr>
          <p:cNvPr id="40" name="Rectangle 39">
            <a:extLst>
              <a:ext uri="{FF2B5EF4-FFF2-40B4-BE49-F238E27FC236}">
                <a16:creationId xmlns:a16="http://schemas.microsoft.com/office/drawing/2014/main" id="{991ACF95-8BFF-4A82-83BD-C40324EA6010}"/>
              </a:ext>
            </a:extLst>
          </p:cNvPr>
          <p:cNvSpPr/>
          <p:nvPr/>
        </p:nvSpPr>
        <p:spPr>
          <a:xfrm>
            <a:off x="7094519" y="3126128"/>
            <a:ext cx="1828800" cy="1828800"/>
          </a:xfrm>
          <a:prstGeom prst="rect">
            <a:avLst/>
          </a:prstGeom>
        </p:spPr>
        <p:txBody>
          <a:bodyPr wrap="square">
            <a:prstTxWarp prst="textArchUp">
              <a:avLst>
                <a:gd name="adj" fmla="val 18107226"/>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In-Flight Reviews</a:t>
            </a:r>
          </a:p>
        </p:txBody>
      </p:sp>
      <p:sp>
        <p:nvSpPr>
          <p:cNvPr id="41" name="Rectangle 40">
            <a:extLst>
              <a:ext uri="{FF2B5EF4-FFF2-40B4-BE49-F238E27FC236}">
                <a16:creationId xmlns:a16="http://schemas.microsoft.com/office/drawing/2014/main" id="{E8B278D2-9A74-45FA-A096-CFA16044B4DD}"/>
              </a:ext>
            </a:extLst>
          </p:cNvPr>
          <p:cNvSpPr/>
          <p:nvPr/>
        </p:nvSpPr>
        <p:spPr>
          <a:xfrm rot="384658">
            <a:off x="7094519" y="3123927"/>
            <a:ext cx="1828800" cy="1828800"/>
          </a:xfrm>
          <a:prstGeom prst="rect">
            <a:avLst/>
          </a:prstGeom>
        </p:spPr>
        <p:txBody>
          <a:bodyPr wrap="square">
            <a:prstTxWarp prst="textArchUp">
              <a:avLst>
                <a:gd name="adj" fmla="val 325895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Health Checks</a:t>
            </a:r>
          </a:p>
        </p:txBody>
      </p:sp>
      <p:sp>
        <p:nvSpPr>
          <p:cNvPr id="46" name="Oval 45">
            <a:extLst>
              <a:ext uri="{FF2B5EF4-FFF2-40B4-BE49-F238E27FC236}">
                <a16:creationId xmlns:a16="http://schemas.microsoft.com/office/drawing/2014/main" id="{F013D3A1-BF9B-4AAC-97ED-75E11DCA03A0}"/>
              </a:ext>
            </a:extLst>
          </p:cNvPr>
          <p:cNvSpPr/>
          <p:nvPr/>
        </p:nvSpPr>
        <p:spPr bwMode="gray">
          <a:xfrm>
            <a:off x="6652559" y="2681967"/>
            <a:ext cx="2712720" cy="2712720"/>
          </a:xfrm>
          <a:prstGeom prst="ellipse">
            <a:avLst/>
          </a:prstGeom>
          <a:noFill/>
          <a:ln w="12700" algn="ctr">
            <a:solidFill>
              <a:schemeClr val="accent3"/>
            </a:solid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1" i="0" u="none" strike="noStrike" kern="1200" cap="none" spc="0" normalizeH="0" baseline="0" noProof="0">
              <a:ln>
                <a:noFill/>
              </a:ln>
              <a:solidFill>
                <a:prstClr val="black"/>
              </a:solidFill>
              <a:effectLst/>
              <a:uLnTx/>
              <a:uFillTx/>
              <a:latin typeface="Verdana"/>
              <a:ea typeface="+mn-ea"/>
              <a:cs typeface="+mn-cs"/>
            </a:endParaRPr>
          </a:p>
        </p:txBody>
      </p:sp>
      <p:sp>
        <p:nvSpPr>
          <p:cNvPr id="47" name="Isosceles Triangle 46">
            <a:extLst>
              <a:ext uri="{FF2B5EF4-FFF2-40B4-BE49-F238E27FC236}">
                <a16:creationId xmlns:a16="http://schemas.microsoft.com/office/drawing/2014/main" id="{B06B4C3B-8141-4D3C-ABED-17E9C89FC008}"/>
              </a:ext>
            </a:extLst>
          </p:cNvPr>
          <p:cNvSpPr/>
          <p:nvPr/>
        </p:nvSpPr>
        <p:spPr bwMode="gray">
          <a:xfrm rot="5400000">
            <a:off x="7990144" y="2631166"/>
            <a:ext cx="108837" cy="101600"/>
          </a:xfrm>
          <a:prstGeom prst="triangl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black"/>
              </a:solidFill>
              <a:effectLst/>
              <a:uLnTx/>
              <a:uFillTx/>
              <a:latin typeface="Verdana"/>
              <a:ea typeface="+mn-ea"/>
              <a:cs typeface="+mn-cs"/>
            </a:endParaRPr>
          </a:p>
        </p:txBody>
      </p:sp>
      <p:sp>
        <p:nvSpPr>
          <p:cNvPr id="48" name="Isosceles Triangle 47">
            <a:extLst>
              <a:ext uri="{FF2B5EF4-FFF2-40B4-BE49-F238E27FC236}">
                <a16:creationId xmlns:a16="http://schemas.microsoft.com/office/drawing/2014/main" id="{A1AEEACB-C768-4DFF-96F8-1907F6617F4A}"/>
              </a:ext>
            </a:extLst>
          </p:cNvPr>
          <p:cNvSpPr/>
          <p:nvPr/>
        </p:nvSpPr>
        <p:spPr bwMode="gray">
          <a:xfrm rot="12642264">
            <a:off x="9143683" y="4639052"/>
            <a:ext cx="108837" cy="101600"/>
          </a:xfrm>
          <a:prstGeom prst="triangl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1" i="0" u="none" strike="noStrike" kern="1200" cap="none" spc="0" normalizeH="0" baseline="0" noProof="0">
              <a:ln>
                <a:noFill/>
              </a:ln>
              <a:solidFill>
                <a:prstClr val="black"/>
              </a:solidFill>
              <a:effectLst/>
              <a:uLnTx/>
              <a:uFillTx/>
              <a:latin typeface="Verdana"/>
              <a:ea typeface="+mn-ea"/>
              <a:cs typeface="+mn-cs"/>
            </a:endParaRPr>
          </a:p>
        </p:txBody>
      </p:sp>
      <p:sp>
        <p:nvSpPr>
          <p:cNvPr id="49" name="Isosceles Triangle 48">
            <a:extLst>
              <a:ext uri="{FF2B5EF4-FFF2-40B4-BE49-F238E27FC236}">
                <a16:creationId xmlns:a16="http://schemas.microsoft.com/office/drawing/2014/main" id="{1A54865E-F174-4487-A4DA-CC4C43281D02}"/>
              </a:ext>
            </a:extLst>
          </p:cNvPr>
          <p:cNvSpPr/>
          <p:nvPr/>
        </p:nvSpPr>
        <p:spPr bwMode="gray">
          <a:xfrm rot="19851184">
            <a:off x="6762704" y="4629630"/>
            <a:ext cx="108837" cy="101600"/>
          </a:xfrm>
          <a:prstGeom prst="triangl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1" i="0" u="none" strike="noStrike" kern="1200" cap="none" spc="0" normalizeH="0" baseline="0" noProof="0">
              <a:ln>
                <a:noFill/>
              </a:ln>
              <a:solidFill>
                <a:prstClr val="black"/>
              </a:solidFill>
              <a:effectLst/>
              <a:uLnTx/>
              <a:uFillTx/>
              <a:latin typeface="Verdana"/>
              <a:ea typeface="+mn-ea"/>
              <a:cs typeface="+mn-cs"/>
            </a:endParaRPr>
          </a:p>
        </p:txBody>
      </p:sp>
      <p:sp>
        <p:nvSpPr>
          <p:cNvPr id="51" name="Right Arrow 21">
            <a:extLst>
              <a:ext uri="{FF2B5EF4-FFF2-40B4-BE49-F238E27FC236}">
                <a16:creationId xmlns:a16="http://schemas.microsoft.com/office/drawing/2014/main" id="{4127F5C8-4BCA-4406-9C74-54C0E2A2F17D}"/>
              </a:ext>
            </a:extLst>
          </p:cNvPr>
          <p:cNvSpPr/>
          <p:nvPr/>
        </p:nvSpPr>
        <p:spPr bwMode="gray">
          <a:xfrm>
            <a:off x="542797" y="5610587"/>
            <a:ext cx="11151982" cy="851392"/>
          </a:xfrm>
          <a:prstGeom prst="rightArrow">
            <a:avLst/>
          </a:prstGeom>
          <a:gradFill flip="none" rotWithShape="1">
            <a:gsLst>
              <a:gs pos="0">
                <a:schemeClr val="accent3">
                  <a:lumMod val="75000"/>
                </a:schemeClr>
              </a:gs>
              <a:gs pos="94558">
                <a:schemeClr val="accent3">
                  <a:alpha val="50000"/>
                </a:schemeClr>
              </a:gs>
              <a:gs pos="53000">
                <a:schemeClr val="accent3"/>
              </a:gs>
            </a:gsLst>
            <a:lin ang="18900000" scaled="1"/>
            <a:tileRect/>
          </a:gradFill>
          <a:ln w="9525">
            <a:noFill/>
            <a:miter lim="800000"/>
            <a:headEnd/>
            <a:tailEnd/>
          </a:ln>
          <a:effectLst>
            <a:outerShdw blurRad="50800" dist="38100" dir="5400000" algn="t" rotWithShape="0">
              <a:prstClr val="black">
                <a:alpha val="40000"/>
              </a:prstClr>
            </a:outerShdw>
          </a:effectLst>
        </p:spPr>
        <p:txBody>
          <a:bodyPr lIns="44450" tIns="44450" rIns="44450" bIns="44450" anchor="ctr" anchorCtr="0"/>
          <a:lstStyle/>
          <a:p>
            <a:pPr marL="0" marR="0" lvl="0" indent="0" algn="ctr" defTabSz="914400" rtl="0" eaLnBrk="0" fontAlgn="auto" latinLnBrk="0" hangingPunct="0">
              <a:lnSpc>
                <a:spcPct val="100000"/>
              </a:lnSpc>
              <a:spcBef>
                <a:spcPts val="40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iagnostics Extended Reporting</a:t>
            </a:r>
          </a:p>
        </p:txBody>
      </p:sp>
      <p:sp>
        <p:nvSpPr>
          <p:cNvPr id="52" name="Right Bracket 51">
            <a:extLst>
              <a:ext uri="{FF2B5EF4-FFF2-40B4-BE49-F238E27FC236}">
                <a16:creationId xmlns:a16="http://schemas.microsoft.com/office/drawing/2014/main" id="{28E9D964-CF64-401A-B85C-66FB3554EC4E}"/>
              </a:ext>
            </a:extLst>
          </p:cNvPr>
          <p:cNvSpPr/>
          <p:nvPr/>
        </p:nvSpPr>
        <p:spPr>
          <a:xfrm rot="16200000">
            <a:off x="2310202" y="314038"/>
            <a:ext cx="153887" cy="3677925"/>
          </a:xfrm>
          <a:prstGeom prst="righ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53" name="TextBox 52">
            <a:extLst>
              <a:ext uri="{FF2B5EF4-FFF2-40B4-BE49-F238E27FC236}">
                <a16:creationId xmlns:a16="http://schemas.microsoft.com/office/drawing/2014/main" id="{78DF243B-F4B6-436C-8FDF-6635BF1A4B88}"/>
              </a:ext>
            </a:extLst>
          </p:cNvPr>
          <p:cNvSpPr txBox="1"/>
          <p:nvPr/>
        </p:nvSpPr>
        <p:spPr>
          <a:xfrm>
            <a:off x="1703291" y="1999111"/>
            <a:ext cx="1351537" cy="184666"/>
          </a:xfrm>
          <a:prstGeom prst="rect">
            <a:avLst/>
          </a:prstGeom>
          <a:solidFill>
            <a:schemeClr val="tx1"/>
          </a:solid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2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onitoring Process</a:t>
            </a:r>
          </a:p>
        </p:txBody>
      </p:sp>
      <p:sp>
        <p:nvSpPr>
          <p:cNvPr id="54" name="Right Bracket 53">
            <a:extLst>
              <a:ext uri="{FF2B5EF4-FFF2-40B4-BE49-F238E27FC236}">
                <a16:creationId xmlns:a16="http://schemas.microsoft.com/office/drawing/2014/main" id="{B1CC27E1-4144-43BC-8CD1-DB78405A0906}"/>
              </a:ext>
            </a:extLst>
          </p:cNvPr>
          <p:cNvSpPr/>
          <p:nvPr/>
        </p:nvSpPr>
        <p:spPr>
          <a:xfrm rot="16200000">
            <a:off x="7037541" y="-291471"/>
            <a:ext cx="153887" cy="4888941"/>
          </a:xfrm>
          <a:prstGeom prst="righ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55" name="TextBox 54">
            <a:extLst>
              <a:ext uri="{FF2B5EF4-FFF2-40B4-BE49-F238E27FC236}">
                <a16:creationId xmlns:a16="http://schemas.microsoft.com/office/drawing/2014/main" id="{ED0CE7BF-BDED-4F99-A1B0-3711F129AA6A}"/>
              </a:ext>
            </a:extLst>
          </p:cNvPr>
          <p:cNvSpPr txBox="1"/>
          <p:nvPr/>
        </p:nvSpPr>
        <p:spPr>
          <a:xfrm>
            <a:off x="6753658" y="1999111"/>
            <a:ext cx="1005404" cy="184666"/>
          </a:xfrm>
          <a:prstGeom prst="rect">
            <a:avLst/>
          </a:prstGeom>
          <a:solidFill>
            <a:schemeClr val="tx1"/>
          </a:solid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2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nabling Tools</a:t>
            </a:r>
          </a:p>
        </p:txBody>
      </p:sp>
      <p:sp>
        <p:nvSpPr>
          <p:cNvPr id="56" name="Right Bracket 55">
            <a:extLst>
              <a:ext uri="{FF2B5EF4-FFF2-40B4-BE49-F238E27FC236}">
                <a16:creationId xmlns:a16="http://schemas.microsoft.com/office/drawing/2014/main" id="{927E38DC-569A-4988-9AF4-AFE06F7780EA}"/>
              </a:ext>
            </a:extLst>
          </p:cNvPr>
          <p:cNvSpPr/>
          <p:nvPr/>
        </p:nvSpPr>
        <p:spPr>
          <a:xfrm rot="16200000">
            <a:off x="10787309" y="1322472"/>
            <a:ext cx="153887" cy="1661054"/>
          </a:xfrm>
          <a:prstGeom prst="righ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57" name="TextBox 56">
            <a:extLst>
              <a:ext uri="{FF2B5EF4-FFF2-40B4-BE49-F238E27FC236}">
                <a16:creationId xmlns:a16="http://schemas.microsoft.com/office/drawing/2014/main" id="{2787E17D-D0CD-4B84-BA4E-2CE2FC965C71}"/>
              </a:ext>
            </a:extLst>
          </p:cNvPr>
          <p:cNvSpPr txBox="1"/>
          <p:nvPr/>
        </p:nvSpPr>
        <p:spPr>
          <a:xfrm>
            <a:off x="10524220" y="1999111"/>
            <a:ext cx="680063" cy="184666"/>
          </a:xfrm>
          <a:prstGeom prst="rect">
            <a:avLst/>
          </a:prstGeom>
          <a:solidFill>
            <a:schemeClr val="tx1"/>
          </a:solid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2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utcomes</a:t>
            </a:r>
          </a:p>
        </p:txBody>
      </p:sp>
      <p:sp>
        <p:nvSpPr>
          <p:cNvPr id="58" name="Right Bracket 57">
            <a:extLst>
              <a:ext uri="{FF2B5EF4-FFF2-40B4-BE49-F238E27FC236}">
                <a16:creationId xmlns:a16="http://schemas.microsoft.com/office/drawing/2014/main" id="{55A17AE5-3463-4C65-9328-4D7E441A7281}"/>
              </a:ext>
            </a:extLst>
          </p:cNvPr>
          <p:cNvSpPr/>
          <p:nvPr/>
        </p:nvSpPr>
        <p:spPr>
          <a:xfrm rot="5400000">
            <a:off x="6034933" y="880225"/>
            <a:ext cx="167707" cy="11151982"/>
          </a:xfrm>
          <a:prstGeom prst="righ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59" name="TextBox 58">
            <a:extLst>
              <a:ext uri="{FF2B5EF4-FFF2-40B4-BE49-F238E27FC236}">
                <a16:creationId xmlns:a16="http://schemas.microsoft.com/office/drawing/2014/main" id="{436C1F37-D556-4C24-AB5C-66D9649303AF}"/>
              </a:ext>
            </a:extLst>
          </p:cNvPr>
          <p:cNvSpPr txBox="1"/>
          <p:nvPr/>
        </p:nvSpPr>
        <p:spPr>
          <a:xfrm>
            <a:off x="3781744" y="6447382"/>
            <a:ext cx="4674089" cy="184666"/>
          </a:xfrm>
          <a:prstGeom prst="rect">
            <a:avLst/>
          </a:prstGeom>
          <a:solidFill>
            <a:schemeClr val="tx1"/>
          </a:solid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2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tegrated use of Data throughout the Engagement Monitoring Process</a:t>
            </a:r>
          </a:p>
        </p:txBody>
      </p:sp>
      <p:sp>
        <p:nvSpPr>
          <p:cNvPr id="45" name="Circle: Hollow 44">
            <a:extLst>
              <a:ext uri="{FF2B5EF4-FFF2-40B4-BE49-F238E27FC236}">
                <a16:creationId xmlns:a16="http://schemas.microsoft.com/office/drawing/2014/main" id="{B9C871A0-201B-4398-BDF0-185CE18EAA39}"/>
              </a:ext>
            </a:extLst>
          </p:cNvPr>
          <p:cNvSpPr/>
          <p:nvPr/>
        </p:nvSpPr>
        <p:spPr bwMode="gray">
          <a:xfrm>
            <a:off x="6790793" y="2830117"/>
            <a:ext cx="2436251" cy="2436251"/>
          </a:xfrm>
          <a:prstGeom prst="donu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1" i="0" u="none" strike="noStrike" kern="1200" cap="none" spc="0" normalizeH="0" baseline="0" noProof="0">
              <a:ln>
                <a:noFill/>
              </a:ln>
              <a:solidFill>
                <a:prstClr val="black"/>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0CB14440-DFB5-4679-9A50-9282135F5903}"/>
              </a:ext>
            </a:extLst>
          </p:cNvPr>
          <p:cNvSpPr/>
          <p:nvPr/>
        </p:nvSpPr>
        <p:spPr>
          <a:xfrm>
            <a:off x="7094519" y="3136519"/>
            <a:ext cx="1828800" cy="1828800"/>
          </a:xfrm>
          <a:prstGeom prst="rect">
            <a:avLst/>
          </a:prstGeom>
        </p:spPr>
        <p:txBody>
          <a:bodyPr wrap="square">
            <a:prstTxWarp prst="textArchUp">
              <a:avLst>
                <a:gd name="adj" fmla="val 1058392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rchived Reviews</a:t>
            </a:r>
          </a:p>
        </p:txBody>
      </p:sp>
      <p:sp>
        <p:nvSpPr>
          <p:cNvPr id="60" name="Rectangle 59">
            <a:extLst>
              <a:ext uri="{FF2B5EF4-FFF2-40B4-BE49-F238E27FC236}">
                <a16:creationId xmlns:a16="http://schemas.microsoft.com/office/drawing/2014/main" id="{8AE3697B-9C03-4BA5-82E4-C22BA9207CFF}"/>
              </a:ext>
            </a:extLst>
          </p:cNvPr>
          <p:cNvSpPr/>
          <p:nvPr/>
        </p:nvSpPr>
        <p:spPr>
          <a:xfrm>
            <a:off x="7094519" y="3136519"/>
            <a:ext cx="1828800" cy="1828800"/>
          </a:xfrm>
          <a:prstGeom prst="rect">
            <a:avLst/>
          </a:prstGeom>
        </p:spPr>
        <p:txBody>
          <a:bodyPr wrap="square">
            <a:prstTxWarp prst="textArchUp">
              <a:avLst>
                <a:gd name="adj" fmla="val 18107226"/>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In-Flight Reviews</a:t>
            </a:r>
          </a:p>
        </p:txBody>
      </p:sp>
      <p:sp>
        <p:nvSpPr>
          <p:cNvPr id="61" name="Rectangle 60">
            <a:extLst>
              <a:ext uri="{FF2B5EF4-FFF2-40B4-BE49-F238E27FC236}">
                <a16:creationId xmlns:a16="http://schemas.microsoft.com/office/drawing/2014/main" id="{4DA57904-84E3-41E0-8915-8391E1908D38}"/>
              </a:ext>
            </a:extLst>
          </p:cNvPr>
          <p:cNvSpPr/>
          <p:nvPr/>
        </p:nvSpPr>
        <p:spPr>
          <a:xfrm rot="384658">
            <a:off x="7094519" y="3134318"/>
            <a:ext cx="1828800" cy="1828800"/>
          </a:xfrm>
          <a:prstGeom prst="rect">
            <a:avLst/>
          </a:prstGeom>
        </p:spPr>
        <p:txBody>
          <a:bodyPr wrap="square">
            <a:prstTxWarp prst="textArchUp">
              <a:avLst>
                <a:gd name="adj" fmla="val 325895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Health Checks</a:t>
            </a:r>
          </a:p>
        </p:txBody>
      </p:sp>
      <p:sp>
        <p:nvSpPr>
          <p:cNvPr id="62" name="Oval 61">
            <a:extLst>
              <a:ext uri="{FF2B5EF4-FFF2-40B4-BE49-F238E27FC236}">
                <a16:creationId xmlns:a16="http://schemas.microsoft.com/office/drawing/2014/main" id="{4EEEC6B1-4657-49AC-A093-01ACD1C63E23}"/>
              </a:ext>
            </a:extLst>
          </p:cNvPr>
          <p:cNvSpPr/>
          <p:nvPr/>
        </p:nvSpPr>
        <p:spPr bwMode="gray">
          <a:xfrm>
            <a:off x="6652559" y="2692358"/>
            <a:ext cx="2712720" cy="2712720"/>
          </a:xfrm>
          <a:prstGeom prst="ellipse">
            <a:avLst/>
          </a:prstGeom>
          <a:noFill/>
          <a:ln w="12700" algn="ctr">
            <a:solidFill>
              <a:schemeClr val="accent3"/>
            </a:solid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1" i="0" u="none" strike="noStrike" kern="1200" cap="none" spc="0" normalizeH="0" baseline="0" noProof="0">
              <a:ln>
                <a:noFill/>
              </a:ln>
              <a:solidFill>
                <a:prstClr val="black"/>
              </a:solidFill>
              <a:effectLst/>
              <a:uLnTx/>
              <a:uFillTx/>
              <a:latin typeface="Verdana"/>
              <a:ea typeface="+mn-ea"/>
              <a:cs typeface="+mn-cs"/>
            </a:endParaRPr>
          </a:p>
        </p:txBody>
      </p:sp>
      <p:sp>
        <p:nvSpPr>
          <p:cNvPr id="63" name="Isosceles Triangle 62">
            <a:extLst>
              <a:ext uri="{FF2B5EF4-FFF2-40B4-BE49-F238E27FC236}">
                <a16:creationId xmlns:a16="http://schemas.microsoft.com/office/drawing/2014/main" id="{EF6F5CC7-E8F2-4EE4-8B26-F27396D47846}"/>
              </a:ext>
            </a:extLst>
          </p:cNvPr>
          <p:cNvSpPr/>
          <p:nvPr/>
        </p:nvSpPr>
        <p:spPr bwMode="gray">
          <a:xfrm rot="5400000">
            <a:off x="7990144" y="2641557"/>
            <a:ext cx="108837" cy="101600"/>
          </a:xfrm>
          <a:prstGeom prst="triangl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black"/>
              </a:solidFill>
              <a:effectLst/>
              <a:uLnTx/>
              <a:uFillTx/>
              <a:latin typeface="Verdana"/>
              <a:ea typeface="+mn-ea"/>
              <a:cs typeface="+mn-cs"/>
            </a:endParaRPr>
          </a:p>
        </p:txBody>
      </p:sp>
      <p:sp>
        <p:nvSpPr>
          <p:cNvPr id="64" name="Isosceles Triangle 63">
            <a:extLst>
              <a:ext uri="{FF2B5EF4-FFF2-40B4-BE49-F238E27FC236}">
                <a16:creationId xmlns:a16="http://schemas.microsoft.com/office/drawing/2014/main" id="{AF35724F-6E15-44A9-BBBC-63A91270840B}"/>
              </a:ext>
            </a:extLst>
          </p:cNvPr>
          <p:cNvSpPr/>
          <p:nvPr/>
        </p:nvSpPr>
        <p:spPr bwMode="gray">
          <a:xfrm rot="12642264">
            <a:off x="9143683" y="4649443"/>
            <a:ext cx="108837" cy="101600"/>
          </a:xfrm>
          <a:prstGeom prst="triangl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1" i="0" u="none" strike="noStrike" kern="1200" cap="none" spc="0" normalizeH="0" baseline="0" noProof="0">
              <a:ln>
                <a:noFill/>
              </a:ln>
              <a:solidFill>
                <a:prstClr val="black"/>
              </a:solidFill>
              <a:effectLst/>
              <a:uLnTx/>
              <a:uFillTx/>
              <a:latin typeface="Verdana"/>
              <a:ea typeface="+mn-ea"/>
              <a:cs typeface="+mn-cs"/>
            </a:endParaRPr>
          </a:p>
        </p:txBody>
      </p:sp>
      <p:sp>
        <p:nvSpPr>
          <p:cNvPr id="65" name="Isosceles Triangle 64">
            <a:extLst>
              <a:ext uri="{FF2B5EF4-FFF2-40B4-BE49-F238E27FC236}">
                <a16:creationId xmlns:a16="http://schemas.microsoft.com/office/drawing/2014/main" id="{E6DB1888-FEF2-445E-ACEE-ABEA78B7901E}"/>
              </a:ext>
            </a:extLst>
          </p:cNvPr>
          <p:cNvSpPr/>
          <p:nvPr/>
        </p:nvSpPr>
        <p:spPr bwMode="gray">
          <a:xfrm rot="19851184">
            <a:off x="6762704" y="4640021"/>
            <a:ext cx="108837" cy="101600"/>
          </a:xfrm>
          <a:prstGeom prst="triangle">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1" i="0" u="none" strike="noStrike" kern="1200" cap="none" spc="0" normalizeH="0" baseline="0" noProof="0">
              <a:ln>
                <a:noFill/>
              </a:ln>
              <a:solidFill>
                <a:prstClr val="black"/>
              </a:solidFill>
              <a:effectLst/>
              <a:uLnTx/>
              <a:uFillTx/>
              <a:latin typeface="Verdana"/>
              <a:ea typeface="+mn-ea"/>
              <a:cs typeface="+mn-cs"/>
            </a:endParaRPr>
          </a:p>
        </p:txBody>
      </p:sp>
      <p:sp>
        <p:nvSpPr>
          <p:cNvPr id="3" name="Rectangle 2">
            <a:extLst>
              <a:ext uri="{FF2B5EF4-FFF2-40B4-BE49-F238E27FC236}">
                <a16:creationId xmlns:a16="http://schemas.microsoft.com/office/drawing/2014/main" id="{2889AB9D-1CAB-4556-9FDE-C906004D4502}"/>
              </a:ext>
            </a:extLst>
          </p:cNvPr>
          <p:cNvSpPr/>
          <p:nvPr/>
        </p:nvSpPr>
        <p:spPr>
          <a:xfrm>
            <a:off x="676887" y="4263878"/>
            <a:ext cx="1271275" cy="5078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1"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ngagements grouped into four groups based on risk</a:t>
            </a:r>
            <a:endParaRPr kumimoji="0" lang="en-US" sz="900" b="0" i="0" u="none" strike="noStrike" kern="1200" cap="none" spc="0" normalizeH="0" baseline="0" noProof="0">
              <a:ln>
                <a:noFill/>
              </a:ln>
              <a:solidFill>
                <a:prstClr val="white"/>
              </a:solidFill>
              <a:effectLst/>
              <a:uLnTx/>
              <a:uFillTx/>
              <a:latin typeface="Verdana"/>
              <a:ea typeface="+mn-ea"/>
              <a:cs typeface="+mn-cs"/>
            </a:endParaRPr>
          </a:p>
        </p:txBody>
      </p:sp>
      <p:sp>
        <p:nvSpPr>
          <p:cNvPr id="71" name="Rectangle 70">
            <a:extLst>
              <a:ext uri="{FF2B5EF4-FFF2-40B4-BE49-F238E27FC236}">
                <a16:creationId xmlns:a16="http://schemas.microsoft.com/office/drawing/2014/main" id="{C26CB749-62C2-4B1D-93DF-1A099126952D}"/>
              </a:ext>
            </a:extLst>
          </p:cNvPr>
          <p:cNvSpPr/>
          <p:nvPr/>
        </p:nvSpPr>
        <p:spPr>
          <a:xfrm>
            <a:off x="2557822" y="4307963"/>
            <a:ext cx="1271275"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900" b="0" i="1"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nhanced process shaped by the requirements of ISQM1 (Para 36-38)</a:t>
            </a:r>
            <a:endParaRPr kumimoji="0" lang="en-US" sz="900" b="0" i="0" u="none" strike="noStrike" kern="1200" cap="none" spc="0" normalizeH="0" baseline="0" noProof="0">
              <a:ln>
                <a:noFill/>
              </a:ln>
              <a:solidFill>
                <a:prstClr val="white"/>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AC224BBD-9264-40D0-A72F-C4A6E178E30D}"/>
              </a:ext>
            </a:extLst>
          </p:cNvPr>
          <p:cNvSpPr/>
          <p:nvPr/>
        </p:nvSpPr>
        <p:spPr>
          <a:xfrm>
            <a:off x="2187014" y="3020494"/>
            <a:ext cx="2012891" cy="1200329"/>
          </a:xfrm>
          <a:prstGeom prst="rect">
            <a:avLst/>
          </a:prstGeom>
        </p:spPr>
        <p:txBody>
          <a:bodyPr wrap="square">
            <a:spAutoFit/>
          </a:bodyPr>
          <a:lstStyle/>
          <a:p>
            <a:pPr marL="0" marR="0" lvl="0" indent="0" algn="ctr" defTabSz="914400" rtl="0" eaLnBrk="1" fontAlgn="base" latinLnBrk="0" hangingPunct="1">
              <a:lnSpc>
                <a:spcPct val="100000"/>
              </a:lnSpc>
              <a:spcBef>
                <a:spcPts val="600"/>
              </a:spcBef>
              <a:spcAft>
                <a:spcPts val="600"/>
              </a:spcAft>
              <a:buClrTx/>
              <a:buSzPct val="100000"/>
              <a:buFontTx/>
              <a:buNone/>
              <a:tabLst/>
              <a:defRPr/>
            </a:pPr>
            <a:r>
              <a:rPr kumimoji="0" lang="en-AU" sz="18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ngagement selection / design of monitoring activities</a:t>
            </a:r>
            <a:endParaRPr kumimoji="0" lang="en-AU"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5242291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8938" y="373696"/>
            <a:ext cx="11242062" cy="15388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chived Engagement Reviews Transformation Proje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The objective of the Archived Engagement Reviews Transformation Project is to significantly improve the effectiveness and efficiency of archived engagement reviews globally through the (a) enhancement of processes and controls, and (b) the enabling of technology by replacing DPRS with the cloud-based AQMM Platform.</a:t>
            </a:r>
          </a:p>
        </p:txBody>
      </p:sp>
      <p:pic>
        <p:nvPicPr>
          <p:cNvPr id="3" name="Picture 2">
            <a:extLst>
              <a:ext uri="{FF2B5EF4-FFF2-40B4-BE49-F238E27FC236}">
                <a16:creationId xmlns:a16="http://schemas.microsoft.com/office/drawing/2014/main" id="{D95150AD-82F6-4FD1-931A-B56485D14CB9}"/>
              </a:ext>
            </a:extLst>
          </p:cNvPr>
          <p:cNvPicPr>
            <a:picLocks noChangeAspect="1"/>
          </p:cNvPicPr>
          <p:nvPr/>
        </p:nvPicPr>
        <p:blipFill>
          <a:blip r:embed="rId3"/>
          <a:stretch>
            <a:fillRect/>
          </a:stretch>
        </p:blipFill>
        <p:spPr>
          <a:xfrm>
            <a:off x="2690817" y="2265566"/>
            <a:ext cx="6463968" cy="1631216"/>
          </a:xfrm>
          <a:prstGeom prst="rect">
            <a:avLst/>
          </a:prstGeom>
        </p:spPr>
      </p:pic>
      <p:sp>
        <p:nvSpPr>
          <p:cNvPr id="27" name="Text Placeholder 4">
            <a:extLst>
              <a:ext uri="{FF2B5EF4-FFF2-40B4-BE49-F238E27FC236}">
                <a16:creationId xmlns:a16="http://schemas.microsoft.com/office/drawing/2014/main" id="{E82B2B14-41B1-4597-BAB5-0922E384AD30}"/>
              </a:ext>
            </a:extLst>
          </p:cNvPr>
          <p:cNvSpPr txBox="1">
            <a:spLocks/>
          </p:cNvSpPr>
          <p:nvPr/>
        </p:nvSpPr>
        <p:spPr>
          <a:xfrm>
            <a:off x="721338" y="4502318"/>
            <a:ext cx="3557958" cy="163121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1" kern="1200">
                <a:solidFill>
                  <a:schemeClr val="accent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tx1"/>
                </a:solidFill>
                <a:latin typeface="+mn-lt"/>
                <a:ea typeface="+mn-ea"/>
                <a:cs typeface="Calibri Light" panose="020F0302020204030204" pitchFamily="34" charset="0"/>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600" b="0" i="0" u="none" strike="noStrike" kern="1200" cap="none" spc="0" normalizeH="0" baseline="0" noProof="0">
                <a:ln>
                  <a:noFill/>
                </a:ln>
                <a:solidFill>
                  <a:sysClr val="windowText" lastClr="000000"/>
                </a:solidFill>
                <a:effectLst/>
                <a:uLnTx/>
                <a:uFillTx/>
                <a:latin typeface="Calibri"/>
                <a:ea typeface="+mn-ea"/>
                <a:cs typeface="Calibri Light" panose="020F0302020204030204" pitchFamily="34" charset="0"/>
              </a:rPr>
              <a:t>Enhance the process:</a:t>
            </a:r>
          </a:p>
          <a:p>
            <a:pPr marL="0" marR="0" lvl="2" indent="36576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ysClr val="windowText" lastClr="000000"/>
                </a:solidFill>
                <a:effectLst/>
                <a:uLnTx/>
                <a:uFillTx/>
                <a:latin typeface="Calibri"/>
                <a:ea typeface="+mn-ea"/>
                <a:cs typeface="Calibri Light" panose="020F0302020204030204" pitchFamily="34" charset="0"/>
              </a:rPr>
              <a:t>Scalable, tailorable and more intuitive</a:t>
            </a:r>
          </a:p>
          <a:p>
            <a:pPr marL="0" marR="0" lvl="2" indent="36576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ysClr val="windowText" lastClr="000000"/>
                </a:solidFill>
                <a:effectLst/>
                <a:uLnTx/>
                <a:uFillTx/>
                <a:latin typeface="Calibri"/>
                <a:ea typeface="+mn-ea"/>
                <a:cs typeface="Calibri Light" panose="020F0302020204030204" pitchFamily="34" charset="0"/>
              </a:rPr>
              <a:t>Facilitates compliance with ISQM1</a:t>
            </a:r>
          </a:p>
          <a:p>
            <a:pPr marL="0" marR="0" lvl="2" indent="36576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ysClr val="windowText" lastClr="000000"/>
                </a:solidFill>
                <a:effectLst/>
                <a:uLnTx/>
                <a:uFillTx/>
                <a:latin typeface="Calibri"/>
                <a:ea typeface="+mn-ea"/>
                <a:cs typeface="Calibri Light" panose="020F0302020204030204" pitchFamily="34" charset="0"/>
              </a:rPr>
              <a:t>Globally consistent</a:t>
            </a:r>
          </a:p>
        </p:txBody>
      </p:sp>
      <p:sp>
        <p:nvSpPr>
          <p:cNvPr id="28" name="Text Placeholder 6">
            <a:extLst>
              <a:ext uri="{FF2B5EF4-FFF2-40B4-BE49-F238E27FC236}">
                <a16:creationId xmlns:a16="http://schemas.microsoft.com/office/drawing/2014/main" id="{3BED5E84-E336-49D4-9D71-2A66E45CEFD7}"/>
              </a:ext>
            </a:extLst>
          </p:cNvPr>
          <p:cNvSpPr txBox="1">
            <a:spLocks/>
          </p:cNvSpPr>
          <p:nvPr/>
        </p:nvSpPr>
        <p:spPr>
          <a:xfrm>
            <a:off x="7562998" y="4502318"/>
            <a:ext cx="4183889" cy="107440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1" kern="1200">
                <a:solidFill>
                  <a:schemeClr val="accent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tx1"/>
                </a:solidFill>
                <a:latin typeface="+mn-lt"/>
                <a:ea typeface="+mn-ea"/>
                <a:cs typeface="Calibri Light" panose="020F0302020204030204" pitchFamily="34" charset="0"/>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600" b="0" i="0" u="none" strike="noStrike" kern="1200" cap="none" spc="0" normalizeH="0" baseline="0" noProof="0">
                <a:ln>
                  <a:noFill/>
                </a:ln>
                <a:solidFill>
                  <a:sysClr val="windowText" lastClr="000000"/>
                </a:solidFill>
                <a:effectLst/>
                <a:uLnTx/>
                <a:uFillTx/>
                <a:latin typeface="Calibri"/>
                <a:ea typeface="+mn-ea"/>
                <a:cs typeface="Calibri Light" panose="020F0302020204030204" pitchFamily="34" charset="0"/>
              </a:rPr>
              <a:t>Transformed engagement monitoring:</a:t>
            </a:r>
          </a:p>
          <a:p>
            <a:pPr marL="0" marR="0" lvl="2" indent="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ysClr val="windowText" lastClr="000000"/>
                </a:solidFill>
                <a:effectLst/>
                <a:uLnTx/>
                <a:uFillTx/>
                <a:latin typeface="Calibri"/>
                <a:ea typeface="+mn-ea"/>
                <a:cs typeface="Calibri Light" panose="020F0302020204030204" pitchFamily="34" charset="0"/>
              </a:rPr>
              <a:t> Provides relevant, reliable and timely information about the design, implementation and operation of the system of quality management</a:t>
            </a:r>
          </a:p>
        </p:txBody>
      </p:sp>
      <p:sp>
        <p:nvSpPr>
          <p:cNvPr id="7" name="Text Placeholder 6">
            <a:extLst>
              <a:ext uri="{FF2B5EF4-FFF2-40B4-BE49-F238E27FC236}">
                <a16:creationId xmlns:a16="http://schemas.microsoft.com/office/drawing/2014/main" id="{662CC2B9-2F85-47CF-9380-F59F64CF4558}"/>
              </a:ext>
            </a:extLst>
          </p:cNvPr>
          <p:cNvSpPr txBox="1">
            <a:spLocks/>
          </p:cNvSpPr>
          <p:nvPr/>
        </p:nvSpPr>
        <p:spPr>
          <a:xfrm>
            <a:off x="4643067" y="4502318"/>
            <a:ext cx="2563123" cy="99438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1" kern="1200">
                <a:solidFill>
                  <a:schemeClr val="accent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tx1"/>
                </a:solidFill>
                <a:latin typeface="+mn-lt"/>
                <a:ea typeface="+mn-ea"/>
                <a:cs typeface="Calibri Light" panose="020F0302020204030204" pitchFamily="34" charset="0"/>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600" b="0" i="0" u="none" strike="noStrike" kern="1200" cap="none" spc="0" normalizeH="0" baseline="0" noProof="0">
                <a:ln>
                  <a:noFill/>
                </a:ln>
                <a:solidFill>
                  <a:sysClr val="windowText" lastClr="000000"/>
                </a:solidFill>
                <a:effectLst/>
                <a:uLnTx/>
                <a:uFillTx/>
                <a:latin typeface="Calibri"/>
                <a:ea typeface="+mn-ea"/>
                <a:cs typeface="Calibri Light" panose="020F0302020204030204" pitchFamily="34" charset="0"/>
              </a:rPr>
              <a:t>Enable through technology:</a:t>
            </a:r>
          </a:p>
          <a:p>
            <a:pPr marL="0" marR="0" lvl="2" indent="-36576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ysClr val="windowText" lastClr="000000"/>
                </a:solidFill>
                <a:effectLst/>
                <a:uLnTx/>
                <a:uFillTx/>
                <a:latin typeface="Calibri"/>
                <a:ea typeface="+mn-ea"/>
                <a:cs typeface="Calibri Light" panose="020F0302020204030204" pitchFamily="34" charset="0"/>
              </a:rPr>
              <a:t>Enhanced transparency</a:t>
            </a:r>
          </a:p>
          <a:p>
            <a:pPr marL="0" marR="0" lvl="2" indent="-36576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ysClr val="windowText" lastClr="000000"/>
                </a:solidFill>
                <a:effectLst/>
                <a:uLnTx/>
                <a:uFillTx/>
                <a:latin typeface="Calibri"/>
                <a:ea typeface="+mn-ea"/>
                <a:cs typeface="Calibri Light" panose="020F0302020204030204" pitchFamily="34" charset="0"/>
              </a:rPr>
              <a:t>Greater efficiency</a:t>
            </a:r>
          </a:p>
          <a:p>
            <a:pPr marL="0" marR="0" lvl="2" indent="-36576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ysClr val="windowText" lastClr="000000"/>
                </a:solidFill>
                <a:effectLst/>
                <a:uLnTx/>
                <a:uFillTx/>
                <a:latin typeface="Calibri"/>
                <a:ea typeface="+mn-ea"/>
                <a:cs typeface="Calibri Light" panose="020F0302020204030204" pitchFamily="34" charset="0"/>
              </a:rPr>
              <a:t>Increased flexibility</a:t>
            </a:r>
          </a:p>
        </p:txBody>
      </p:sp>
      <p:cxnSp>
        <p:nvCxnSpPr>
          <p:cNvPr id="5" name="Straight Connector 4">
            <a:extLst>
              <a:ext uri="{FF2B5EF4-FFF2-40B4-BE49-F238E27FC236}">
                <a16:creationId xmlns:a16="http://schemas.microsoft.com/office/drawing/2014/main" id="{B5F7C5BA-8181-495D-9500-4760C9EF1B46}"/>
              </a:ext>
            </a:extLst>
          </p:cNvPr>
          <p:cNvCxnSpPr/>
          <p:nvPr/>
        </p:nvCxnSpPr>
        <p:spPr>
          <a:xfrm>
            <a:off x="670231" y="6091156"/>
            <a:ext cx="10851537"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2498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BFB0C01-4024-4DDF-BB08-6AA678F60360}"/>
              </a:ext>
            </a:extLst>
          </p:cNvPr>
          <p:cNvGraphicFramePr>
            <a:graphicFrameLocks noGrp="1"/>
          </p:cNvGraphicFramePr>
          <p:nvPr>
            <p:extLst>
              <p:ext uri="{D42A27DB-BD31-4B8C-83A1-F6EECF244321}">
                <p14:modId xmlns:p14="http://schemas.microsoft.com/office/powerpoint/2010/main" val="1310820777"/>
              </p:ext>
            </p:extLst>
          </p:nvPr>
        </p:nvGraphicFramePr>
        <p:xfrm>
          <a:off x="300664" y="1179475"/>
          <a:ext cx="11491281" cy="5408942"/>
        </p:xfrm>
        <a:graphic>
          <a:graphicData uri="http://schemas.openxmlformats.org/drawingml/2006/table">
            <a:tbl>
              <a:tblPr firstRow="1" firstCol="1">
                <a:tableStyleId>{073A0DAA-6AF3-43AB-8588-CEC1D06C72B9}</a:tableStyleId>
              </a:tblPr>
              <a:tblGrid>
                <a:gridCol w="4668902">
                  <a:extLst>
                    <a:ext uri="{9D8B030D-6E8A-4147-A177-3AD203B41FA5}">
                      <a16:colId xmlns:a16="http://schemas.microsoft.com/office/drawing/2014/main" val="792060426"/>
                    </a:ext>
                  </a:extLst>
                </a:gridCol>
                <a:gridCol w="1326544">
                  <a:extLst>
                    <a:ext uri="{9D8B030D-6E8A-4147-A177-3AD203B41FA5}">
                      <a16:colId xmlns:a16="http://schemas.microsoft.com/office/drawing/2014/main" val="2618122881"/>
                    </a:ext>
                  </a:extLst>
                </a:gridCol>
                <a:gridCol w="650449">
                  <a:extLst>
                    <a:ext uri="{9D8B030D-6E8A-4147-A177-3AD203B41FA5}">
                      <a16:colId xmlns:a16="http://schemas.microsoft.com/office/drawing/2014/main" val="2152155282"/>
                    </a:ext>
                  </a:extLst>
                </a:gridCol>
                <a:gridCol w="709146">
                  <a:extLst>
                    <a:ext uri="{9D8B030D-6E8A-4147-A177-3AD203B41FA5}">
                      <a16:colId xmlns:a16="http://schemas.microsoft.com/office/drawing/2014/main" val="2805195837"/>
                    </a:ext>
                  </a:extLst>
                </a:gridCol>
                <a:gridCol w="894562">
                  <a:extLst>
                    <a:ext uri="{9D8B030D-6E8A-4147-A177-3AD203B41FA5}">
                      <a16:colId xmlns:a16="http://schemas.microsoft.com/office/drawing/2014/main" val="2771148117"/>
                    </a:ext>
                  </a:extLst>
                </a:gridCol>
                <a:gridCol w="836850">
                  <a:extLst>
                    <a:ext uri="{9D8B030D-6E8A-4147-A177-3AD203B41FA5}">
                      <a16:colId xmlns:a16="http://schemas.microsoft.com/office/drawing/2014/main" val="3197705583"/>
                    </a:ext>
                  </a:extLst>
                </a:gridCol>
                <a:gridCol w="851276">
                  <a:extLst>
                    <a:ext uri="{9D8B030D-6E8A-4147-A177-3AD203B41FA5}">
                      <a16:colId xmlns:a16="http://schemas.microsoft.com/office/drawing/2014/main" val="4238107078"/>
                    </a:ext>
                  </a:extLst>
                </a:gridCol>
                <a:gridCol w="706990">
                  <a:extLst>
                    <a:ext uri="{9D8B030D-6E8A-4147-A177-3AD203B41FA5}">
                      <a16:colId xmlns:a16="http://schemas.microsoft.com/office/drawing/2014/main" val="372272013"/>
                    </a:ext>
                  </a:extLst>
                </a:gridCol>
                <a:gridCol w="846562">
                  <a:extLst>
                    <a:ext uri="{9D8B030D-6E8A-4147-A177-3AD203B41FA5}">
                      <a16:colId xmlns:a16="http://schemas.microsoft.com/office/drawing/2014/main" val="1812577372"/>
                    </a:ext>
                  </a:extLst>
                </a:gridCol>
              </a:tblGrid>
              <a:tr h="1533907">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FEATURES</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solidFill>
                      <a:schemeClr val="accent4">
                        <a:lumMod val="50000"/>
                      </a:schemeClr>
                    </a:solidFill>
                  </a:tcPr>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Team</a:t>
                      </a:r>
                    </a:p>
                  </a:txBody>
                  <a:tcPr marL="4075" marR="4075" marT="4075" marB="0" vert="vert270" anchor="ctr">
                    <a:solidFill>
                      <a:srgbClr val="00B0F0"/>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Continued DWW Acceleration</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RADC Ramp Up</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Expand RADC Catalog</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Transition to Omnia/</a:t>
                      </a:r>
                      <a:r>
                        <a:rPr lang="en-US" sz="1000" u="none" strike="noStrike" err="1">
                          <a:effectLst/>
                          <a:latin typeface="Open Sans"/>
                          <a:ea typeface="Open Sans" panose="020B0606030504020204" pitchFamily="34" charset="0"/>
                          <a:cs typeface="Open Sans" panose="020B0606030504020204" pitchFamily="34" charset="0"/>
                        </a:rPr>
                        <a:t>Levvia</a:t>
                      </a:r>
                      <a:endParaRPr lang="en-US" sz="1000" b="1" i="0" u="none" strike="noStrike" err="1">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Monitoring Quality &amp; Adoption</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Automate  Bots</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Support and Ongoing Maintenance</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extLst>
                  <a:ext uri="{0D108BD9-81ED-4DB2-BD59-A6C34878D82A}">
                    <a16:rowId xmlns:a16="http://schemas.microsoft.com/office/drawing/2014/main" val="452334751"/>
                  </a:ext>
                </a:extLst>
              </a:tr>
              <a:tr h="274320">
                <a:tc>
                  <a:txBody>
                    <a:bodyPr/>
                    <a:lstStyle/>
                    <a:p>
                      <a:pPr marL="0" indent="0" algn="ctr" fontAlgn="b">
                        <a:buNone/>
                      </a:pPr>
                      <a:r>
                        <a:rPr lang="en-US" sz="1000" b="1" i="0" u="none" strike="noStrike">
                          <a:solidFill>
                            <a:schemeClr val="bg1"/>
                          </a:solidFill>
                          <a:effectLst/>
                          <a:latin typeface="Open Sans"/>
                          <a:ea typeface="Open Sans" panose="020B0606030504020204" pitchFamily="34" charset="0"/>
                          <a:cs typeface="Open Sans" panose="020B0606030504020204" pitchFamily="34" charset="0"/>
                        </a:rPr>
                        <a:t>EXTERNAL INSPECTION DATABASE</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2469651322"/>
                  </a:ext>
                </a:extLst>
              </a:tr>
              <a:tr h="274320">
                <a:tc>
                  <a:txBody>
                    <a:bodyPr/>
                    <a:lstStyle/>
                    <a:p>
                      <a:pPr algn="l" fontAlgn="b"/>
                      <a:r>
                        <a:rPr lang="en-US" sz="1000" b="0" i="0" u="none" strike="noStrike">
                          <a:solidFill>
                            <a:schemeClr val="bg1"/>
                          </a:solidFill>
                          <a:effectLst/>
                          <a:latin typeface="Open Sans"/>
                          <a:ea typeface="Open Sans" panose="020B0606030504020204" pitchFamily="34" charset="0"/>
                          <a:cs typeface="Open Sans" panose="020B0606030504020204" pitchFamily="34" charset="0"/>
                        </a:rPr>
                        <a:t>1. EID - Submission and review workflow for external inspections</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Falcon Heavy</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3976660942"/>
                  </a:ext>
                </a:extLst>
              </a:tr>
              <a:tr h="274320">
                <a:tc>
                  <a:txBody>
                    <a:bodyPr/>
                    <a:lstStyle/>
                    <a:p>
                      <a:pPr marL="0" indent="0" algn="ctr" fontAlgn="b">
                        <a:buFont typeface="+mj-lt"/>
                        <a:buNone/>
                      </a:pPr>
                      <a:r>
                        <a:rPr lang="en-US" sz="10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ENGAGEMENT MONITORING</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683563605"/>
                  </a:ext>
                </a:extLst>
              </a:tr>
              <a:tr h="274320">
                <a:tc>
                  <a:txBody>
                    <a:bodyPr/>
                    <a:lstStyle/>
                    <a:p>
                      <a:pPr algn="l" fontAlgn="b"/>
                      <a:r>
                        <a:rPr lang="en-US" sz="1000" b="0"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2. EM/OAR - OAR content management</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alcon Heavy</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4257950665"/>
                  </a:ext>
                </a:extLst>
              </a:tr>
              <a:tr h="274320">
                <a:tc>
                  <a:txBody>
                    <a:bodyPr/>
                    <a:lstStyle/>
                    <a:p>
                      <a:pPr algn="l" fontAlgn="b"/>
                      <a:r>
                        <a:rPr lang="en-US" sz="1000" b="0"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3. EM/OAR - Planning the OAR</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alcon Heavy</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1073815740"/>
                  </a:ext>
                </a:extLst>
              </a:tr>
              <a:tr h="274320">
                <a:tc>
                  <a:txBody>
                    <a:bodyPr/>
                    <a:lstStyle/>
                    <a:p>
                      <a:pPr algn="l" fontAlgn="b"/>
                      <a:r>
                        <a:rPr lang="en-US" sz="1000" b="0"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4. EM/OAR - Performing the OAR</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alcon Heavy</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1879320833"/>
                  </a:ext>
                </a:extLst>
              </a:tr>
              <a:tr h="274320">
                <a:tc>
                  <a:txBody>
                    <a:bodyPr/>
                    <a:lstStyle/>
                    <a:p>
                      <a:pPr marL="0" algn="l" defTabSz="914388" rtl="0" eaLnBrk="1" fontAlgn="b" latinLnBrk="0" hangingPunct="1"/>
                      <a:r>
                        <a:rPr lang="en-US" sz="1000" b="0" i="0" u="none" strike="noStrike" kern="1200">
                          <a:solidFill>
                            <a:schemeClr val="bg1"/>
                          </a:solidFill>
                          <a:effectLst/>
                          <a:latin typeface="Open Sans" panose="020B0606030504020204" pitchFamily="34" charset="0"/>
                          <a:ea typeface="Open Sans" panose="020B0606030504020204" pitchFamily="34" charset="0"/>
                          <a:cs typeface="Open Sans" panose="020B0606030504020204" pitchFamily="34" charset="0"/>
                        </a:rPr>
                        <a:t>5. EM - Bulk import of engagement, IFER content reordering and other application enhancements.</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alcon Heavy</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1499582127"/>
                  </a:ext>
                </a:extLst>
              </a:tr>
              <a:tr h="274320">
                <a:tc>
                  <a:txBody>
                    <a:bodyPr/>
                    <a:lstStyle/>
                    <a:p>
                      <a:pPr marL="0" algn="l" defTabSz="914388" rtl="0" eaLnBrk="1" fontAlgn="b" latinLnBrk="0" hangingPunct="1"/>
                      <a:r>
                        <a:rPr lang="en-US" sz="1000" b="0" i="0" u="none" strike="noStrike" kern="1200">
                          <a:solidFill>
                            <a:schemeClr val="bg1"/>
                          </a:solidFill>
                          <a:effectLst/>
                          <a:latin typeface="Open Sans" panose="020B0606030504020204" pitchFamily="34" charset="0"/>
                          <a:ea typeface="Open Sans" panose="020B0606030504020204" pitchFamily="34" charset="0"/>
                          <a:cs typeface="Open Sans" panose="020B0606030504020204" pitchFamily="34" charset="0"/>
                        </a:rPr>
                        <a:t>6. EM/HC - DWW health check creation and workflow</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alcon Heavy</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11759776"/>
                  </a:ext>
                </a:extLst>
              </a:tr>
              <a:tr h="274320">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000" b="0" i="0" u="none" strike="noStrike" kern="1200">
                          <a:solidFill>
                            <a:schemeClr val="bg1"/>
                          </a:solidFill>
                          <a:effectLst/>
                          <a:latin typeface="Open Sans" panose="020B0606030504020204" pitchFamily="34" charset="0"/>
                          <a:ea typeface="Open Sans" panose="020B0606030504020204" pitchFamily="34" charset="0"/>
                          <a:cs typeface="Open Sans" panose="020B0606030504020204" pitchFamily="34" charset="0"/>
                        </a:rPr>
                        <a:t>7. EM - Data retention/ Data archival and Data purge.</a:t>
                      </a:r>
                      <a:endParaRPr lang="en-US" sz="10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solidFill>
                      <a:schemeClr val="accent4">
                        <a:lumMod val="50000"/>
                      </a:schemeClr>
                    </a:solidFill>
                  </a:tcP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alcon Heavy</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1414788334"/>
                  </a:ext>
                </a:extLst>
              </a:tr>
              <a:tr h="274320">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lang="en-US" sz="10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AUDIT QUALITY INDICATORS </a:t>
                      </a:r>
                    </a:p>
                  </a:txBody>
                  <a:tcPr marL="4075" marR="4075" marT="4075" marB="0" anchor="ctr">
                    <a:solidFill>
                      <a:schemeClr val="accent4">
                        <a:lumMod val="50000"/>
                      </a:schemeClr>
                    </a:solidFill>
                  </a:tcPr>
                </a:tc>
                <a:tc>
                  <a:txBody>
                    <a:bodyPr/>
                    <a:lstStyle/>
                    <a:p>
                      <a:pPr algn="ctr" fontAlgn="b"/>
                      <a:endParaRPr lang="en-US" sz="10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3420471933"/>
                  </a:ext>
                </a:extLst>
              </a:tr>
              <a:tr h="274320">
                <a:tc>
                  <a:txBody>
                    <a:bodyPr/>
                    <a:lstStyle/>
                    <a:p>
                      <a:pPr algn="l" fontAlgn="b"/>
                      <a:r>
                        <a:rPr lang="en-US" sz="1000" b="0"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7. AQI - Update the validation rules for AQI data entry pages</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Falcon Heavy</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65523764"/>
                  </a:ext>
                </a:extLst>
              </a:tr>
              <a:tr h="274320">
                <a:tc>
                  <a:txBody>
                    <a:bodyPr/>
                    <a:lstStyle/>
                    <a:p>
                      <a:pPr algn="ctr" fontAlgn="b"/>
                      <a:r>
                        <a:rPr lang="en-US" sz="1000" b="1" i="0" u="none" strike="noStrike">
                          <a:solidFill>
                            <a:schemeClr val="bg1"/>
                          </a:solidFill>
                          <a:effectLst/>
                          <a:latin typeface="Open Sans"/>
                          <a:ea typeface="Open Sans" panose="020B0606030504020204" pitchFamily="34" charset="0"/>
                          <a:cs typeface="Open Sans" panose="020B0606030504020204" pitchFamily="34" charset="0"/>
                        </a:rPr>
                        <a:t>AQMM  PLATFORM</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430266828"/>
                  </a:ext>
                </a:extLst>
              </a:tr>
              <a:tr h="274320">
                <a:tc>
                  <a:txBody>
                    <a:bodyPr/>
                    <a:lstStyle/>
                    <a:p>
                      <a:pPr marL="0" indent="0" algn="l" fontAlgn="b">
                        <a:buFont typeface="+mj-lt"/>
                        <a:buNone/>
                      </a:pPr>
                      <a:r>
                        <a:rPr lang="en-US" sz="1000" b="0"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8. AQMM - Platform level changes and prod defects</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alcon Heavy</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4005620861"/>
                  </a:ext>
                </a:extLst>
              </a:tr>
              <a:tr h="274320">
                <a:tc>
                  <a:txBody>
                    <a:bodyPr/>
                    <a:lstStyle/>
                    <a:p>
                      <a:pPr marL="0" indent="0" algn="l" fontAlgn="b">
                        <a:buFont typeface="+mj-lt"/>
                        <a:buNone/>
                      </a:pPr>
                      <a:endParaRPr lang="en-US" sz="1000" b="0"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3548338902"/>
                  </a:ext>
                </a:extLst>
              </a:tr>
            </a:tbl>
          </a:graphicData>
        </a:graphic>
      </p:graphicFrame>
      <p:sp>
        <p:nvSpPr>
          <p:cNvPr id="4" name="Title 1">
            <a:extLst>
              <a:ext uri="{FF2B5EF4-FFF2-40B4-BE49-F238E27FC236}">
                <a16:creationId xmlns:a16="http://schemas.microsoft.com/office/drawing/2014/main" id="{30EF7E5B-7924-4E05-B8AA-489BA066B7A0}"/>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0" b="1">
                <a:solidFill>
                  <a:schemeClr val="tx1">
                    <a:lumMod val="50000"/>
                    <a:lumOff val="50000"/>
                  </a:schemeClr>
                </a:solidFill>
                <a:latin typeface="Open Sans"/>
                <a:ea typeface="Open Sans" panose="020B0606030504020204" pitchFamily="34" charset="0"/>
                <a:cs typeface="Open Sans" panose="020B0606030504020204" pitchFamily="34" charset="0"/>
              </a:rPr>
              <a:t>Business Value – Feature Mapping | AQMM</a:t>
            </a:r>
            <a:r>
              <a:rPr lang="en-US" sz="1800" b="1">
                <a:latin typeface="Open Sans"/>
                <a:ea typeface="Open Sans" panose="020B0606030504020204" pitchFamily="34" charset="0"/>
                <a:cs typeface="Open Sans" panose="020B0606030504020204" pitchFamily="34" charset="0"/>
              </a:rPr>
              <a:t> - Falcon Heavy</a:t>
            </a:r>
            <a:endParaRPr lang="en-US" sz="1801" b="1">
              <a:solidFill>
                <a:schemeClr val="tx1">
                  <a:lumMod val="50000"/>
                  <a:lumOff val="50000"/>
                </a:schemeClr>
              </a:solidFill>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8715199"/>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0EF7E5B-7924-4E05-B8AA-489BA066B7A0}"/>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0" b="1">
                <a:solidFill>
                  <a:schemeClr val="tx1">
                    <a:lumMod val="50000"/>
                    <a:lumOff val="50000"/>
                  </a:schemeClr>
                </a:solidFill>
                <a:latin typeface="Open Sans"/>
                <a:ea typeface="Open Sans" panose="020B0606030504020204" pitchFamily="34" charset="0"/>
                <a:cs typeface="Open Sans" panose="020B0606030504020204" pitchFamily="34" charset="0"/>
              </a:rPr>
              <a:t>Business Value – Feature Mapping | AQMM – </a:t>
            </a:r>
            <a:r>
              <a:rPr lang="en-US" sz="1800" b="1">
                <a:latin typeface="Open Sans"/>
                <a:ea typeface="Open Sans" panose="020B0606030504020204" pitchFamily="34" charset="0"/>
                <a:cs typeface="Open Sans" panose="020B0606030504020204" pitchFamily="34" charset="0"/>
              </a:rPr>
              <a:t>Saturn V </a:t>
            </a:r>
            <a:endParaRPr lang="en-US" sz="1801" b="1">
              <a:latin typeface="Open Sans"/>
              <a:ea typeface="Open Sans" panose="020B0606030504020204" pitchFamily="34" charset="0"/>
              <a:cs typeface="Open Sans" panose="020B0606030504020204" pitchFamily="34" charset="0"/>
            </a:endParaRPr>
          </a:p>
        </p:txBody>
      </p:sp>
      <p:graphicFrame>
        <p:nvGraphicFramePr>
          <p:cNvPr id="5" name="Table 4">
            <a:extLst>
              <a:ext uri="{FF2B5EF4-FFF2-40B4-BE49-F238E27FC236}">
                <a16:creationId xmlns:a16="http://schemas.microsoft.com/office/drawing/2014/main" id="{144D22B2-3396-435D-97F1-6D524E441013}"/>
              </a:ext>
            </a:extLst>
          </p:cNvPr>
          <p:cNvGraphicFramePr>
            <a:graphicFrameLocks noGrp="1"/>
          </p:cNvGraphicFramePr>
          <p:nvPr>
            <p:extLst>
              <p:ext uri="{D42A27DB-BD31-4B8C-83A1-F6EECF244321}">
                <p14:modId xmlns:p14="http://schemas.microsoft.com/office/powerpoint/2010/main" val="2924197789"/>
              </p:ext>
            </p:extLst>
          </p:nvPr>
        </p:nvGraphicFramePr>
        <p:xfrm>
          <a:off x="300664" y="1179475"/>
          <a:ext cx="11491281" cy="3728467"/>
        </p:xfrm>
        <a:graphic>
          <a:graphicData uri="http://schemas.openxmlformats.org/drawingml/2006/table">
            <a:tbl>
              <a:tblPr firstRow="1" firstCol="1">
                <a:tableStyleId>{073A0DAA-6AF3-43AB-8588-CEC1D06C72B9}</a:tableStyleId>
              </a:tblPr>
              <a:tblGrid>
                <a:gridCol w="4668902">
                  <a:extLst>
                    <a:ext uri="{9D8B030D-6E8A-4147-A177-3AD203B41FA5}">
                      <a16:colId xmlns:a16="http://schemas.microsoft.com/office/drawing/2014/main" val="792060426"/>
                    </a:ext>
                  </a:extLst>
                </a:gridCol>
                <a:gridCol w="1326544">
                  <a:extLst>
                    <a:ext uri="{9D8B030D-6E8A-4147-A177-3AD203B41FA5}">
                      <a16:colId xmlns:a16="http://schemas.microsoft.com/office/drawing/2014/main" val="2618122881"/>
                    </a:ext>
                  </a:extLst>
                </a:gridCol>
                <a:gridCol w="650449">
                  <a:extLst>
                    <a:ext uri="{9D8B030D-6E8A-4147-A177-3AD203B41FA5}">
                      <a16:colId xmlns:a16="http://schemas.microsoft.com/office/drawing/2014/main" val="2152155282"/>
                    </a:ext>
                  </a:extLst>
                </a:gridCol>
                <a:gridCol w="709146">
                  <a:extLst>
                    <a:ext uri="{9D8B030D-6E8A-4147-A177-3AD203B41FA5}">
                      <a16:colId xmlns:a16="http://schemas.microsoft.com/office/drawing/2014/main" val="2805195837"/>
                    </a:ext>
                  </a:extLst>
                </a:gridCol>
                <a:gridCol w="894562">
                  <a:extLst>
                    <a:ext uri="{9D8B030D-6E8A-4147-A177-3AD203B41FA5}">
                      <a16:colId xmlns:a16="http://schemas.microsoft.com/office/drawing/2014/main" val="2771148117"/>
                    </a:ext>
                  </a:extLst>
                </a:gridCol>
                <a:gridCol w="836850">
                  <a:extLst>
                    <a:ext uri="{9D8B030D-6E8A-4147-A177-3AD203B41FA5}">
                      <a16:colId xmlns:a16="http://schemas.microsoft.com/office/drawing/2014/main" val="3197705583"/>
                    </a:ext>
                  </a:extLst>
                </a:gridCol>
                <a:gridCol w="851276">
                  <a:extLst>
                    <a:ext uri="{9D8B030D-6E8A-4147-A177-3AD203B41FA5}">
                      <a16:colId xmlns:a16="http://schemas.microsoft.com/office/drawing/2014/main" val="4238107078"/>
                    </a:ext>
                  </a:extLst>
                </a:gridCol>
                <a:gridCol w="706990">
                  <a:extLst>
                    <a:ext uri="{9D8B030D-6E8A-4147-A177-3AD203B41FA5}">
                      <a16:colId xmlns:a16="http://schemas.microsoft.com/office/drawing/2014/main" val="372272013"/>
                    </a:ext>
                  </a:extLst>
                </a:gridCol>
                <a:gridCol w="846562">
                  <a:extLst>
                    <a:ext uri="{9D8B030D-6E8A-4147-A177-3AD203B41FA5}">
                      <a16:colId xmlns:a16="http://schemas.microsoft.com/office/drawing/2014/main" val="1812577372"/>
                    </a:ext>
                  </a:extLst>
                </a:gridCol>
              </a:tblGrid>
              <a:tr h="1533907">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FEATURES</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solidFill>
                      <a:schemeClr val="accent4">
                        <a:lumMod val="50000"/>
                      </a:schemeClr>
                    </a:solidFill>
                  </a:tcPr>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Team</a:t>
                      </a:r>
                    </a:p>
                  </a:txBody>
                  <a:tcPr marL="4075" marR="4075" marT="4075" marB="0" vert="vert270" anchor="ctr">
                    <a:solidFill>
                      <a:srgbClr val="00B0F0"/>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Continued DWW Acceleration</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RADC Ramp Up</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Expand RADC Catalog</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Transition to Omnia/</a:t>
                      </a:r>
                      <a:r>
                        <a:rPr lang="en-US" sz="1000" u="none" strike="noStrike" err="1">
                          <a:effectLst/>
                          <a:latin typeface="Open Sans"/>
                          <a:ea typeface="Open Sans" panose="020B0606030504020204" pitchFamily="34" charset="0"/>
                          <a:cs typeface="Open Sans" panose="020B0606030504020204" pitchFamily="34" charset="0"/>
                        </a:rPr>
                        <a:t>Levvia</a:t>
                      </a:r>
                      <a:endParaRPr lang="en-US" sz="1000" b="1" i="0" u="none" strike="noStrike" err="1">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Monitoring Quality &amp; Adoption</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Automate  Bots</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tc>
                  <a:txBody>
                    <a:bodyPr/>
                    <a:lstStyle/>
                    <a:p>
                      <a:pPr algn="ctr" fontAlgn="b"/>
                      <a:r>
                        <a:rPr lang="en-US" sz="1000" u="none" strike="noStrike">
                          <a:effectLst/>
                          <a:latin typeface="Open Sans"/>
                          <a:ea typeface="Open Sans" panose="020B0606030504020204" pitchFamily="34" charset="0"/>
                          <a:cs typeface="Open Sans" panose="020B0606030504020204" pitchFamily="34" charset="0"/>
                        </a:rPr>
                        <a:t>Support and Ongoing Maintenance</a:t>
                      </a: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vert="vert270" anchor="ctr">
                    <a:solidFill>
                      <a:schemeClr val="accent4">
                        <a:lumMod val="50000"/>
                      </a:schemeClr>
                    </a:solidFill>
                  </a:tcPr>
                </a:tc>
                <a:extLst>
                  <a:ext uri="{0D108BD9-81ED-4DB2-BD59-A6C34878D82A}">
                    <a16:rowId xmlns:a16="http://schemas.microsoft.com/office/drawing/2014/main" val="452334751"/>
                  </a:ext>
                </a:extLst>
              </a:tr>
              <a:tr h="274320">
                <a:tc>
                  <a:txBody>
                    <a:bodyPr/>
                    <a:lstStyle/>
                    <a:p>
                      <a:pPr marL="0" indent="0" algn="ctr" fontAlgn="b">
                        <a:buFont typeface="+mj-lt"/>
                        <a:buNone/>
                      </a:pPr>
                      <a:r>
                        <a:rPr lang="en-US" sz="1000" b="1"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ENGAGEMENT MONITORING</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683563605"/>
                  </a:ext>
                </a:extLst>
              </a:tr>
              <a:tr h="274320">
                <a:tc>
                  <a:txBody>
                    <a:bodyPr/>
                    <a:lstStyle/>
                    <a:p>
                      <a:pPr algn="l" fontAlgn="b"/>
                      <a:r>
                        <a:rPr lang="en-US" sz="1000" b="0"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EM/AER - Engagement Profile</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aturn V</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4257950665"/>
                  </a:ext>
                </a:extLst>
              </a:tr>
              <a:tr h="274320">
                <a:tc>
                  <a:txBody>
                    <a:bodyPr/>
                    <a:lstStyle/>
                    <a:p>
                      <a:pPr algn="l" fontAlgn="b"/>
                      <a:r>
                        <a:rPr lang="en-US" sz="1000" b="0"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EM/AER – AER Configurations</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aturn V</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1073815740"/>
                  </a:ext>
                </a:extLst>
              </a:tr>
              <a:tr h="274320">
                <a:tc>
                  <a:txBody>
                    <a:bodyPr/>
                    <a:lstStyle/>
                    <a:p>
                      <a:pPr algn="l" fontAlgn="b"/>
                      <a:r>
                        <a:rPr lang="en-US" sz="1000" b="0" i="0" u="none" strike="noStrike">
                          <a:solidFill>
                            <a:schemeClr val="bg1"/>
                          </a:solidFill>
                          <a:effectLst/>
                          <a:latin typeface="Open Sans" panose="020B0606030504020204" pitchFamily="34" charset="0"/>
                          <a:ea typeface="Open Sans" panose="020B0606030504020204" pitchFamily="34" charset="0"/>
                          <a:cs typeface="Open Sans" panose="020B0606030504020204" pitchFamily="34" charset="0"/>
                        </a:rPr>
                        <a:t>EM/AER - Performing an AER</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aturn V</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1879320833"/>
                  </a:ext>
                </a:extLst>
              </a:tr>
              <a:tr h="274320">
                <a:tc>
                  <a:txBody>
                    <a:bodyPr/>
                    <a:lstStyle/>
                    <a:p>
                      <a:pPr marL="0" algn="l" defTabSz="914388" rtl="0" eaLnBrk="1" fontAlgn="b" latinLnBrk="0" hangingPunct="1"/>
                      <a:r>
                        <a:rPr lang="en-US" sz="1000" b="0" i="0" u="none" strike="noStrike" kern="120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M/AER – Planning module of an AER</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aturn V</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000" b="1" i="0" u="none" strike="noStrike">
                          <a:solidFill>
                            <a:srgbClr val="000000"/>
                          </a:solidFill>
                          <a:effectLst/>
                          <a:latin typeface="Open Sans"/>
                          <a:ea typeface="Open Sans" panose="020B0606030504020204" pitchFamily="34" charset="0"/>
                          <a:cs typeface="Open Sans" panose="020B0606030504020204" pitchFamily="34" charset="0"/>
                        </a:rPr>
                        <a:t>X</a:t>
                      </a:r>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1499582127"/>
                  </a:ext>
                </a:extLst>
              </a:tr>
              <a:tr h="274320">
                <a:tc>
                  <a:txBody>
                    <a:bodyPr/>
                    <a:lstStyle/>
                    <a:p>
                      <a:pPr marL="0" algn="l" defTabSz="914388" rtl="0" eaLnBrk="1" fontAlgn="b" latinLnBrk="0" hangingPunct="1"/>
                      <a:r>
                        <a:rPr lang="en-US" sz="1000" b="0" i="0" u="none" strike="noStrike" kern="120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M/AER – Evaluating module of an AER</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aturn V</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11759776"/>
                  </a:ext>
                </a:extLst>
              </a:tr>
              <a:tr h="274320">
                <a:tc>
                  <a:txBody>
                    <a:bodyPr/>
                    <a:lstStyle/>
                    <a:p>
                      <a:pPr marL="0" marR="0" lvl="0" indent="0" algn="l" defTabSz="914388" rtl="0" eaLnBrk="1" fontAlgn="b" latinLnBrk="0" hangingPunct="1">
                        <a:lnSpc>
                          <a:spcPct val="100000"/>
                        </a:lnSpc>
                        <a:spcBef>
                          <a:spcPts val="0"/>
                        </a:spcBef>
                        <a:spcAft>
                          <a:spcPts val="0"/>
                        </a:spcAft>
                        <a:buClrTx/>
                        <a:buSzTx/>
                        <a:buFontTx/>
                        <a:buNone/>
                        <a:tabLst/>
                        <a:defRPr/>
                      </a:pPr>
                      <a:r>
                        <a:rPr lang="en-US" sz="1000" b="0" i="0" u="none" strike="noStrike" kern="120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M/AER – Concluding module of an AER</a:t>
                      </a: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aturn V</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r>
                        <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rPr>
                        <a:t>X</a:t>
                      </a: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3389710689"/>
                  </a:ext>
                </a:extLst>
              </a:tr>
              <a:tr h="274320">
                <a:tc>
                  <a:txBody>
                    <a:bodyPr/>
                    <a:lstStyle/>
                    <a:p>
                      <a:pPr algn="ctr" fontAlgn="b"/>
                      <a:endParaRPr lang="en-US" sz="1000" b="1" i="0" u="none" strike="noStrike">
                        <a:solidFill>
                          <a:srgbClr val="FF0000"/>
                        </a:solidFill>
                        <a:effectLst/>
                        <a:latin typeface="Open Sans"/>
                        <a:ea typeface="Open Sans" panose="020B0606030504020204" pitchFamily="34" charset="0"/>
                        <a:cs typeface="Open Sans" panose="020B0606030504020204" pitchFamily="34" charset="0"/>
                      </a:endParaRPr>
                    </a:p>
                  </a:txBody>
                  <a:tcPr marL="4075" marR="4075" marT="4075" marB="0" anchor="ctr">
                    <a:solidFill>
                      <a:schemeClr val="accent4">
                        <a:lumMod val="50000"/>
                      </a:schemeClr>
                    </a:solid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marL="0" marR="0" lvl="0" indent="0" algn="ctr" defTabSz="914388" rtl="0" eaLnBrk="1" fontAlgn="b" latinLnBrk="0" hangingPunct="1">
                        <a:lnSpc>
                          <a:spcPct val="100000"/>
                        </a:lnSpc>
                        <a:spcBef>
                          <a:spcPts val="0"/>
                        </a:spcBef>
                        <a:spcAft>
                          <a:spcPts val="0"/>
                        </a:spcAft>
                        <a:buClrTx/>
                        <a:buSzTx/>
                        <a:buFontTx/>
                        <a:buNone/>
                        <a:tabLst/>
                        <a:defRPr/>
                      </a:pPr>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075" marR="4075" marT="4075" marB="0" anchor="ctr"/>
                </a:tc>
                <a:tc>
                  <a:txBody>
                    <a:bodyPr/>
                    <a:lstStyle/>
                    <a:p>
                      <a:pPr algn="ctr" fontAlgn="b"/>
                      <a:endParaRPr lang="en-US" sz="1000" b="1" i="0" u="none" strike="noStrike">
                        <a:solidFill>
                          <a:srgbClr val="000000"/>
                        </a:solidFill>
                        <a:effectLst/>
                        <a:latin typeface="Open Sans"/>
                        <a:ea typeface="Open Sans" panose="020B0606030504020204" pitchFamily="34" charset="0"/>
                        <a:cs typeface="Open Sans" panose="020B0606030504020204" pitchFamily="34" charset="0"/>
                      </a:endParaRPr>
                    </a:p>
                  </a:txBody>
                  <a:tcPr marL="4075" marR="4075" marT="4075" marB="0" anchor="ctr"/>
                </a:tc>
                <a:extLst>
                  <a:ext uri="{0D108BD9-81ED-4DB2-BD59-A6C34878D82A}">
                    <a16:rowId xmlns:a16="http://schemas.microsoft.com/office/drawing/2014/main" val="430266828"/>
                  </a:ext>
                </a:extLst>
              </a:tr>
            </a:tbl>
          </a:graphicData>
        </a:graphic>
      </p:graphicFrame>
    </p:spTree>
    <p:extLst>
      <p:ext uri="{BB962C8B-B14F-4D97-AF65-F5344CB8AC3E}">
        <p14:creationId xmlns:p14="http://schemas.microsoft.com/office/powerpoint/2010/main" val="3038467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2AAAC88F-F4B4-4FE3-956E-C3F806D71324}"/>
              </a:ext>
            </a:extLst>
          </p:cNvPr>
          <p:cNvGraphicFramePr>
            <a:graphicFrameLocks noGrp="1"/>
          </p:cNvGraphicFramePr>
          <p:nvPr>
            <p:ph idx="1"/>
            <p:extLst>
              <p:ext uri="{D42A27DB-BD31-4B8C-83A1-F6EECF244321}">
                <p14:modId xmlns:p14="http://schemas.microsoft.com/office/powerpoint/2010/main" val="4256704189"/>
              </p:ext>
            </p:extLst>
          </p:nvPr>
        </p:nvGraphicFramePr>
        <p:xfrm>
          <a:off x="381413" y="618565"/>
          <a:ext cx="11055309" cy="5380916"/>
        </p:xfrm>
        <a:graphic>
          <a:graphicData uri="http://schemas.openxmlformats.org/drawingml/2006/table">
            <a:tbl>
              <a:tblPr firstRow="1" bandRow="1">
                <a:tableStyleId>{5C22544A-7EE6-4342-B048-85BDC9FD1C3A}</a:tableStyleId>
              </a:tblPr>
              <a:tblGrid>
                <a:gridCol w="1058699">
                  <a:extLst>
                    <a:ext uri="{9D8B030D-6E8A-4147-A177-3AD203B41FA5}">
                      <a16:colId xmlns:a16="http://schemas.microsoft.com/office/drawing/2014/main" val="861965633"/>
                    </a:ext>
                  </a:extLst>
                </a:gridCol>
                <a:gridCol w="1025509">
                  <a:extLst>
                    <a:ext uri="{9D8B030D-6E8A-4147-A177-3AD203B41FA5}">
                      <a16:colId xmlns:a16="http://schemas.microsoft.com/office/drawing/2014/main" val="3567108516"/>
                    </a:ext>
                  </a:extLst>
                </a:gridCol>
                <a:gridCol w="1111624">
                  <a:extLst>
                    <a:ext uri="{9D8B030D-6E8A-4147-A177-3AD203B41FA5}">
                      <a16:colId xmlns:a16="http://schemas.microsoft.com/office/drawing/2014/main" val="1013084987"/>
                    </a:ext>
                  </a:extLst>
                </a:gridCol>
                <a:gridCol w="950583">
                  <a:extLst>
                    <a:ext uri="{9D8B030D-6E8A-4147-A177-3AD203B41FA5}">
                      <a16:colId xmlns:a16="http://schemas.microsoft.com/office/drawing/2014/main" val="2846602792"/>
                    </a:ext>
                  </a:extLst>
                </a:gridCol>
                <a:gridCol w="3584256">
                  <a:extLst>
                    <a:ext uri="{9D8B030D-6E8A-4147-A177-3AD203B41FA5}">
                      <a16:colId xmlns:a16="http://schemas.microsoft.com/office/drawing/2014/main" val="2777513450"/>
                    </a:ext>
                  </a:extLst>
                </a:gridCol>
                <a:gridCol w="1390104">
                  <a:extLst>
                    <a:ext uri="{9D8B030D-6E8A-4147-A177-3AD203B41FA5}">
                      <a16:colId xmlns:a16="http://schemas.microsoft.com/office/drawing/2014/main" val="2140803698"/>
                    </a:ext>
                  </a:extLst>
                </a:gridCol>
                <a:gridCol w="1934534">
                  <a:extLst>
                    <a:ext uri="{9D8B030D-6E8A-4147-A177-3AD203B41FA5}">
                      <a16:colId xmlns:a16="http://schemas.microsoft.com/office/drawing/2014/main" val="2356713016"/>
                    </a:ext>
                  </a:extLst>
                </a:gridCol>
              </a:tblGrid>
              <a:tr h="560153">
                <a:tc>
                  <a:txBody>
                    <a:bodyPr/>
                    <a:lstStyle/>
                    <a:p>
                      <a:pPr algn="ctr" fontAlgn="b"/>
                      <a:r>
                        <a:rPr lang="en-US" sz="1400" u="none" strike="noStrike">
                          <a:solidFill>
                            <a:schemeClr val="tx1">
                              <a:lumMod val="85000"/>
                              <a:lumOff val="15000"/>
                            </a:schemeClr>
                          </a:solidFill>
                          <a:effectLst/>
                          <a:latin typeface="Open Sans"/>
                          <a:ea typeface="Open Sans"/>
                          <a:cs typeface="Open Sans"/>
                        </a:rPr>
                        <a:t>Start</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Finish</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USI Start</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USI Finish</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l" fontAlgn="b"/>
                      <a:r>
                        <a:rPr lang="en-US" sz="1400" u="none" strike="noStrike">
                          <a:solidFill>
                            <a:schemeClr val="tx1">
                              <a:lumMod val="85000"/>
                              <a:lumOff val="15000"/>
                            </a:schemeClr>
                          </a:solidFill>
                          <a:effectLst/>
                          <a:latin typeface="Open Sans"/>
                          <a:ea typeface="Open Sans"/>
                          <a:cs typeface="Open Sans"/>
                        </a:rPr>
                        <a:t>Agenda Item</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Duration</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b="1" i="0" u="none" strike="noStrike">
                          <a:solidFill>
                            <a:schemeClr val="tx1">
                              <a:lumMod val="85000"/>
                              <a:lumOff val="15000"/>
                            </a:schemeClr>
                          </a:solidFill>
                          <a:effectLst/>
                          <a:latin typeface="Open Sans"/>
                          <a:ea typeface="Open Sans"/>
                          <a:cs typeface="Open Sans"/>
                        </a:rPr>
                        <a:t>Owner</a:t>
                      </a:r>
                    </a:p>
                  </a:txBody>
                  <a:tcPr marL="125783" marR="75470" marT="75470" marB="75470" anchor="b">
                    <a:solidFill>
                      <a:schemeClr val="accent1"/>
                    </a:solidFill>
                  </a:tcPr>
                </a:tc>
                <a:extLst>
                  <a:ext uri="{0D108BD9-81ED-4DB2-BD59-A6C34878D82A}">
                    <a16:rowId xmlns:a16="http://schemas.microsoft.com/office/drawing/2014/main" val="309002237"/>
                  </a:ext>
                </a:extLst>
              </a:tr>
              <a:tr h="330084">
                <a:tc>
                  <a:txBody>
                    <a:bodyPr/>
                    <a:lstStyle/>
                    <a:p>
                      <a:pPr algn="ctr" fontAlgn="b"/>
                      <a:r>
                        <a:rPr lang="en-US" sz="1100" u="none" strike="noStrike">
                          <a:solidFill>
                            <a:schemeClr val="tx1">
                              <a:lumMod val="85000"/>
                              <a:lumOff val="15000"/>
                            </a:schemeClr>
                          </a:solidFill>
                          <a:effectLst/>
                          <a:latin typeface="Open Sans"/>
                          <a:ea typeface="Open Sans"/>
                          <a:cs typeface="Open Sans"/>
                        </a:rPr>
                        <a:t>7:30 A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7:35 A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5:00 P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5:05 PM</a:t>
                      </a:r>
                    </a:p>
                  </a:txBody>
                  <a:tcPr marL="125783" marR="75470" marT="75470" marB="75470" anchor="ctr">
                    <a:solidFill>
                      <a:schemeClr val="accent1">
                        <a:lumMod val="20000"/>
                        <a:lumOff val="80000"/>
                      </a:schemeClr>
                    </a:solidFill>
                  </a:tcPr>
                </a:tc>
                <a:tc>
                  <a:txBody>
                    <a:bodyPr/>
                    <a:lstStyle/>
                    <a:p>
                      <a:pPr algn="l" fontAlgn="b"/>
                      <a:r>
                        <a:rPr lang="en-US" sz="1100" u="none" strike="noStrike">
                          <a:solidFill>
                            <a:schemeClr val="tx1">
                              <a:lumMod val="85000"/>
                              <a:lumOff val="15000"/>
                            </a:schemeClr>
                          </a:solidFill>
                          <a:effectLst/>
                          <a:latin typeface="Open Sans"/>
                          <a:ea typeface="Open Sans"/>
                          <a:cs typeface="Open Sans"/>
                        </a:rPr>
                        <a:t>Welcome/ART Structure</a:t>
                      </a:r>
                      <a:endParaRPr lang="en-US" sz="1100" b="0" i="0" u="none" strike="noStrike">
                        <a:solidFill>
                          <a:schemeClr val="tx1">
                            <a:lumMod val="85000"/>
                            <a:lumOff val="15000"/>
                          </a:schemeClr>
                        </a:solidFill>
                        <a:effectLst/>
                        <a:latin typeface="Open Sans"/>
                        <a:ea typeface="Open Sans"/>
                        <a:cs typeface="Open Sans"/>
                      </a:endParaRPr>
                    </a:p>
                  </a:txBody>
                  <a:tcPr marL="125783" marR="75470" marT="75470" marB="75470" anchor="ctr">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5</a:t>
                      </a:r>
                    </a:p>
                  </a:txBody>
                  <a:tcPr marL="125783" marR="75470" marT="75470" marB="75470" anchor="ctr">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Dharini</a:t>
                      </a: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3869885435"/>
                  </a:ext>
                </a:extLst>
              </a:tr>
              <a:tr h="330084">
                <a:tc>
                  <a:txBody>
                    <a:bodyPr/>
                    <a:lstStyle/>
                    <a:p>
                      <a:pPr algn="ctr" fontAlgn="b"/>
                      <a:r>
                        <a:rPr lang="en-US" sz="1100" u="none" strike="noStrike">
                          <a:solidFill>
                            <a:schemeClr val="tx1">
                              <a:lumMod val="85000"/>
                              <a:lumOff val="15000"/>
                            </a:schemeClr>
                          </a:solidFill>
                          <a:effectLst/>
                          <a:latin typeface="Open Sans"/>
                          <a:ea typeface="Open Sans"/>
                          <a:cs typeface="Open Sans"/>
                        </a:rPr>
                        <a:t>7:35 A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8:35 A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5:05 P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6:05 PM</a:t>
                      </a:r>
                    </a:p>
                  </a:txBody>
                  <a:tcPr marL="125783" marR="75470" marT="75470" marB="75470" anchor="ctr">
                    <a:solidFill>
                      <a:schemeClr val="accent1">
                        <a:lumMod val="20000"/>
                        <a:lumOff val="80000"/>
                      </a:schemeClr>
                    </a:solidFill>
                  </a:tcPr>
                </a:tc>
                <a:tc>
                  <a:txBody>
                    <a:bodyPr/>
                    <a:lstStyle/>
                    <a:p>
                      <a:pPr algn="l" fontAlgn="b"/>
                      <a:r>
                        <a:rPr lang="en-US" sz="1100" u="none" strike="noStrike">
                          <a:solidFill>
                            <a:schemeClr val="tx1">
                              <a:lumMod val="85000"/>
                              <a:lumOff val="15000"/>
                            </a:schemeClr>
                          </a:solidFill>
                          <a:effectLst/>
                          <a:latin typeface="Open Sans"/>
                          <a:ea typeface="Open Sans"/>
                          <a:cs typeface="Open Sans"/>
                        </a:rPr>
                        <a:t>Business Impact/Context/Roadmap</a:t>
                      </a:r>
                      <a:endParaRPr lang="en-US" sz="1100" b="0" i="0" u="none" strike="noStrike">
                        <a:solidFill>
                          <a:schemeClr val="tx1">
                            <a:lumMod val="85000"/>
                            <a:lumOff val="15000"/>
                          </a:schemeClr>
                        </a:solidFill>
                        <a:effectLst/>
                        <a:latin typeface="Open Sans"/>
                        <a:ea typeface="Open Sans"/>
                        <a:cs typeface="Open Sans"/>
                      </a:endParaRP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60</a:t>
                      </a:r>
                    </a:p>
                  </a:txBody>
                  <a:tcPr marL="125783" marR="75470" marT="75470" marB="75470" anchor="ctr">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Arnold/Ben</a:t>
                      </a: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2166726968"/>
                  </a:ext>
                </a:extLst>
              </a:tr>
              <a:tr h="330084">
                <a:tc>
                  <a:txBody>
                    <a:bodyPr/>
                    <a:lstStyle/>
                    <a:p>
                      <a:pPr algn="ctr" fontAlgn="b"/>
                      <a:r>
                        <a:rPr lang="en-US" sz="1100" u="none" strike="noStrike">
                          <a:solidFill>
                            <a:schemeClr val="tx1">
                              <a:lumMod val="85000"/>
                              <a:lumOff val="15000"/>
                            </a:schemeClr>
                          </a:solidFill>
                          <a:effectLst/>
                          <a:latin typeface="Open Sans"/>
                          <a:ea typeface="Open Sans"/>
                          <a:cs typeface="Open Sans"/>
                        </a:rPr>
                        <a:t>8:35 A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8:45 A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6:05 P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6:15 PM</a:t>
                      </a:r>
                    </a:p>
                  </a:txBody>
                  <a:tcPr marL="125783" marR="75470" marT="75470" marB="75470" anchor="ctr">
                    <a:solidFill>
                      <a:schemeClr val="accent1">
                        <a:lumMod val="20000"/>
                        <a:lumOff val="80000"/>
                      </a:schemeClr>
                    </a:solidFill>
                  </a:tcPr>
                </a:tc>
                <a:tc>
                  <a:txBody>
                    <a:bodyPr/>
                    <a:lstStyle/>
                    <a:p>
                      <a:pPr algn="l" fontAlgn="b"/>
                      <a:r>
                        <a:rPr lang="en-US" sz="1100" b="0" i="0" u="none" strike="noStrike">
                          <a:solidFill>
                            <a:schemeClr val="tx1">
                              <a:lumMod val="85000"/>
                              <a:lumOff val="15000"/>
                            </a:schemeClr>
                          </a:solidFill>
                          <a:effectLst/>
                          <a:latin typeface="Open Sans"/>
                          <a:ea typeface="Open Sans"/>
                          <a:cs typeface="Open Sans"/>
                        </a:rPr>
                        <a:t>Coffee Break</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10</a:t>
                      </a:r>
                    </a:p>
                  </a:txBody>
                  <a:tcPr marL="125783" marR="75470" marT="75470" marB="75470" anchor="ctr">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ALL</a:t>
                      </a: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1758680398"/>
                  </a:ext>
                </a:extLst>
              </a:tr>
              <a:tr h="330084">
                <a:tc>
                  <a:txBody>
                    <a:bodyPr/>
                    <a:lstStyle/>
                    <a:p>
                      <a:pPr algn="ctr" fontAlgn="b"/>
                      <a:r>
                        <a:rPr lang="en-US" sz="1100" u="none" strike="noStrike">
                          <a:solidFill>
                            <a:schemeClr val="tx1">
                              <a:lumMod val="85000"/>
                              <a:lumOff val="15000"/>
                            </a:schemeClr>
                          </a:solidFill>
                          <a:effectLst/>
                          <a:latin typeface="Open Sans"/>
                          <a:ea typeface="Open Sans"/>
                          <a:cs typeface="Open Sans"/>
                        </a:rPr>
                        <a:t>8:45 A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9:15 A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6:15 P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6:45 PM</a:t>
                      </a:r>
                    </a:p>
                  </a:txBody>
                  <a:tcPr marL="125783" marR="75470" marT="75470" marB="75470" anchor="ctr">
                    <a:solidFill>
                      <a:schemeClr val="accent1">
                        <a:lumMod val="20000"/>
                        <a:lumOff val="80000"/>
                      </a:schemeClr>
                    </a:solidFill>
                  </a:tcPr>
                </a:tc>
                <a:tc>
                  <a:txBody>
                    <a:bodyPr/>
                    <a:lstStyle/>
                    <a:p>
                      <a:pPr algn="l" fontAlgn="b"/>
                      <a:r>
                        <a:rPr lang="en-US" sz="1100" u="none" strike="noStrike">
                          <a:solidFill>
                            <a:schemeClr val="tx1">
                              <a:lumMod val="85000"/>
                              <a:lumOff val="15000"/>
                            </a:schemeClr>
                          </a:solidFill>
                          <a:effectLst/>
                          <a:latin typeface="Open Sans"/>
                          <a:ea typeface="Open Sans"/>
                          <a:cs typeface="Open Sans"/>
                        </a:rPr>
                        <a:t>Release Vision -  Audit Online</a:t>
                      </a:r>
                      <a:endParaRPr lang="en-US" sz="1100" b="0" i="0" u="none" strike="noStrike">
                        <a:solidFill>
                          <a:schemeClr val="tx1">
                            <a:lumMod val="85000"/>
                            <a:lumOff val="15000"/>
                          </a:schemeClr>
                        </a:solidFill>
                        <a:effectLst/>
                        <a:latin typeface="Open Sans"/>
                        <a:ea typeface="Open Sans"/>
                        <a:cs typeface="Open Sans"/>
                      </a:endParaRP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30</a:t>
                      </a:r>
                    </a:p>
                  </a:txBody>
                  <a:tcPr marL="125783" marR="75470" marT="75470" marB="75470" anchor="ctr">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Lauren</a:t>
                      </a: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3076188913"/>
                  </a:ext>
                </a:extLst>
              </a:tr>
              <a:tr h="392276">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9:15 AM</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9:30 AM</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6:45 PM</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7:00 PM</a:t>
                      </a:r>
                    </a:p>
                  </a:txBody>
                  <a:tcPr marL="125783" marR="75470" marT="75470" marB="75470" anchor="ctr">
                    <a:solidFill>
                      <a:schemeClr val="accent1">
                        <a:lumMod val="20000"/>
                        <a:lumOff val="80000"/>
                      </a:schemeClr>
                    </a:solidFill>
                  </a:tcPr>
                </a:tc>
                <a:tc>
                  <a:txBody>
                    <a:bodyPr/>
                    <a:lstStyle/>
                    <a:p>
                      <a:pPr lvl="0" algn="l">
                        <a:buNone/>
                      </a:pPr>
                      <a:r>
                        <a:rPr lang="en-US" sz="1100" u="none" strike="noStrike">
                          <a:solidFill>
                            <a:schemeClr val="tx1">
                              <a:lumMod val="85000"/>
                              <a:lumOff val="15000"/>
                            </a:schemeClr>
                          </a:solidFill>
                          <a:effectLst/>
                          <a:latin typeface="Open Sans"/>
                          <a:ea typeface="Open Sans"/>
                          <a:cs typeface="Open Sans"/>
                        </a:rPr>
                        <a:t>Release Vision - Diagnostics, DQD</a:t>
                      </a:r>
                      <a:endParaRPr lang="en-US" sz="1100" b="0" i="0" u="none" strike="noStrike">
                        <a:solidFill>
                          <a:schemeClr val="tx1">
                            <a:lumMod val="85000"/>
                            <a:lumOff val="15000"/>
                          </a:schemeClr>
                        </a:solidFill>
                        <a:effectLst/>
                        <a:latin typeface="Open Sans"/>
                        <a:ea typeface="Open Sans"/>
                        <a:cs typeface="Open Sans"/>
                      </a:endParaRP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15</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Ezra/Andrew</a:t>
                      </a:r>
                      <a:endParaRPr lang="en-US" sz="1100">
                        <a:latin typeface="Open Sans"/>
                        <a:ea typeface="Open Sans"/>
                        <a:cs typeface="Open Sans"/>
                      </a:endParaRP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570105777"/>
                  </a:ext>
                </a:extLst>
              </a:tr>
              <a:tr h="330084">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9:30 AM</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9:45 AM</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7:00 PM</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7:15 PM</a:t>
                      </a:r>
                    </a:p>
                  </a:txBody>
                  <a:tcPr marL="125783" marR="75470" marT="75470" marB="75470" anchor="ctr">
                    <a:solidFill>
                      <a:schemeClr val="accent1">
                        <a:lumMod val="20000"/>
                        <a:lumOff val="80000"/>
                      </a:schemeClr>
                    </a:solidFill>
                  </a:tcPr>
                </a:tc>
                <a:tc>
                  <a:txBody>
                    <a:bodyPr/>
                    <a:lstStyle/>
                    <a:p>
                      <a:pPr lvl="0" algn="l">
                        <a:buNone/>
                      </a:pPr>
                      <a:r>
                        <a:rPr lang="en-US" sz="1100" b="0" i="0" u="none" strike="noStrike">
                          <a:solidFill>
                            <a:schemeClr val="tx1">
                              <a:lumMod val="85000"/>
                              <a:lumOff val="15000"/>
                            </a:schemeClr>
                          </a:solidFill>
                          <a:effectLst/>
                          <a:latin typeface="Open Sans"/>
                          <a:ea typeface="Open Sans"/>
                          <a:cs typeface="Open Sans"/>
                        </a:rPr>
                        <a:t>Release Vision – AQMM</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15</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Rose</a:t>
                      </a: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3080332108"/>
                  </a:ext>
                </a:extLst>
              </a:tr>
              <a:tr h="330084">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9:45 AM</a:t>
                      </a:r>
                    </a:p>
                  </a:txBody>
                  <a:tcPr marL="125783" marR="75470" marT="75470" marB="75470" anchor="ctr">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0:00 A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7:15 P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7:30 PM</a:t>
                      </a:r>
                    </a:p>
                  </a:txBody>
                  <a:tcPr marL="125783" marR="75470" marT="75470" marB="75470" anchor="ctr">
                    <a:solidFill>
                      <a:schemeClr val="accent1">
                        <a:lumMod val="20000"/>
                        <a:lumOff val="80000"/>
                      </a:schemeClr>
                    </a:solidFill>
                  </a:tcPr>
                </a:tc>
                <a:tc>
                  <a:txBody>
                    <a:bodyPr/>
                    <a:lstStyle/>
                    <a:p>
                      <a:pPr algn="l" fontAlgn="b"/>
                      <a:r>
                        <a:rPr lang="en-US" sz="1100" b="0" i="0" u="none" strike="noStrike">
                          <a:solidFill>
                            <a:schemeClr val="tx1">
                              <a:lumMod val="85000"/>
                              <a:lumOff val="15000"/>
                            </a:schemeClr>
                          </a:solidFill>
                          <a:effectLst/>
                          <a:latin typeface="Open Sans"/>
                          <a:ea typeface="Open Sans"/>
                          <a:cs typeface="Open Sans"/>
                        </a:rPr>
                        <a:t>Release Vision – EMS, AAT</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15</a:t>
                      </a:r>
                      <a:endParaRPr lang="en-US" sz="1100" b="0" i="0" u="none" strike="noStrike">
                        <a:solidFill>
                          <a:schemeClr val="tx1">
                            <a:lumMod val="85000"/>
                            <a:lumOff val="15000"/>
                          </a:schemeClr>
                        </a:solidFill>
                        <a:effectLst/>
                        <a:latin typeface="Open Sans"/>
                        <a:ea typeface="Open Sans"/>
                        <a:cs typeface="Open Sans"/>
                      </a:endParaRP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noProof="0">
                          <a:solidFill>
                            <a:schemeClr val="tx1">
                              <a:lumMod val="85000"/>
                              <a:lumOff val="15000"/>
                            </a:schemeClr>
                          </a:solidFill>
                          <a:effectLst/>
                          <a:latin typeface="Open Sans"/>
                        </a:rPr>
                        <a:t>Eduardo/Rakesh/Debbie</a:t>
                      </a:r>
                      <a:endParaRPr lang="en-US" sz="1100" b="0" i="0" u="none" strike="noStrike">
                        <a:solidFill>
                          <a:schemeClr val="tx1">
                            <a:lumMod val="85000"/>
                            <a:lumOff val="15000"/>
                          </a:schemeClr>
                        </a:solidFill>
                        <a:effectLst/>
                        <a:latin typeface="Open Sans"/>
                        <a:ea typeface="Open Sans"/>
                        <a:cs typeface="Open Sans"/>
                      </a:endParaRP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3743042171"/>
                  </a:ext>
                </a:extLst>
              </a:tr>
              <a:tr h="389329">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10:00 AM</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10:05 AM</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7:30 PM</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7:35 PM</a:t>
                      </a:r>
                    </a:p>
                  </a:txBody>
                  <a:tcPr marL="125783" marR="75470" marT="75470" marB="75470" anchor="ctr">
                    <a:solidFill>
                      <a:schemeClr val="accent1">
                        <a:lumMod val="20000"/>
                        <a:lumOff val="80000"/>
                      </a:schemeClr>
                    </a:solidFill>
                  </a:tcPr>
                </a:tc>
                <a:tc>
                  <a:txBody>
                    <a:bodyPr/>
                    <a:lstStyle/>
                    <a:p>
                      <a:pPr lvl="0" algn="l">
                        <a:buNone/>
                      </a:pPr>
                      <a:r>
                        <a:rPr lang="en-US" sz="1100" u="none" strike="noStrike">
                          <a:solidFill>
                            <a:schemeClr val="tx1">
                              <a:lumMod val="85000"/>
                              <a:lumOff val="15000"/>
                            </a:schemeClr>
                          </a:solidFill>
                          <a:effectLst/>
                          <a:latin typeface="Open Sans"/>
                          <a:ea typeface="Open Sans"/>
                          <a:cs typeface="Open Sans"/>
                        </a:rPr>
                        <a:t>Release Vision - CMS</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5</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Prathap/Swetha</a:t>
                      </a: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4219529083"/>
                  </a:ext>
                </a:extLst>
              </a:tr>
              <a:tr h="389329">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10:05 AM</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10:15 AM</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7:35 PM</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7:45 PM</a:t>
                      </a:r>
                    </a:p>
                  </a:txBody>
                  <a:tcPr marL="125783" marR="75470" marT="75470" marB="75470" anchor="ctr">
                    <a:solidFill>
                      <a:schemeClr val="accent1">
                        <a:lumMod val="20000"/>
                        <a:lumOff val="80000"/>
                      </a:schemeClr>
                    </a:solidFill>
                  </a:tcPr>
                </a:tc>
                <a:tc>
                  <a:txBody>
                    <a:bodyPr/>
                    <a:lstStyle/>
                    <a:p>
                      <a:pPr lvl="0" algn="l">
                        <a:buNone/>
                      </a:pPr>
                      <a:r>
                        <a:rPr lang="en-US" sz="1100" u="none" strike="noStrike">
                          <a:solidFill>
                            <a:schemeClr val="tx1">
                              <a:lumMod val="85000"/>
                              <a:lumOff val="15000"/>
                            </a:schemeClr>
                          </a:solidFill>
                          <a:effectLst/>
                          <a:latin typeface="Open Sans"/>
                          <a:ea typeface="Open Sans"/>
                          <a:cs typeface="Open Sans"/>
                        </a:rPr>
                        <a:t>Coffee Break</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10</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ALL</a:t>
                      </a: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3739751335"/>
                  </a:ext>
                </a:extLst>
              </a:tr>
              <a:tr h="634044">
                <a:tc>
                  <a:txBody>
                    <a:bodyPr/>
                    <a:lstStyle/>
                    <a:p>
                      <a:pPr algn="ctr" fontAlgn="b"/>
                      <a:r>
                        <a:rPr lang="en-US" sz="1100" u="none" strike="noStrike">
                          <a:solidFill>
                            <a:schemeClr val="tx1">
                              <a:lumMod val="85000"/>
                              <a:lumOff val="15000"/>
                            </a:schemeClr>
                          </a:solidFill>
                          <a:effectLst/>
                          <a:latin typeface="Open Sans"/>
                          <a:ea typeface="Open Sans"/>
                          <a:cs typeface="Open Sans"/>
                        </a:rPr>
                        <a:t>10:15 A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11:00 AM</a:t>
                      </a:r>
                    </a:p>
                  </a:txBody>
                  <a:tcPr marL="125783" marR="75470" marT="75470" marB="75470" anchor="ctr">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7:45 PM</a:t>
                      </a:r>
                    </a:p>
                  </a:txBody>
                  <a:tcPr marL="125783" marR="75470" marT="75470" marB="75470" anchor="ctr">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8:30 PM</a:t>
                      </a:r>
                    </a:p>
                  </a:txBody>
                  <a:tcPr marL="125783" marR="75470" marT="75470" marB="75470" anchor="ctr">
                    <a:solidFill>
                      <a:schemeClr val="accent1">
                        <a:lumMod val="20000"/>
                        <a:lumOff val="80000"/>
                      </a:schemeClr>
                    </a:solidFill>
                  </a:tcPr>
                </a:tc>
                <a:tc>
                  <a:txBody>
                    <a:bodyPr/>
                    <a:lstStyle/>
                    <a:p>
                      <a:pPr algn="l" fontAlgn="b"/>
                      <a:r>
                        <a:rPr lang="en-US" sz="1100" u="none" strike="noStrike">
                          <a:solidFill>
                            <a:schemeClr val="tx1">
                              <a:lumMod val="85000"/>
                              <a:lumOff val="15000"/>
                            </a:schemeClr>
                          </a:solidFill>
                          <a:effectLst/>
                          <a:latin typeface="Open Sans"/>
                          <a:ea typeface="Open Sans"/>
                          <a:cs typeface="Open Sans"/>
                        </a:rPr>
                        <a:t>Architecture Context </a:t>
                      </a:r>
                      <a:endParaRPr lang="en-US" sz="1100" b="0" i="0" u="none" strike="noStrike">
                        <a:solidFill>
                          <a:schemeClr val="tx1">
                            <a:lumMod val="85000"/>
                            <a:lumOff val="15000"/>
                          </a:schemeClr>
                        </a:solidFill>
                        <a:effectLst/>
                        <a:latin typeface="Open Sans"/>
                        <a:ea typeface="Open Sans"/>
                        <a:cs typeface="Open Sans"/>
                      </a:endParaRP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45</a:t>
                      </a:r>
                    </a:p>
                  </a:txBody>
                  <a:tcPr marL="125783" marR="75470" marT="75470" marB="75470" anchor="ctr">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Janine/Jignesh/Anubha/</a:t>
                      </a:r>
                      <a:endParaRPr lang="en-US"/>
                    </a:p>
                    <a:p>
                      <a:pPr algn="ctr" fontAlgn="b"/>
                      <a:r>
                        <a:rPr lang="en-US" sz="1100" b="0" i="0" u="none" strike="noStrike">
                          <a:solidFill>
                            <a:schemeClr val="tx1">
                              <a:lumMod val="85000"/>
                              <a:lumOff val="15000"/>
                            </a:schemeClr>
                          </a:solidFill>
                          <a:effectLst/>
                          <a:latin typeface="Open Sans"/>
                          <a:ea typeface="Open Sans"/>
                          <a:cs typeface="Open Sans"/>
                        </a:rPr>
                        <a:t>Swetha/Karthik</a:t>
                      </a:r>
                      <a:endParaRPr lang="en-US">
                        <a:ea typeface="Open Sans"/>
                        <a:cs typeface="Open Sans"/>
                      </a:endParaRP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3653536053"/>
                  </a:ext>
                </a:extLst>
              </a:tr>
              <a:tr h="330084">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11:00 AM</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11:30 AM</a:t>
                      </a:r>
                    </a:p>
                  </a:txBody>
                  <a:tcPr marL="125783" marR="75470" marT="75470" marB="75470" anchor="ctr">
                    <a:solidFill>
                      <a:schemeClr val="accent1">
                        <a:lumMod val="20000"/>
                        <a:lumOff val="80000"/>
                      </a:schemeClr>
                    </a:solidFill>
                  </a:tcPr>
                </a:tc>
                <a:tc>
                  <a:txBody>
                    <a:bodyPr/>
                    <a:lstStyle/>
                    <a:p>
                      <a:pPr lvl="0" algn="ctr">
                        <a:buNone/>
                      </a:pPr>
                      <a:r>
                        <a:rPr lang="en-US" sz="1100" u="none" strike="noStrike">
                          <a:solidFill>
                            <a:schemeClr val="tx1">
                              <a:lumMod val="85000"/>
                              <a:lumOff val="15000"/>
                            </a:schemeClr>
                          </a:solidFill>
                          <a:effectLst/>
                          <a:latin typeface="Open Sans"/>
                          <a:ea typeface="Open Sans"/>
                          <a:cs typeface="Open Sans"/>
                        </a:rPr>
                        <a:t>8:30 PM</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9:00 PM</a:t>
                      </a:r>
                    </a:p>
                  </a:txBody>
                  <a:tcPr marL="125783" marR="75470" marT="75470" marB="75470" anchor="ctr">
                    <a:solidFill>
                      <a:schemeClr val="accent1">
                        <a:lumMod val="20000"/>
                        <a:lumOff val="80000"/>
                      </a:schemeClr>
                    </a:solidFill>
                  </a:tcPr>
                </a:tc>
                <a:tc>
                  <a:txBody>
                    <a:bodyPr/>
                    <a:lstStyle/>
                    <a:p>
                      <a:pPr lvl="0" algn="l">
                        <a:buNone/>
                      </a:pPr>
                      <a:r>
                        <a:rPr lang="en-US" sz="1100" u="none" strike="noStrike">
                          <a:solidFill>
                            <a:schemeClr val="tx1">
                              <a:lumMod val="85000"/>
                              <a:lumOff val="15000"/>
                            </a:schemeClr>
                          </a:solidFill>
                          <a:effectLst/>
                          <a:latin typeface="Open Sans"/>
                          <a:ea typeface="Open Sans"/>
                          <a:cs typeface="Open Sans"/>
                        </a:rPr>
                        <a:t>DevOps Vision</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30</a:t>
                      </a:r>
                    </a:p>
                  </a:txBody>
                  <a:tcPr marL="125783" marR="75470" marT="75470" marB="75470" anchor="ctr">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Anindya/Gajendra</a:t>
                      </a: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324652378"/>
                  </a:ext>
                </a:extLst>
              </a:tr>
              <a:tr h="357606">
                <a:tc>
                  <a:txBody>
                    <a:bodyPr/>
                    <a:lstStyle/>
                    <a:p>
                      <a:pPr algn="ctr" fontAlgn="b"/>
                      <a:r>
                        <a:rPr lang="en-US" sz="1100" u="none" strike="noStrike">
                          <a:solidFill>
                            <a:schemeClr val="tx1">
                              <a:lumMod val="85000"/>
                              <a:lumOff val="15000"/>
                            </a:schemeClr>
                          </a:solidFill>
                          <a:effectLst/>
                          <a:latin typeface="Open Sans"/>
                          <a:ea typeface="Open Sans"/>
                          <a:cs typeface="Open Sans"/>
                        </a:rPr>
                        <a:t>11:30 A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1:00 PM</a:t>
                      </a:r>
                    </a:p>
                  </a:txBody>
                  <a:tcPr marL="125783" marR="75470" marT="75470" marB="75470" anchor="ctr">
                    <a:solidFill>
                      <a:schemeClr val="accent1">
                        <a:lumMod val="20000"/>
                        <a:lumOff val="80000"/>
                      </a:schemeClr>
                    </a:solidFill>
                  </a:tcPr>
                </a:tc>
                <a:tc>
                  <a:txBody>
                    <a:bodyPr/>
                    <a:lstStyle/>
                    <a:p>
                      <a:pPr algn="ctr" fontAlgn="b"/>
                      <a:r>
                        <a:rPr lang="en-US" sz="1100" u="none" strike="noStrike">
                          <a:solidFill>
                            <a:schemeClr val="tx1">
                              <a:lumMod val="85000"/>
                              <a:lumOff val="15000"/>
                            </a:schemeClr>
                          </a:solidFill>
                          <a:effectLst/>
                          <a:latin typeface="Open Sans"/>
                          <a:ea typeface="Open Sans"/>
                          <a:cs typeface="Open Sans"/>
                        </a:rPr>
                        <a:t>9:00 PM</a:t>
                      </a:r>
                    </a:p>
                  </a:txBody>
                  <a:tcPr marL="125783" marR="75470" marT="75470" marB="75470" anchor="ctr">
                    <a:solidFill>
                      <a:schemeClr val="accent1">
                        <a:lumMod val="20000"/>
                        <a:lumOff val="80000"/>
                      </a:schemeClr>
                    </a:solidFill>
                  </a:tcPr>
                </a:tc>
                <a:tc>
                  <a:txBody>
                    <a:bodyPr/>
                    <a:lstStyle/>
                    <a:p>
                      <a:pPr algn="ctr" fontAlgn="b"/>
                      <a:endParaRPr lang="en-US" sz="1100" b="0" i="0" u="none" strike="noStrike">
                        <a:solidFill>
                          <a:schemeClr val="tx1">
                            <a:lumMod val="85000"/>
                            <a:lumOff val="15000"/>
                          </a:schemeClr>
                        </a:solidFill>
                        <a:effectLst/>
                        <a:latin typeface="Open Sans"/>
                        <a:ea typeface="Open Sans" panose="020B0606030504020204" pitchFamily="34" charset="0"/>
                        <a:cs typeface="Open Sans" panose="020B0606030504020204" pitchFamily="34" charset="0"/>
                      </a:endParaRPr>
                    </a:p>
                  </a:txBody>
                  <a:tcPr marL="125783" marR="75470" marT="75470" marB="75470" anchor="ctr">
                    <a:solidFill>
                      <a:schemeClr val="accent1">
                        <a:lumMod val="20000"/>
                        <a:lumOff val="80000"/>
                      </a:schemeClr>
                    </a:solidFill>
                  </a:tcPr>
                </a:tc>
                <a:tc>
                  <a:txBody>
                    <a:bodyPr/>
                    <a:lstStyle/>
                    <a:p>
                      <a:pPr algn="l" fontAlgn="b"/>
                      <a:r>
                        <a:rPr lang="en-US" sz="1100" u="none" strike="noStrike">
                          <a:solidFill>
                            <a:schemeClr val="tx1">
                              <a:lumMod val="85000"/>
                              <a:lumOff val="15000"/>
                            </a:schemeClr>
                          </a:solidFill>
                          <a:effectLst/>
                          <a:latin typeface="Open Sans"/>
                          <a:ea typeface="Open Sans"/>
                          <a:cs typeface="Open Sans"/>
                        </a:rPr>
                        <a:t>Break for US/USI Leaves for the Day</a:t>
                      </a:r>
                      <a:endParaRPr lang="en-US" sz="1100" b="0" i="0" u="none" strike="noStrike">
                        <a:solidFill>
                          <a:schemeClr val="tx1">
                            <a:lumMod val="85000"/>
                            <a:lumOff val="15000"/>
                          </a:schemeClr>
                        </a:solidFill>
                        <a:effectLst/>
                        <a:latin typeface="Open Sans"/>
                        <a:ea typeface="Open Sans"/>
                        <a:cs typeface="Open Sans"/>
                      </a:endParaRPr>
                    </a:p>
                  </a:txBody>
                  <a:tcPr marL="125783" marR="75470" marT="75470" marB="75470" anchor="ctr">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90</a:t>
                      </a:r>
                    </a:p>
                  </a:txBody>
                  <a:tcPr marL="125783" marR="75470" marT="75470" marB="75470" anchor="ctr">
                    <a:solidFill>
                      <a:schemeClr val="accent1">
                        <a:lumMod val="20000"/>
                        <a:lumOff val="80000"/>
                      </a:schemeClr>
                    </a:solidFill>
                  </a:tcPr>
                </a:tc>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2928630097"/>
                  </a:ext>
                </a:extLst>
              </a:tr>
              <a:tr h="330084">
                <a:tc>
                  <a:txBody>
                    <a:bodyPr/>
                    <a:lstStyle/>
                    <a:p>
                      <a:pPr algn="ctr" fontAlgn="b"/>
                      <a:r>
                        <a:rPr lang="en-US" sz="1100" u="none" strike="noStrike">
                          <a:solidFill>
                            <a:schemeClr val="tx1">
                              <a:lumMod val="85000"/>
                              <a:lumOff val="15000"/>
                            </a:schemeClr>
                          </a:solidFill>
                          <a:effectLst/>
                          <a:latin typeface="Open Sans"/>
                          <a:ea typeface="Open Sans"/>
                          <a:cs typeface="Open Sans"/>
                        </a:rPr>
                        <a:t>1:00 PM</a:t>
                      </a:r>
                    </a:p>
                  </a:txBody>
                  <a:tcPr marL="125783" marR="75470" marT="75470" marB="75470" anchor="ctr">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5:00 PM</a:t>
                      </a:r>
                    </a:p>
                  </a:txBody>
                  <a:tcPr marL="125783" marR="75470" marT="75470" marB="75470" anchor="ctr">
                    <a:solidFill>
                      <a:schemeClr val="accent1">
                        <a:lumMod val="20000"/>
                        <a:lumOff val="80000"/>
                      </a:schemeClr>
                    </a:solidFill>
                  </a:tcPr>
                </a:tc>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ctr">
                    <a:solidFill>
                      <a:schemeClr val="accent1">
                        <a:lumMod val="20000"/>
                        <a:lumOff val="80000"/>
                      </a:schemeClr>
                    </a:solidFill>
                  </a:tcPr>
                </a:tc>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ctr">
                    <a:solidFill>
                      <a:schemeClr val="accent1">
                        <a:lumMod val="20000"/>
                        <a:lumOff val="80000"/>
                      </a:schemeClr>
                    </a:solidFill>
                  </a:tcPr>
                </a:tc>
                <a:tc>
                  <a:txBody>
                    <a:bodyPr/>
                    <a:lstStyle/>
                    <a:p>
                      <a:pPr algn="l" fontAlgn="b"/>
                      <a:r>
                        <a:rPr lang="en-US" sz="1100" u="none" strike="noStrike">
                          <a:solidFill>
                            <a:schemeClr val="tx1">
                              <a:lumMod val="85000"/>
                              <a:lumOff val="15000"/>
                            </a:schemeClr>
                          </a:solidFill>
                          <a:effectLst/>
                          <a:latin typeface="Open Sans"/>
                          <a:ea typeface="Open Sans"/>
                          <a:cs typeface="Open Sans"/>
                        </a:rPr>
                        <a:t>Team Breakouts - Day 1 for US  </a:t>
                      </a:r>
                      <a:endParaRPr lang="en-US" sz="1100" b="0" i="0" u="none" strike="noStrike">
                        <a:solidFill>
                          <a:schemeClr val="tx1">
                            <a:lumMod val="85000"/>
                            <a:lumOff val="15000"/>
                          </a:schemeClr>
                        </a:solidFill>
                        <a:effectLst/>
                        <a:latin typeface="Open Sans"/>
                        <a:ea typeface="Open Sans"/>
                        <a:cs typeface="Open Sans"/>
                      </a:endParaRPr>
                    </a:p>
                  </a:txBody>
                  <a:tcPr marL="125783" marR="75470" marT="75470" marB="75470" anchor="ctr">
                    <a:solidFill>
                      <a:schemeClr val="accent1">
                        <a:lumMod val="20000"/>
                        <a:lumOff val="80000"/>
                      </a:schemeClr>
                    </a:solidFill>
                  </a:tcPr>
                </a:tc>
                <a:tc>
                  <a:txBody>
                    <a:bodyPr/>
                    <a:lstStyle/>
                    <a:p>
                      <a:pPr algn="ctr"/>
                      <a:r>
                        <a:rPr lang="en-US" sz="1100">
                          <a:latin typeface="Open Sans"/>
                          <a:ea typeface="Open Sans"/>
                          <a:cs typeface="Open Sans"/>
                        </a:rPr>
                        <a:t>240</a:t>
                      </a:r>
                    </a:p>
                  </a:txBody>
                  <a:tcPr marL="125783" marR="75470" marT="75470" marB="75470" anchor="ctr">
                    <a:solidFill>
                      <a:schemeClr val="accent1">
                        <a:lumMod val="20000"/>
                        <a:lumOff val="80000"/>
                      </a:schemeClr>
                    </a:solidFill>
                  </a:tcPr>
                </a:tc>
                <a:tc>
                  <a:txBody>
                    <a:bodyPr/>
                    <a:lstStyle/>
                    <a:p>
                      <a:pPr algn="ctr"/>
                      <a:r>
                        <a:rPr lang="en-US" sz="1100">
                          <a:latin typeface="Open Sans"/>
                          <a:ea typeface="Open Sans"/>
                          <a:cs typeface="Open Sans"/>
                        </a:rPr>
                        <a:t>Teams</a:t>
                      </a:r>
                    </a:p>
                  </a:txBody>
                  <a:tcPr marL="125783" marR="75470" marT="75470" marB="75470" anchor="ctr">
                    <a:solidFill>
                      <a:schemeClr val="accent1">
                        <a:lumMod val="20000"/>
                        <a:lumOff val="80000"/>
                      </a:schemeClr>
                    </a:solidFill>
                  </a:tcPr>
                </a:tc>
                <a:extLst>
                  <a:ext uri="{0D108BD9-81ED-4DB2-BD59-A6C34878D82A}">
                    <a16:rowId xmlns:a16="http://schemas.microsoft.com/office/drawing/2014/main" val="449790435"/>
                  </a:ext>
                </a:extLst>
              </a:tr>
            </a:tbl>
          </a:graphicData>
        </a:graphic>
      </p:graphicFrame>
      <p:sp>
        <p:nvSpPr>
          <p:cNvPr id="698369" name="Title 1"/>
          <p:cNvSpPr>
            <a:spLocks noGrp="1"/>
          </p:cNvSpPr>
          <p:nvPr>
            <p:ph type="title"/>
          </p:nvPr>
        </p:nvSpPr>
        <p:spPr>
          <a:xfrm>
            <a:off x="381413" y="171442"/>
            <a:ext cx="11252200" cy="334102"/>
          </a:xfrm>
        </p:spPr>
        <p:txBody>
          <a:bodyPr vert="horz" lIns="0" tIns="0" rIns="0" bIns="0" rtlCol="0" anchor="ctr" anchorCtr="0">
            <a:noAutofit/>
          </a:bodyPr>
          <a:lstStyle/>
          <a:p>
            <a:r>
              <a:rPr lang="en-US" sz="1800" b="1">
                <a:latin typeface="Open Sans"/>
                <a:ea typeface="Open Sans"/>
                <a:cs typeface="Open Sans"/>
              </a:rPr>
              <a:t>Agenda Day 1 – </a:t>
            </a:r>
            <a:r>
              <a:rPr lang="en-US" sz="1800" b="1">
                <a:solidFill>
                  <a:srgbClr val="000000"/>
                </a:solidFill>
                <a:latin typeface="Open Sans"/>
                <a:ea typeface="Open Sans"/>
                <a:cs typeface="Open Sans"/>
              </a:rPr>
              <a:t>July 13, 2021</a:t>
            </a:r>
          </a:p>
        </p:txBody>
      </p:sp>
    </p:spTree>
    <p:extLst>
      <p:ext uri="{BB962C8B-B14F-4D97-AF65-F5344CB8AC3E}">
        <p14:creationId xmlns:p14="http://schemas.microsoft.com/office/powerpoint/2010/main" val="136908114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BFA5EA-56E0-451D-8744-A431A8B9C40E}"/>
              </a:ext>
            </a:extLst>
          </p:cNvPr>
          <p:cNvSpPr txBox="1"/>
          <p:nvPr/>
        </p:nvSpPr>
        <p:spPr>
          <a:xfrm>
            <a:off x="557643" y="1982878"/>
            <a:ext cx="10562302" cy="4231928"/>
          </a:xfrm>
          <a:prstGeom prst="rect">
            <a:avLst/>
          </a:prstGeom>
          <a:noFill/>
        </p:spPr>
        <p:txBody>
          <a:bodyPr wrap="square" lIns="0" tIns="0" rIns="0" bIns="0" rtlCol="0" anchor="t">
            <a:spAutoFit/>
          </a:bodyPr>
          <a:lstStyle/>
          <a:p>
            <a:pPr>
              <a:spcBef>
                <a:spcPts val="600"/>
              </a:spcBef>
              <a:buSzPct val="100000"/>
              <a:defRPr/>
            </a:pPr>
            <a:r>
              <a:rPr lang="en-US" sz="1500" b="1">
                <a:ea typeface="Open Sans Light" panose="020B0306030504020204" pitchFamily="34" charset="0"/>
                <a:cs typeface="Open Sans Light" panose="020B0306030504020204" pitchFamily="34" charset="0"/>
              </a:rPr>
              <a:t>- External inspection database</a:t>
            </a:r>
          </a:p>
          <a:p>
            <a:pPr>
              <a:spcBef>
                <a:spcPts val="600"/>
              </a:spcBef>
              <a:buSzPct val="100000"/>
              <a:defRPr/>
            </a:pPr>
            <a:r>
              <a:rPr lang="en-US" sz="1500">
                <a:ea typeface="Open Sans Light" panose="020B0306030504020204" pitchFamily="34" charset="0"/>
                <a:cs typeface="Open Sans Light" panose="020B0306030504020204" pitchFamily="34" charset="0"/>
              </a:rPr>
              <a:t>Building a submission flow for the inspections for the global team to review and take appropriate action.</a:t>
            </a:r>
          </a:p>
          <a:p>
            <a:pPr>
              <a:spcBef>
                <a:spcPts val="600"/>
              </a:spcBef>
              <a:buSzPct val="100000"/>
              <a:defRPr/>
            </a:pPr>
            <a:endParaRPr lang="en-US" sz="1500" b="1">
              <a:ea typeface="Open Sans Light" panose="020B0306030504020204" pitchFamily="34" charset="0"/>
              <a:cs typeface="Open Sans Light" panose="020B0306030504020204" pitchFamily="34" charset="0"/>
            </a:endParaRPr>
          </a:p>
          <a:p>
            <a:pPr>
              <a:spcBef>
                <a:spcPts val="600"/>
              </a:spcBef>
              <a:buSzPct val="100000"/>
              <a:defRPr/>
            </a:pPr>
            <a:r>
              <a:rPr lang="en-US" sz="1500" b="1">
                <a:ea typeface="Open Sans Light" panose="020B0306030504020204" pitchFamily="34" charset="0"/>
                <a:cs typeface="Open Sans Light" panose="020B0306030504020204" pitchFamily="34" charset="0"/>
              </a:rPr>
              <a:t>- Engagement Monitoring</a:t>
            </a:r>
          </a:p>
          <a:p>
            <a:pPr>
              <a:spcBef>
                <a:spcPts val="600"/>
              </a:spcBef>
              <a:buSzPct val="100000"/>
              <a:defRPr/>
            </a:pPr>
            <a:r>
              <a:rPr lang="en-US" sz="1500">
                <a:ea typeface="Open Sans Light" panose="020B0306030504020204" pitchFamily="34" charset="0"/>
                <a:cs typeface="Open Sans Light" panose="020B0306030504020204" pitchFamily="34" charset="0"/>
              </a:rPr>
              <a:t>Creation and publishing Other assurance review (OAR) questionnaires</a:t>
            </a:r>
          </a:p>
          <a:p>
            <a:pPr>
              <a:spcBef>
                <a:spcPts val="600"/>
              </a:spcBef>
              <a:buSzPct val="100000"/>
              <a:defRPr/>
            </a:pPr>
            <a:r>
              <a:rPr lang="en-US" sz="1500">
                <a:ea typeface="Open Sans Light" panose="020B0306030504020204" pitchFamily="34" charset="0"/>
                <a:cs typeface="Open Sans Light" panose="020B0306030504020204" pitchFamily="34" charset="0"/>
              </a:rPr>
              <a:t>Initiation, scoping and result modules of OAR.</a:t>
            </a:r>
          </a:p>
          <a:p>
            <a:pPr>
              <a:spcBef>
                <a:spcPts val="600"/>
              </a:spcBef>
              <a:buSzPct val="100000"/>
              <a:defRPr/>
            </a:pPr>
            <a:r>
              <a:rPr lang="en-US" sz="1500">
                <a:ea typeface="Open Sans Light" panose="020B0306030504020204" pitchFamily="34" charset="0"/>
                <a:cs typeface="Open Sans Light" panose="020B0306030504020204" pitchFamily="34" charset="0"/>
              </a:rPr>
              <a:t>Reorder the authored content for IFER.</a:t>
            </a:r>
          </a:p>
          <a:p>
            <a:pPr>
              <a:spcBef>
                <a:spcPts val="600"/>
              </a:spcBef>
              <a:buSzPct val="100000"/>
              <a:defRPr/>
            </a:pPr>
            <a:r>
              <a:rPr lang="en-US" sz="1500">
                <a:ea typeface="Open Sans Light" panose="020B0306030504020204" pitchFamily="34" charset="0"/>
                <a:cs typeface="Open Sans Light" panose="020B0306030504020204" pitchFamily="34" charset="0"/>
              </a:rPr>
              <a:t>Introducing a new lifecycle for the DWW health checks.</a:t>
            </a:r>
          </a:p>
          <a:p>
            <a:pPr>
              <a:spcBef>
                <a:spcPts val="600"/>
              </a:spcBef>
              <a:buSzPct val="100000"/>
              <a:defRPr/>
            </a:pPr>
            <a:r>
              <a:rPr lang="en-US" sz="1500">
                <a:ea typeface="Open Sans Light" panose="020B0306030504020204" pitchFamily="34" charset="0"/>
                <a:cs typeface="Open Sans Light" panose="020B0306030504020204" pitchFamily="34" charset="0"/>
              </a:rPr>
              <a:t>Bulk import of engagement profiles.</a:t>
            </a:r>
          </a:p>
          <a:p>
            <a:pPr>
              <a:spcBef>
                <a:spcPts val="600"/>
              </a:spcBef>
              <a:buSzPct val="100000"/>
              <a:defRPr/>
            </a:pPr>
            <a:r>
              <a:rPr lang="en-US" sz="1500">
                <a:ea typeface="Open Sans Light" panose="020B0306030504020204" pitchFamily="34" charset="0"/>
                <a:cs typeface="Open Sans Light" panose="020B0306030504020204" pitchFamily="34" charset="0"/>
              </a:rPr>
              <a:t>Data archival and data purge for engagement monitoring</a:t>
            </a:r>
          </a:p>
          <a:p>
            <a:pPr>
              <a:spcBef>
                <a:spcPts val="600"/>
              </a:spcBef>
              <a:buSzPct val="100000"/>
              <a:defRPr/>
            </a:pPr>
            <a:endParaRPr lang="en-US" sz="1500">
              <a:ea typeface="Open Sans Light" panose="020B0306030504020204" pitchFamily="34" charset="0"/>
              <a:cs typeface="Open Sans Light" panose="020B0306030504020204" pitchFamily="34" charset="0"/>
            </a:endParaRPr>
          </a:p>
          <a:p>
            <a:pPr>
              <a:spcBef>
                <a:spcPts val="600"/>
              </a:spcBef>
              <a:buSzPct val="100000"/>
              <a:defRPr/>
            </a:pPr>
            <a:r>
              <a:rPr lang="en-US" sz="1500" b="1">
                <a:ea typeface="Open Sans Light" panose="020B0306030504020204" pitchFamily="34" charset="0"/>
                <a:cs typeface="Open Sans Light" panose="020B0306030504020204" pitchFamily="34" charset="0"/>
              </a:rPr>
              <a:t>- Other application enhancements</a:t>
            </a:r>
          </a:p>
          <a:p>
            <a:pPr>
              <a:spcBef>
                <a:spcPts val="600"/>
              </a:spcBef>
              <a:buSzPct val="100000"/>
              <a:defRPr/>
            </a:pPr>
            <a:r>
              <a:rPr lang="en-US" sz="1500">
                <a:ea typeface="Open Sans Light" panose="020B0306030504020204" pitchFamily="34" charset="0"/>
                <a:cs typeface="Open Sans Light" panose="020B0306030504020204" pitchFamily="34" charset="0"/>
              </a:rPr>
              <a:t>AQI – Adding validations to prevent invalid data entry.</a:t>
            </a:r>
          </a:p>
          <a:p>
            <a:pPr>
              <a:spcBef>
                <a:spcPts val="600"/>
              </a:spcBef>
              <a:buSzPct val="100000"/>
              <a:defRPr/>
            </a:pPr>
            <a:r>
              <a:rPr lang="en-US" sz="1500">
                <a:ea typeface="Open Sans Light" panose="020B0306030504020204" pitchFamily="34" charset="0"/>
                <a:cs typeface="Open Sans Light" panose="020B0306030504020204" pitchFamily="34" charset="0"/>
              </a:rPr>
              <a:t>Production defect fixes</a:t>
            </a:r>
          </a:p>
        </p:txBody>
      </p:sp>
      <p:sp>
        <p:nvSpPr>
          <p:cNvPr id="3" name="TextBox 2">
            <a:extLst>
              <a:ext uri="{FF2B5EF4-FFF2-40B4-BE49-F238E27FC236}">
                <a16:creationId xmlns:a16="http://schemas.microsoft.com/office/drawing/2014/main" id="{AF8A5C9C-679A-4CCF-BB52-551EEFF71513}"/>
              </a:ext>
            </a:extLst>
          </p:cNvPr>
          <p:cNvSpPr txBox="1"/>
          <p:nvPr/>
        </p:nvSpPr>
        <p:spPr>
          <a:xfrm>
            <a:off x="273370" y="191501"/>
            <a:ext cx="5372817" cy="307777"/>
          </a:xfrm>
          <a:prstGeom prst="rect">
            <a:avLst/>
          </a:prstGeom>
          <a:noFill/>
        </p:spPr>
        <p:txBody>
          <a:bodyPr wrap="none" lIns="0" tIns="0" rIns="0" bIns="0" rtlCol="0">
            <a:spAutoFit/>
          </a:bodyPr>
          <a:lstStyle/>
          <a:p>
            <a:pPr>
              <a:spcBef>
                <a:spcPts val="600"/>
              </a:spcBef>
              <a:buSzPct val="100000"/>
            </a:pPr>
            <a:r>
              <a:rPr lang="en-US" sz="2000">
                <a:ea typeface="Open Sans Semibold" panose="020B0706030804020204" pitchFamily="34" charset="0"/>
                <a:cs typeface="Open Sans Semibold" panose="020B0706030804020204" pitchFamily="34" charset="0"/>
              </a:rPr>
              <a:t>AUDIT QUALITY MONITORING AND MEASUREMENT</a:t>
            </a:r>
          </a:p>
        </p:txBody>
      </p:sp>
      <p:sp>
        <p:nvSpPr>
          <p:cNvPr id="32" name="TextBox 31">
            <a:extLst>
              <a:ext uri="{FF2B5EF4-FFF2-40B4-BE49-F238E27FC236}">
                <a16:creationId xmlns:a16="http://schemas.microsoft.com/office/drawing/2014/main" id="{EF450DAD-1A03-4ADA-A6B6-85242294E514}"/>
              </a:ext>
            </a:extLst>
          </p:cNvPr>
          <p:cNvSpPr txBox="1"/>
          <p:nvPr/>
        </p:nvSpPr>
        <p:spPr>
          <a:xfrm>
            <a:off x="1130301" y="1289421"/>
            <a:ext cx="4860595" cy="307777"/>
          </a:xfrm>
          <a:prstGeom prst="rect">
            <a:avLst/>
          </a:prstGeom>
          <a:noFill/>
        </p:spPr>
        <p:txBody>
          <a:bodyPr wrap="square" lIns="0" tIns="0" rIns="0" bIns="0" rtlCol="0">
            <a:spAutoFit/>
          </a:bodyPr>
          <a:lstStyle/>
          <a:p>
            <a:pPr lvl="0" defTabSz="1219170">
              <a:spcBef>
                <a:spcPts val="600"/>
              </a:spcBef>
              <a:buSzPct val="100000"/>
              <a:defRPr/>
            </a:pPr>
            <a:r>
              <a:rPr lang="en-US" sz="2000" b="1">
                <a:ea typeface="Open Sans" panose="020B0606030504020204" pitchFamily="34" charset="0"/>
                <a:cs typeface="Open Sans" panose="020B0606030504020204" pitchFamily="34" charset="0"/>
              </a:rPr>
              <a:t>High level release overview </a:t>
            </a:r>
            <a:r>
              <a:rPr lang="en-US" sz="2000" b="1">
                <a:solidFill>
                  <a:schemeClr val="accent6"/>
                </a:solidFill>
                <a:ea typeface="Open Sans" panose="020B0606030504020204" pitchFamily="34" charset="0"/>
                <a:cs typeface="Open Sans" panose="020B0606030504020204" pitchFamily="34" charset="0"/>
              </a:rPr>
              <a:t>(Falcon Heavy)</a:t>
            </a:r>
          </a:p>
        </p:txBody>
      </p:sp>
      <p:sp>
        <p:nvSpPr>
          <p:cNvPr id="37" name="TextBox 36">
            <a:extLst>
              <a:ext uri="{FF2B5EF4-FFF2-40B4-BE49-F238E27FC236}">
                <a16:creationId xmlns:a16="http://schemas.microsoft.com/office/drawing/2014/main" id="{AF8A5C9C-679A-4CCF-BB52-551EEFF71513}"/>
              </a:ext>
            </a:extLst>
          </p:cNvPr>
          <p:cNvSpPr txBox="1"/>
          <p:nvPr/>
        </p:nvSpPr>
        <p:spPr>
          <a:xfrm>
            <a:off x="273370" y="490345"/>
            <a:ext cx="3094117" cy="307777"/>
          </a:xfrm>
          <a:prstGeom prst="rect">
            <a:avLst/>
          </a:prstGeom>
          <a:noFill/>
        </p:spPr>
        <p:txBody>
          <a:bodyPr wrap="none" lIns="0" tIns="0" rIns="0" bIns="0" rtlCol="0">
            <a:spAutoFit/>
          </a:bodyPr>
          <a:lstStyle/>
          <a:p>
            <a:pPr>
              <a:spcBef>
                <a:spcPts val="600"/>
              </a:spcBef>
              <a:buSzPct val="100000"/>
            </a:pPr>
            <a:r>
              <a:rPr lang="en-US" sz="2000">
                <a:ea typeface="Open Sans Semibold" panose="020B0706030804020204" pitchFamily="34" charset="0"/>
                <a:cs typeface="Open Sans Semibold" panose="020B0706030804020204" pitchFamily="34" charset="0"/>
              </a:rPr>
              <a:t>Audit Quality Plan application</a:t>
            </a:r>
          </a:p>
        </p:txBody>
      </p:sp>
      <p:grpSp>
        <p:nvGrpSpPr>
          <p:cNvPr id="8" name="Group 437">
            <a:extLst>
              <a:ext uri="{FF2B5EF4-FFF2-40B4-BE49-F238E27FC236}">
                <a16:creationId xmlns:a16="http://schemas.microsoft.com/office/drawing/2014/main" id="{836CA727-323C-4BD2-B2A5-552F7AB2FDCB}"/>
              </a:ext>
            </a:extLst>
          </p:cNvPr>
          <p:cNvGrpSpPr>
            <a:grpSpLocks noChangeAspect="1"/>
          </p:cNvGrpSpPr>
          <p:nvPr/>
        </p:nvGrpSpPr>
        <p:grpSpPr bwMode="auto">
          <a:xfrm>
            <a:off x="214740" y="1107102"/>
            <a:ext cx="685806" cy="685807"/>
            <a:chOff x="3130" y="1561"/>
            <a:chExt cx="340" cy="340"/>
          </a:xfrm>
          <a:solidFill>
            <a:srgbClr val="86BC25"/>
          </a:solidFill>
        </p:grpSpPr>
        <p:sp>
          <p:nvSpPr>
            <p:cNvPr id="9" name="Freeform 438">
              <a:extLst>
                <a:ext uri="{FF2B5EF4-FFF2-40B4-BE49-F238E27FC236}">
                  <a16:creationId xmlns:a16="http://schemas.microsoft.com/office/drawing/2014/main" id="{511D82C6-3BED-44D7-BB17-15437AD33C92}"/>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439">
              <a:extLst>
                <a:ext uri="{FF2B5EF4-FFF2-40B4-BE49-F238E27FC236}">
                  <a16:creationId xmlns:a16="http://schemas.microsoft.com/office/drawing/2014/main" id="{6E69B834-15B9-436D-96FE-CD780597E71B}"/>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440">
              <a:extLst>
                <a:ext uri="{FF2B5EF4-FFF2-40B4-BE49-F238E27FC236}">
                  <a16:creationId xmlns:a16="http://schemas.microsoft.com/office/drawing/2014/main" id="{BEA0AE10-A505-429C-8B0B-0131076649FF}"/>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441">
              <a:extLst>
                <a:ext uri="{FF2B5EF4-FFF2-40B4-BE49-F238E27FC236}">
                  <a16:creationId xmlns:a16="http://schemas.microsoft.com/office/drawing/2014/main" id="{A9A06458-8616-4DCB-8D84-359861180661}"/>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442">
              <a:extLst>
                <a:ext uri="{FF2B5EF4-FFF2-40B4-BE49-F238E27FC236}">
                  <a16:creationId xmlns:a16="http://schemas.microsoft.com/office/drawing/2014/main" id="{FFB6B883-E215-4061-AF09-E6AF2ABE5AF8}"/>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443">
              <a:extLst>
                <a:ext uri="{FF2B5EF4-FFF2-40B4-BE49-F238E27FC236}">
                  <a16:creationId xmlns:a16="http://schemas.microsoft.com/office/drawing/2014/main" id="{B2276BEC-62D1-48C4-8944-5104D38C8088}"/>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444">
              <a:extLst>
                <a:ext uri="{FF2B5EF4-FFF2-40B4-BE49-F238E27FC236}">
                  <a16:creationId xmlns:a16="http://schemas.microsoft.com/office/drawing/2014/main" id="{BEC45A37-93EB-4878-92FE-F99DC47A87DE}"/>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445">
              <a:extLst>
                <a:ext uri="{FF2B5EF4-FFF2-40B4-BE49-F238E27FC236}">
                  <a16:creationId xmlns:a16="http://schemas.microsoft.com/office/drawing/2014/main" id="{B2D1886E-D925-410E-A6B5-476C25AB54A9}"/>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446">
              <a:extLst>
                <a:ext uri="{FF2B5EF4-FFF2-40B4-BE49-F238E27FC236}">
                  <a16:creationId xmlns:a16="http://schemas.microsoft.com/office/drawing/2014/main" id="{ECF2D6B9-5363-40F1-A8B3-EFB18A421E86}"/>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21" name="Picture 20">
            <a:extLst>
              <a:ext uri="{FF2B5EF4-FFF2-40B4-BE49-F238E27FC236}">
                <a16:creationId xmlns:a16="http://schemas.microsoft.com/office/drawing/2014/main" id="{9B224857-23E0-4D2A-89B0-D976348BE339}"/>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0183955" y="66795"/>
            <a:ext cx="1871980" cy="348615"/>
          </a:xfrm>
          <a:prstGeom prst="rect">
            <a:avLst/>
          </a:prstGeom>
        </p:spPr>
      </p:pic>
    </p:spTree>
    <p:extLst>
      <p:ext uri="{BB962C8B-B14F-4D97-AF65-F5344CB8AC3E}">
        <p14:creationId xmlns:p14="http://schemas.microsoft.com/office/powerpoint/2010/main" val="678701893"/>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F8A5C9C-679A-4CCF-BB52-551EEFF71513}"/>
              </a:ext>
            </a:extLst>
          </p:cNvPr>
          <p:cNvSpPr txBox="1"/>
          <p:nvPr/>
        </p:nvSpPr>
        <p:spPr>
          <a:xfrm>
            <a:off x="273370" y="191501"/>
            <a:ext cx="5372817" cy="307777"/>
          </a:xfrm>
          <a:prstGeom prst="rect">
            <a:avLst/>
          </a:prstGeom>
          <a:noFill/>
        </p:spPr>
        <p:txBody>
          <a:bodyPr wrap="none" lIns="0" tIns="0" rIns="0" bIns="0" rtlCol="0">
            <a:spAutoFit/>
          </a:bodyPr>
          <a:lstStyle/>
          <a:p>
            <a:pPr>
              <a:spcBef>
                <a:spcPts val="600"/>
              </a:spcBef>
              <a:buSzPct val="100000"/>
            </a:pPr>
            <a:r>
              <a:rPr lang="en-US" sz="2000">
                <a:ea typeface="Open Sans Semibold" panose="020B0706030804020204" pitchFamily="34" charset="0"/>
                <a:cs typeface="Open Sans Semibold" panose="020B0706030804020204" pitchFamily="34" charset="0"/>
              </a:rPr>
              <a:t>AUDIT QUALITY MONITORING AND MEASUREMENT</a:t>
            </a:r>
          </a:p>
        </p:txBody>
      </p:sp>
      <p:sp>
        <p:nvSpPr>
          <p:cNvPr id="32" name="TextBox 31">
            <a:extLst>
              <a:ext uri="{FF2B5EF4-FFF2-40B4-BE49-F238E27FC236}">
                <a16:creationId xmlns:a16="http://schemas.microsoft.com/office/drawing/2014/main" id="{EF450DAD-1A03-4ADA-A6B6-85242294E514}"/>
              </a:ext>
            </a:extLst>
          </p:cNvPr>
          <p:cNvSpPr txBox="1"/>
          <p:nvPr/>
        </p:nvSpPr>
        <p:spPr>
          <a:xfrm>
            <a:off x="1130301" y="1289421"/>
            <a:ext cx="4860595" cy="307777"/>
          </a:xfrm>
          <a:prstGeom prst="rect">
            <a:avLst/>
          </a:prstGeom>
          <a:noFill/>
        </p:spPr>
        <p:txBody>
          <a:bodyPr wrap="square" lIns="0" tIns="0" rIns="0" bIns="0" rtlCol="0">
            <a:spAutoFit/>
          </a:bodyPr>
          <a:lstStyle/>
          <a:p>
            <a:pPr lvl="0" defTabSz="1219170">
              <a:spcBef>
                <a:spcPts val="600"/>
              </a:spcBef>
              <a:buSzPct val="100000"/>
              <a:defRPr/>
            </a:pPr>
            <a:r>
              <a:rPr lang="en-US" sz="2000" b="1">
                <a:ea typeface="Open Sans" panose="020B0606030504020204" pitchFamily="34" charset="0"/>
                <a:cs typeface="Open Sans" panose="020B0606030504020204" pitchFamily="34" charset="0"/>
              </a:rPr>
              <a:t>High level release overview </a:t>
            </a:r>
            <a:r>
              <a:rPr lang="en-US" sz="2000" b="1">
                <a:solidFill>
                  <a:schemeClr val="accent6"/>
                </a:solidFill>
                <a:ea typeface="Open Sans" panose="020B0606030504020204" pitchFamily="34" charset="0"/>
                <a:cs typeface="Open Sans" panose="020B0606030504020204" pitchFamily="34" charset="0"/>
              </a:rPr>
              <a:t>(Saturn V)</a:t>
            </a:r>
          </a:p>
        </p:txBody>
      </p:sp>
      <p:sp>
        <p:nvSpPr>
          <p:cNvPr id="37" name="TextBox 36">
            <a:extLst>
              <a:ext uri="{FF2B5EF4-FFF2-40B4-BE49-F238E27FC236}">
                <a16:creationId xmlns:a16="http://schemas.microsoft.com/office/drawing/2014/main" id="{AF8A5C9C-679A-4CCF-BB52-551EEFF71513}"/>
              </a:ext>
            </a:extLst>
          </p:cNvPr>
          <p:cNvSpPr txBox="1"/>
          <p:nvPr/>
        </p:nvSpPr>
        <p:spPr>
          <a:xfrm>
            <a:off x="273370" y="490345"/>
            <a:ext cx="3094117" cy="307777"/>
          </a:xfrm>
          <a:prstGeom prst="rect">
            <a:avLst/>
          </a:prstGeom>
          <a:noFill/>
        </p:spPr>
        <p:txBody>
          <a:bodyPr wrap="none" lIns="0" tIns="0" rIns="0" bIns="0" rtlCol="0">
            <a:spAutoFit/>
          </a:bodyPr>
          <a:lstStyle/>
          <a:p>
            <a:pPr>
              <a:spcBef>
                <a:spcPts val="600"/>
              </a:spcBef>
              <a:buSzPct val="100000"/>
            </a:pPr>
            <a:r>
              <a:rPr lang="en-US" sz="2000">
                <a:ea typeface="Open Sans Semibold" panose="020B0706030804020204" pitchFamily="34" charset="0"/>
                <a:cs typeface="Open Sans Semibold" panose="020B0706030804020204" pitchFamily="34" charset="0"/>
              </a:rPr>
              <a:t>Audit Quality Plan application</a:t>
            </a:r>
          </a:p>
        </p:txBody>
      </p:sp>
      <p:grpSp>
        <p:nvGrpSpPr>
          <p:cNvPr id="8" name="Group 437">
            <a:extLst>
              <a:ext uri="{FF2B5EF4-FFF2-40B4-BE49-F238E27FC236}">
                <a16:creationId xmlns:a16="http://schemas.microsoft.com/office/drawing/2014/main" id="{836CA727-323C-4BD2-B2A5-552F7AB2FDCB}"/>
              </a:ext>
            </a:extLst>
          </p:cNvPr>
          <p:cNvGrpSpPr>
            <a:grpSpLocks noChangeAspect="1"/>
          </p:cNvGrpSpPr>
          <p:nvPr/>
        </p:nvGrpSpPr>
        <p:grpSpPr bwMode="auto">
          <a:xfrm>
            <a:off x="214740" y="1107102"/>
            <a:ext cx="685806" cy="685807"/>
            <a:chOff x="3130" y="1561"/>
            <a:chExt cx="340" cy="340"/>
          </a:xfrm>
          <a:solidFill>
            <a:srgbClr val="86BC25"/>
          </a:solidFill>
        </p:grpSpPr>
        <p:sp>
          <p:nvSpPr>
            <p:cNvPr id="9" name="Freeform 438">
              <a:extLst>
                <a:ext uri="{FF2B5EF4-FFF2-40B4-BE49-F238E27FC236}">
                  <a16:creationId xmlns:a16="http://schemas.microsoft.com/office/drawing/2014/main" id="{511D82C6-3BED-44D7-BB17-15437AD33C92}"/>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439">
              <a:extLst>
                <a:ext uri="{FF2B5EF4-FFF2-40B4-BE49-F238E27FC236}">
                  <a16:creationId xmlns:a16="http://schemas.microsoft.com/office/drawing/2014/main" id="{6E69B834-15B9-436D-96FE-CD780597E71B}"/>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440">
              <a:extLst>
                <a:ext uri="{FF2B5EF4-FFF2-40B4-BE49-F238E27FC236}">
                  <a16:creationId xmlns:a16="http://schemas.microsoft.com/office/drawing/2014/main" id="{BEA0AE10-A505-429C-8B0B-0131076649FF}"/>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441">
              <a:extLst>
                <a:ext uri="{FF2B5EF4-FFF2-40B4-BE49-F238E27FC236}">
                  <a16:creationId xmlns:a16="http://schemas.microsoft.com/office/drawing/2014/main" id="{A9A06458-8616-4DCB-8D84-359861180661}"/>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442">
              <a:extLst>
                <a:ext uri="{FF2B5EF4-FFF2-40B4-BE49-F238E27FC236}">
                  <a16:creationId xmlns:a16="http://schemas.microsoft.com/office/drawing/2014/main" id="{FFB6B883-E215-4061-AF09-E6AF2ABE5AF8}"/>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443">
              <a:extLst>
                <a:ext uri="{FF2B5EF4-FFF2-40B4-BE49-F238E27FC236}">
                  <a16:creationId xmlns:a16="http://schemas.microsoft.com/office/drawing/2014/main" id="{B2276BEC-62D1-48C4-8944-5104D38C8088}"/>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444">
              <a:extLst>
                <a:ext uri="{FF2B5EF4-FFF2-40B4-BE49-F238E27FC236}">
                  <a16:creationId xmlns:a16="http://schemas.microsoft.com/office/drawing/2014/main" id="{BEC45A37-93EB-4878-92FE-F99DC47A87DE}"/>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445">
              <a:extLst>
                <a:ext uri="{FF2B5EF4-FFF2-40B4-BE49-F238E27FC236}">
                  <a16:creationId xmlns:a16="http://schemas.microsoft.com/office/drawing/2014/main" id="{B2D1886E-D925-410E-A6B5-476C25AB54A9}"/>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446">
              <a:extLst>
                <a:ext uri="{FF2B5EF4-FFF2-40B4-BE49-F238E27FC236}">
                  <a16:creationId xmlns:a16="http://schemas.microsoft.com/office/drawing/2014/main" id="{ECF2D6B9-5363-40F1-A8B3-EFB18A421E86}"/>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21" name="Picture 20">
            <a:extLst>
              <a:ext uri="{FF2B5EF4-FFF2-40B4-BE49-F238E27FC236}">
                <a16:creationId xmlns:a16="http://schemas.microsoft.com/office/drawing/2014/main" id="{9B224857-23E0-4D2A-89B0-D976348BE339}"/>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0183955" y="66795"/>
            <a:ext cx="1871980" cy="348615"/>
          </a:xfrm>
          <a:prstGeom prst="rect">
            <a:avLst/>
          </a:prstGeom>
        </p:spPr>
      </p:pic>
      <p:sp>
        <p:nvSpPr>
          <p:cNvPr id="2" name="Rectangle 1">
            <a:extLst>
              <a:ext uri="{FF2B5EF4-FFF2-40B4-BE49-F238E27FC236}">
                <a16:creationId xmlns:a16="http://schemas.microsoft.com/office/drawing/2014/main" id="{B16F6C75-611A-4FFE-BCE1-B40696D42D38}"/>
              </a:ext>
            </a:extLst>
          </p:cNvPr>
          <p:cNvSpPr/>
          <p:nvPr/>
        </p:nvSpPr>
        <p:spPr>
          <a:xfrm>
            <a:off x="1025237" y="1718131"/>
            <a:ext cx="7827818" cy="4909036"/>
          </a:xfrm>
          <a:prstGeom prst="rect">
            <a:avLst/>
          </a:prstGeom>
        </p:spPr>
        <p:txBody>
          <a:bodyPr wrap="square">
            <a:spAutoFit/>
          </a:bodyPr>
          <a:lstStyle/>
          <a:p>
            <a:pPr>
              <a:spcBef>
                <a:spcPts val="600"/>
              </a:spcBef>
              <a:buSzPct val="100000"/>
              <a:defRPr/>
            </a:pPr>
            <a:r>
              <a:rPr lang="en-US" sz="1500" b="1">
                <a:solidFill>
                  <a:prstClr val="black"/>
                </a:solidFill>
                <a:ea typeface="Open Sans Light" panose="020B0306030504020204" pitchFamily="34" charset="0"/>
                <a:cs typeface="Open Sans Light" panose="020B0306030504020204" pitchFamily="34" charset="0"/>
              </a:rPr>
              <a:t>Engagement Monitoring (Audit engagement review)</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1. Engagement Profile creation for AER</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2. Configuration module for AER for individual geographies</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	- Defining the list for Practice Office, Issuing office</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	- Signoff configuration</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	- Finding and insight details configuration</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2. Creation/Initiation of AER and assigning various roles to users.</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3. Planning the AER and define the scope of the review.</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4. Performing the AER</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	- Content integration with </a:t>
            </a:r>
            <a:r>
              <a:rPr lang="en-US" sz="1500" err="1">
                <a:solidFill>
                  <a:prstClr val="black"/>
                </a:solidFill>
                <a:ea typeface="Open Sans Light" panose="020B0306030504020204" pitchFamily="34" charset="0"/>
                <a:cs typeface="Open Sans Light" panose="020B0306030504020204" pitchFamily="34" charset="0"/>
              </a:rPr>
              <a:t>InK</a:t>
            </a:r>
            <a:r>
              <a:rPr lang="en-US" sz="1500">
                <a:solidFill>
                  <a:prstClr val="black"/>
                </a:solidFill>
                <a:ea typeface="Open Sans Light" panose="020B0306030504020204" pitchFamily="34" charset="0"/>
                <a:cs typeface="Open Sans Light" panose="020B0306030504020204" pitchFamily="34" charset="0"/>
              </a:rPr>
              <a:t> system.</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	- Managing the findings, insights transformational observations and good practices.</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5. Concluding Module for AER</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	- Concluding memo</a:t>
            </a:r>
          </a:p>
          <a:p>
            <a:pPr lvl="0">
              <a:spcBef>
                <a:spcPts val="600"/>
              </a:spcBef>
              <a:buSzPct val="100000"/>
              <a:defRPr/>
            </a:pPr>
            <a:r>
              <a:rPr lang="en-US" sz="1500">
                <a:solidFill>
                  <a:prstClr val="black"/>
                </a:solidFill>
                <a:ea typeface="Open Sans Light" panose="020B0306030504020204" pitchFamily="34" charset="0"/>
                <a:cs typeface="Open Sans Light" panose="020B0306030504020204" pitchFamily="34" charset="0"/>
              </a:rPr>
              <a:t>	- Overall evaluation and signoffs</a:t>
            </a:r>
            <a:endParaRPr lang="en-US">
              <a:ea typeface="Open Sans Light" panose="020B0306030504020204" pitchFamily="34" charset="0"/>
              <a:cs typeface="Open Sans Light" panose="020B0306030504020204" pitchFamily="34" charset="0"/>
            </a:endParaRPr>
          </a:p>
          <a:p>
            <a:pPr>
              <a:spcBef>
                <a:spcPts val="600"/>
              </a:spcBef>
              <a:buSzPct val="100000"/>
              <a:defRPr/>
            </a:pPr>
            <a:endParaRPr lang="en-US"/>
          </a:p>
        </p:txBody>
      </p:sp>
    </p:spTree>
    <p:extLst>
      <p:ext uri="{BB962C8B-B14F-4D97-AF65-F5344CB8AC3E}">
        <p14:creationId xmlns:p14="http://schemas.microsoft.com/office/powerpoint/2010/main" val="12345213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6245" y="898092"/>
            <a:ext cx="5278632" cy="5278632"/>
          </a:xfrm>
          <a:prstGeom prst="rect">
            <a:avLst/>
          </a:prstGeom>
        </p:spPr>
      </p:pic>
      <p:sp>
        <p:nvSpPr>
          <p:cNvPr id="7" name="Subtitle 3">
            <a:extLst>
              <a:ext uri="{FF2B5EF4-FFF2-40B4-BE49-F238E27FC236}">
                <a16:creationId xmlns:a16="http://schemas.microsoft.com/office/drawing/2014/main" id="{5817664F-7DC8-47E5-B7B9-14F4F2B2E734}"/>
              </a:ext>
            </a:extLst>
          </p:cNvPr>
          <p:cNvSpPr txBox="1">
            <a:spLocks/>
          </p:cNvSpPr>
          <p:nvPr/>
        </p:nvSpPr>
        <p:spPr>
          <a:xfrm>
            <a:off x="6614669" y="2541832"/>
            <a:ext cx="4771086" cy="2393962"/>
          </a:xfrm>
          <a:prstGeom prst="rect">
            <a:avLst/>
          </a:prstGeom>
        </p:spPr>
        <p:txBody>
          <a:bodyPr vert="horz" lIns="51435" tIns="25719" rIns="51435" bIns="25719" rtlCol="0" anchor="ctr" anchorCtr="0">
            <a:noAutofit/>
          </a:bodyPr>
          <a:lstStyle>
            <a:lvl1pPr marL="228597" indent="-228597" algn="l" defTabSz="914388"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792" indent="-228597" algn="l" defTabSz="9143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5" indent="-228597" algn="l" defTabSz="9143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0"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375"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568"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63"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57"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52"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Font typeface="Arial" panose="020B0604020202020204" pitchFamily="34" charset="0"/>
              <a:buNone/>
            </a:pPr>
            <a:r>
              <a:rPr lang="en-US" sz="2000" b="1">
                <a:solidFill>
                  <a:srgbClr val="000000"/>
                </a:solidFill>
                <a:latin typeface="Open Sans" panose="020B0606030504020204" pitchFamily="34" charset="0"/>
                <a:ea typeface="Open Sans" panose="020B0606030504020204" pitchFamily="34" charset="0"/>
                <a:cs typeface="Open Sans" panose="020B0606030504020204" pitchFamily="34" charset="0"/>
              </a:rPr>
              <a:t>Coffee Break</a:t>
            </a:r>
            <a:r>
              <a:rPr lang="en-US" sz="20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 </a:t>
            </a:r>
            <a:r>
              <a:rPr lang="en-US" sz="18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15 Minutes</a:t>
            </a:r>
          </a:p>
          <a:p>
            <a:endParaRPr lang="en-US" sz="18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216610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8096" y="916946"/>
            <a:ext cx="5278632" cy="5278632"/>
          </a:xfrm>
          <a:prstGeom prst="rect">
            <a:avLst/>
          </a:prstGeom>
        </p:spPr>
      </p:pic>
      <p:sp>
        <p:nvSpPr>
          <p:cNvPr id="2" name="Rectangle 1">
            <a:extLst>
              <a:ext uri="{FF2B5EF4-FFF2-40B4-BE49-F238E27FC236}">
                <a16:creationId xmlns:a16="http://schemas.microsoft.com/office/drawing/2014/main" id="{128AC169-3E22-4BE7-A66C-85FDCD0D9814}"/>
              </a:ext>
            </a:extLst>
          </p:cNvPr>
          <p:cNvSpPr/>
          <p:nvPr/>
        </p:nvSpPr>
        <p:spPr>
          <a:xfrm>
            <a:off x="6479177" y="2921168"/>
            <a:ext cx="4616893" cy="1323439"/>
          </a:xfrm>
          <a:prstGeom prst="rect">
            <a:avLst/>
          </a:prstGeom>
        </p:spPr>
        <p:txBody>
          <a:bodyPr wrap="square" lIns="91440" tIns="45720" rIns="91440" bIns="45720" anchor="t">
            <a:spAutoFit/>
          </a:bodyPr>
          <a:lstStyle/>
          <a:p>
            <a:r>
              <a:rPr lang="en-US" sz="2000" b="1">
                <a:latin typeface="Open Sans"/>
                <a:ea typeface="Open Sans"/>
                <a:cs typeface="Open Sans"/>
              </a:rPr>
              <a:t>Architectural Vision</a:t>
            </a:r>
          </a:p>
          <a:p>
            <a:endParaRPr lang="en-US" sz="2000">
              <a:latin typeface="Open Sans" panose="020B0606030504020204" pitchFamily="34" charset="0"/>
              <a:ea typeface="Open Sans" panose="020B0606030504020204" pitchFamily="34" charset="0"/>
              <a:cs typeface="Open Sans" panose="020B0606030504020204" pitchFamily="34" charset="0"/>
            </a:endParaRPr>
          </a:p>
          <a:p>
            <a:r>
              <a:rPr lang="en-US" sz="2000" b="1">
                <a:solidFill>
                  <a:schemeClr val="bg1">
                    <a:lumMod val="50000"/>
                  </a:schemeClr>
                </a:solidFill>
                <a:latin typeface="Open Sans"/>
                <a:ea typeface="Open Sans"/>
                <a:cs typeface="Open Sans"/>
              </a:rPr>
              <a:t> Janine | Jignesh |Anubha | Karthik | Ramesh |Swetha</a:t>
            </a:r>
          </a:p>
        </p:txBody>
      </p:sp>
    </p:spTree>
    <p:extLst>
      <p:ext uri="{BB962C8B-B14F-4D97-AF65-F5344CB8AC3E}">
        <p14:creationId xmlns:p14="http://schemas.microsoft.com/office/powerpoint/2010/main" val="96096531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9"/>
          <p:cNvSpPr txBox="1">
            <a:spLocks/>
          </p:cNvSpPr>
          <p:nvPr/>
        </p:nvSpPr>
        <p:spPr>
          <a:xfrm>
            <a:off x="372484" y="758521"/>
            <a:ext cx="11447032" cy="5870879"/>
          </a:xfrm>
          <a:prstGeom prst="rect">
            <a:avLst/>
          </a:prstGeom>
        </p:spPr>
        <p:txBody>
          <a:bodyPr vert="horz" lIns="0" tIns="0" rIns="0" bIns="0" rtlCol="0" anchor="t">
            <a:noAutofit/>
          </a:bodyPr>
          <a:lstStyle>
            <a:lvl1pPr marL="502211" indent="-502211" algn="l" defTabSz="669615" rtl="0" eaLnBrk="1" latinLnBrk="0" hangingPunct="1">
              <a:spcBef>
                <a:spcPts val="1465"/>
              </a:spcBef>
              <a:spcAft>
                <a:spcPts val="0"/>
              </a:spcAft>
              <a:buClr>
                <a:schemeClr val="accent1"/>
              </a:buClr>
              <a:buSzPct val="80000"/>
              <a:buFont typeface="Wingdings 3" charset="2"/>
              <a:buChar char=""/>
              <a:defRPr sz="2636" kern="1200">
                <a:solidFill>
                  <a:schemeClr val="tx1">
                    <a:lumMod val="75000"/>
                    <a:lumOff val="25000"/>
                  </a:schemeClr>
                </a:solidFill>
                <a:latin typeface="+mn-lt"/>
                <a:ea typeface="+mn-ea"/>
                <a:cs typeface="+mn-cs"/>
              </a:defRPr>
            </a:lvl1pPr>
            <a:lvl2pPr marL="1088125" indent="-418509" algn="l" defTabSz="669615" rtl="0" eaLnBrk="1" latinLnBrk="0" hangingPunct="1">
              <a:spcBef>
                <a:spcPts val="1465"/>
              </a:spcBef>
              <a:spcAft>
                <a:spcPts val="0"/>
              </a:spcAft>
              <a:buClr>
                <a:schemeClr val="accent1"/>
              </a:buClr>
              <a:buSzPct val="80000"/>
              <a:buFont typeface="Wingdings 3" charset="2"/>
              <a:buChar char=""/>
              <a:defRPr sz="2343" kern="1200">
                <a:solidFill>
                  <a:schemeClr val="tx1">
                    <a:lumMod val="75000"/>
                    <a:lumOff val="25000"/>
                  </a:schemeClr>
                </a:solidFill>
                <a:latin typeface="+mn-lt"/>
                <a:ea typeface="+mn-ea"/>
                <a:cs typeface="+mn-cs"/>
              </a:defRPr>
            </a:lvl2pPr>
            <a:lvl3pPr marL="1674038" indent="-334808" algn="l" defTabSz="669615" rtl="0" eaLnBrk="1" latinLnBrk="0" hangingPunct="1">
              <a:spcBef>
                <a:spcPts val="1465"/>
              </a:spcBef>
              <a:spcAft>
                <a:spcPts val="0"/>
              </a:spcAft>
              <a:buClr>
                <a:schemeClr val="accent1"/>
              </a:buClr>
              <a:buSzPct val="80000"/>
              <a:buFont typeface="Wingdings 3" charset="2"/>
              <a:buChar char=""/>
              <a:defRPr sz="2050" kern="1200">
                <a:solidFill>
                  <a:schemeClr val="tx1">
                    <a:lumMod val="75000"/>
                    <a:lumOff val="25000"/>
                  </a:schemeClr>
                </a:solidFill>
                <a:latin typeface="+mn-lt"/>
                <a:ea typeface="+mn-ea"/>
                <a:cs typeface="+mn-cs"/>
              </a:defRPr>
            </a:lvl3pPr>
            <a:lvl4pPr marL="234365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4pPr>
            <a:lvl5pPr marL="3013268"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5pPr>
            <a:lvl6pPr marL="368288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6pPr>
            <a:lvl7pPr marL="4352498"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7pPr>
            <a:lvl8pPr marL="502211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8pPr>
            <a:lvl9pPr marL="5691729"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9pPr>
          </a:lstStyle>
          <a:p>
            <a:pPr marL="342900" indent="-342900" defTabSz="457213">
              <a:spcBef>
                <a:spcPts val="1800"/>
              </a:spcBef>
              <a:buClr>
                <a:srgbClr val="86BC25"/>
              </a:buClr>
            </a:pPr>
            <a:r>
              <a:rPr lang="en-US" sz="1400">
                <a:solidFill>
                  <a:srgbClr val="000000"/>
                </a:solidFill>
                <a:latin typeface="Open Sans"/>
                <a:ea typeface="Open Sans"/>
                <a:cs typeface="Open Sans"/>
              </a:rPr>
              <a:t>Architectural enablers – </a:t>
            </a:r>
            <a:r>
              <a:rPr lang="en-US" sz="1000">
                <a:solidFill>
                  <a:srgbClr val="000000"/>
                </a:solidFill>
                <a:latin typeface="Open Sans"/>
                <a:ea typeface="Open Sans"/>
                <a:cs typeface="Open Sans"/>
              </a:rPr>
              <a:t>These are created to build the architectural runway, which allows smoother and faster development. </a:t>
            </a:r>
            <a:endParaRPr lang="en-US">
              <a:ea typeface="Open Sans"/>
              <a:cs typeface="Open Sans"/>
            </a:endParaRPr>
          </a:p>
          <a:p>
            <a:pPr marL="633730" lvl="1" indent="-233680" defTabSz="457213">
              <a:spcBef>
                <a:spcPts val="1000"/>
              </a:spcBef>
              <a:buClr>
                <a:srgbClr val="5FCBEF"/>
              </a:buClr>
              <a:defRPr/>
            </a:pPr>
            <a:r>
              <a:rPr lang="en-US" sz="1400">
                <a:latin typeface="Open Sans"/>
                <a:ea typeface="Open Sans"/>
                <a:cs typeface="Open Sans"/>
              </a:rPr>
              <a:t>Performance improvements </a:t>
            </a:r>
          </a:p>
          <a:p>
            <a:pPr marL="1219835" lvl="2" indent="-233680" defTabSz="457213">
              <a:spcBef>
                <a:spcPts val="1000"/>
              </a:spcBef>
              <a:buClr>
                <a:srgbClr val="5FCBEF"/>
              </a:buClr>
            </a:pPr>
            <a:r>
              <a:rPr lang="en-US" sz="1150">
                <a:solidFill>
                  <a:srgbClr val="404040"/>
                </a:solidFill>
                <a:latin typeface="Open Sans"/>
                <a:ea typeface="Open Sans"/>
                <a:cs typeface="Open Sans"/>
              </a:rPr>
              <a:t>HTTP Client Instances</a:t>
            </a:r>
          </a:p>
          <a:p>
            <a:pPr marL="1219835" lvl="2" indent="-233680" defTabSz="457213">
              <a:spcBef>
                <a:spcPts val="1000"/>
              </a:spcBef>
              <a:buClr>
                <a:srgbClr val="5FCBEF"/>
              </a:buClr>
            </a:pPr>
            <a:r>
              <a:rPr lang="en-US" sz="1150">
                <a:solidFill>
                  <a:srgbClr val="404040"/>
                </a:solidFill>
                <a:latin typeface="Open Sans"/>
                <a:ea typeface="Open Sans"/>
                <a:cs typeface="Open Sans"/>
              </a:rPr>
              <a:t>Reduce Competency Data Representing "No Competency"</a:t>
            </a:r>
          </a:p>
          <a:p>
            <a:pPr marL="1219835" lvl="2" indent="-233680" defTabSz="457213">
              <a:spcBef>
                <a:spcPts val="1000"/>
              </a:spcBef>
              <a:buClr>
                <a:srgbClr val="5FCBEF"/>
              </a:buClr>
            </a:pPr>
            <a:r>
              <a:rPr lang="en-US" sz="1150">
                <a:solidFill>
                  <a:srgbClr val="404040"/>
                </a:solidFill>
                <a:latin typeface="Open Sans"/>
                <a:ea typeface="Open Sans"/>
                <a:cs typeface="Open Sans"/>
              </a:rPr>
              <a:t>Transaction Improvement (Multi-Edit, Bulk Upload, Upload Documents)</a:t>
            </a:r>
          </a:p>
          <a:p>
            <a:pPr marL="1219835" lvl="2" indent="-233680" defTabSz="457213">
              <a:spcBef>
                <a:spcPts val="1000"/>
              </a:spcBef>
              <a:buClr>
                <a:srgbClr val="5FCBEF"/>
              </a:buClr>
            </a:pPr>
            <a:r>
              <a:rPr lang="en-US" sz="1150">
                <a:solidFill>
                  <a:srgbClr val="404040"/>
                </a:solidFill>
                <a:latin typeface="Open Sans"/>
                <a:ea typeface="Open Sans"/>
                <a:cs typeface="Open Sans"/>
              </a:rPr>
              <a:t>Enhance All-Request Loading (Sync Data, Inline Edits [Reduce Unnecessary data in API], Request Type Config)</a:t>
            </a:r>
          </a:p>
          <a:p>
            <a:pPr marL="1219835" lvl="2" indent="-233680" defTabSz="457213">
              <a:spcBef>
                <a:spcPts val="1000"/>
              </a:spcBef>
              <a:buClr>
                <a:srgbClr val="5FCBEF"/>
              </a:buClr>
            </a:pPr>
            <a:r>
              <a:rPr lang="en-US" sz="1150">
                <a:solidFill>
                  <a:srgbClr val="404040"/>
                </a:solidFill>
                <a:latin typeface="Open Sans"/>
                <a:ea typeface="Open Sans"/>
                <a:cs typeface="Open Sans"/>
              </a:rPr>
              <a:t>User Restriction based on Independence Redesign</a:t>
            </a:r>
          </a:p>
          <a:p>
            <a:pPr marL="633730" lvl="1" indent="-233680" defTabSz="457213">
              <a:spcBef>
                <a:spcPts val="1000"/>
              </a:spcBef>
              <a:buClr>
                <a:srgbClr val="5FCBEF"/>
              </a:buClr>
            </a:pPr>
            <a:r>
              <a:rPr lang="en-US" sz="1400">
                <a:ea typeface="+mn-lt"/>
                <a:cs typeface="+mn-lt"/>
              </a:rPr>
              <a:t> </a:t>
            </a:r>
            <a:r>
              <a:rPr lang="en-US" sz="1400">
                <a:latin typeface="Open Sans"/>
                <a:ea typeface="Open Sans"/>
                <a:cs typeface="Open Sans"/>
              </a:rPr>
              <a:t>EMS, CMS, AO, Diagnostics integration on Cloud – Standalone/Always-On</a:t>
            </a:r>
          </a:p>
          <a:p>
            <a:pPr marL="342900" indent="-342900" defTabSz="457213">
              <a:spcBef>
                <a:spcPts val="1800"/>
              </a:spcBef>
              <a:buClr>
                <a:srgbClr val="86BC25"/>
              </a:buClr>
            </a:pPr>
            <a:r>
              <a:rPr lang="en-US" sz="1400">
                <a:solidFill>
                  <a:srgbClr val="000000"/>
                </a:solidFill>
                <a:latin typeface="Open Sans"/>
                <a:ea typeface="Open Sans"/>
                <a:cs typeface="Open Sans"/>
              </a:rPr>
              <a:t>Infrastructure enablers – </a:t>
            </a:r>
            <a:r>
              <a:rPr lang="en-US" sz="1000">
                <a:solidFill>
                  <a:srgbClr val="000000"/>
                </a:solidFill>
                <a:latin typeface="Open Sans"/>
                <a:ea typeface="Open Sans"/>
                <a:cs typeface="Open Sans"/>
              </a:rPr>
              <a:t>These are created to build, enhance, and automate the development, testing, monitoring, and deployment environments. They facilitate faster development, higher-quality testing, and a faster Continuous Delivery Pipeline. </a:t>
            </a:r>
          </a:p>
          <a:p>
            <a:pPr marL="633730" lvl="1" indent="-233680" defTabSz="457213">
              <a:spcBef>
                <a:spcPts val="1000"/>
              </a:spcBef>
              <a:buClr>
                <a:srgbClr val="5FCBEF"/>
              </a:buClr>
              <a:defRPr/>
            </a:pPr>
            <a:r>
              <a:rPr lang="en-US" sz="1400">
                <a:latin typeface="Open Sans"/>
              </a:rPr>
              <a:t>AppInsights – Move </a:t>
            </a:r>
            <a:r>
              <a:rPr lang="en-US" sz="1400" err="1">
                <a:latin typeface="Open Sans"/>
              </a:rPr>
              <a:t>DAloggerDB</a:t>
            </a:r>
            <a:r>
              <a:rPr lang="en-US" sz="1400">
                <a:latin typeface="Open Sans"/>
              </a:rPr>
              <a:t> to AppInsights, additional OnPrem calls to Central for logging </a:t>
            </a:r>
            <a:r>
              <a:rPr lang="en-US" sz="1400" err="1">
                <a:latin typeface="Open Sans"/>
              </a:rPr>
              <a:t>onPrem</a:t>
            </a:r>
            <a:r>
              <a:rPr lang="en-US" sz="1400">
                <a:latin typeface="Open Sans"/>
              </a:rPr>
              <a:t> logs (Architects)</a:t>
            </a:r>
            <a:endParaRPr lang="en-US" sz="1400">
              <a:latin typeface="Open Sans"/>
              <a:ea typeface="Open Sans"/>
              <a:cs typeface="Open Sans"/>
            </a:endParaRPr>
          </a:p>
          <a:p>
            <a:pPr marL="633730" lvl="1" indent="-233680" defTabSz="457213">
              <a:spcBef>
                <a:spcPts val="1000"/>
              </a:spcBef>
              <a:buClr>
                <a:srgbClr val="5FCBEF"/>
              </a:buClr>
              <a:defRPr/>
            </a:pPr>
            <a:r>
              <a:rPr lang="en-US" sz="1400">
                <a:latin typeface="Open Sans"/>
              </a:rPr>
              <a:t>AppInsights - </a:t>
            </a:r>
            <a:r>
              <a:rPr lang="en-US" sz="1400" err="1">
                <a:latin typeface="Open Sans"/>
              </a:rPr>
              <a:t>DataLoader</a:t>
            </a:r>
            <a:r>
              <a:rPr lang="en-US" sz="1400">
                <a:latin typeface="Open Sans"/>
              </a:rPr>
              <a:t> runbook replacements (Architects)</a:t>
            </a:r>
            <a:endParaRPr lang="en-US" sz="1400">
              <a:latin typeface="Open Sans"/>
              <a:ea typeface="Open Sans" panose="020B0606030504020204" pitchFamily="34" charset="0"/>
              <a:cs typeface="Open Sans" panose="020B0606030504020204" pitchFamily="34" charset="0"/>
            </a:endParaRPr>
          </a:p>
          <a:p>
            <a:pPr marL="633730" lvl="1" indent="-233680" defTabSz="457213">
              <a:spcBef>
                <a:spcPts val="1000"/>
              </a:spcBef>
              <a:buClr>
                <a:srgbClr val="5FCBEF"/>
              </a:buClr>
              <a:defRPr/>
            </a:pPr>
            <a:r>
              <a:rPr lang="en-US" sz="1400">
                <a:latin typeface="Open Sans"/>
                <a:ea typeface="Open Sans"/>
                <a:cs typeface="Open Sans"/>
              </a:rPr>
              <a:t>Using failover groups for BCP (</a:t>
            </a:r>
            <a:r>
              <a:rPr lang="en-US" sz="1400" err="1">
                <a:latin typeface="Open Sans"/>
                <a:ea typeface="Open Sans"/>
                <a:cs typeface="Open Sans"/>
              </a:rPr>
              <a:t>CloudEagles</a:t>
            </a:r>
            <a:r>
              <a:rPr lang="en-US" sz="1400">
                <a:latin typeface="Open Sans"/>
                <a:ea typeface="Open Sans"/>
                <a:cs typeface="Open Sans"/>
              </a:rPr>
              <a:t>)</a:t>
            </a:r>
          </a:p>
          <a:p>
            <a:pPr marL="633730" lvl="1" indent="-233680" defTabSz="457213">
              <a:spcBef>
                <a:spcPts val="1000"/>
              </a:spcBef>
              <a:buClr>
                <a:srgbClr val="5FCBEF"/>
              </a:buClr>
              <a:defRPr/>
            </a:pPr>
            <a:r>
              <a:rPr lang="en-US" sz="1400">
                <a:latin typeface="Open Sans"/>
                <a:ea typeface="Open Sans"/>
                <a:cs typeface="Open Sans"/>
              </a:rPr>
              <a:t>Automation of scripts that are run from DevOps (I.e., onboarding, pricing, etc.) (Architects/</a:t>
            </a:r>
            <a:r>
              <a:rPr lang="en-US" sz="1400" err="1">
                <a:latin typeface="Open Sans"/>
                <a:ea typeface="Open Sans"/>
                <a:cs typeface="Open Sans"/>
              </a:rPr>
              <a:t>CloudEagles</a:t>
            </a:r>
            <a:r>
              <a:rPr lang="en-US" sz="1400">
                <a:latin typeface="Open Sans"/>
                <a:ea typeface="Open Sans"/>
                <a:cs typeface="Open Sans"/>
              </a:rPr>
              <a:t>)</a:t>
            </a:r>
          </a:p>
          <a:p>
            <a:pPr marL="633730" lvl="1" indent="-233680" defTabSz="457213">
              <a:spcBef>
                <a:spcPts val="1000"/>
              </a:spcBef>
              <a:buClr>
                <a:srgbClr val="5FCBEF"/>
              </a:buClr>
            </a:pPr>
            <a:r>
              <a:rPr lang="en-US" sz="1400">
                <a:solidFill>
                  <a:srgbClr val="404040"/>
                </a:solidFill>
                <a:latin typeface="Open Sans"/>
                <a:ea typeface="Open Sans"/>
                <a:cs typeface="Open Sans"/>
              </a:rPr>
              <a:t>User-managed Identity for SQL Connection (China and </a:t>
            </a:r>
            <a:r>
              <a:rPr lang="en-US" sz="1400" err="1">
                <a:solidFill>
                  <a:srgbClr val="404040"/>
                </a:solidFill>
                <a:latin typeface="Open Sans"/>
                <a:ea typeface="Open Sans"/>
                <a:cs typeface="Open Sans"/>
              </a:rPr>
              <a:t>PowerBI</a:t>
            </a:r>
            <a:r>
              <a:rPr lang="en-US" sz="1400">
                <a:solidFill>
                  <a:srgbClr val="404040"/>
                </a:solidFill>
                <a:latin typeface="Open Sans"/>
                <a:ea typeface="Open Sans"/>
                <a:cs typeface="Open Sans"/>
              </a:rPr>
              <a:t> env compatibility)  (Jaguars/</a:t>
            </a:r>
            <a:r>
              <a:rPr lang="en-US" sz="1400" err="1">
                <a:solidFill>
                  <a:srgbClr val="404040"/>
                </a:solidFill>
                <a:latin typeface="Open Sans"/>
                <a:ea typeface="Open Sans"/>
                <a:cs typeface="Open Sans"/>
              </a:rPr>
              <a:t>CloudEagles</a:t>
            </a:r>
            <a:r>
              <a:rPr lang="en-US" sz="1400">
                <a:solidFill>
                  <a:srgbClr val="404040"/>
                </a:solidFill>
                <a:latin typeface="Open Sans"/>
                <a:ea typeface="Open Sans"/>
                <a:cs typeface="Open Sans"/>
              </a:rPr>
              <a:t>)</a:t>
            </a:r>
          </a:p>
          <a:p>
            <a:pPr marL="633730" lvl="1" indent="-233680" defTabSz="457213">
              <a:spcBef>
                <a:spcPts val="1000"/>
              </a:spcBef>
              <a:buClr>
                <a:srgbClr val="5FCBEF"/>
              </a:buClr>
            </a:pPr>
            <a:r>
              <a:rPr lang="en-US" sz="1400">
                <a:ea typeface="+mn-lt"/>
                <a:cs typeface="+mn-lt"/>
              </a:rPr>
              <a:t>Cleanup of trusted apps  configuration (Architects/</a:t>
            </a:r>
            <a:r>
              <a:rPr lang="en-US" sz="1400" err="1">
                <a:ea typeface="+mn-lt"/>
                <a:cs typeface="+mn-lt"/>
              </a:rPr>
              <a:t>CloudEagles</a:t>
            </a:r>
            <a:r>
              <a:rPr lang="en-US" sz="1400">
                <a:ea typeface="+mn-lt"/>
                <a:cs typeface="+mn-lt"/>
              </a:rPr>
              <a:t>)</a:t>
            </a:r>
            <a:endParaRPr lang="en-US" sz="1400">
              <a:solidFill>
                <a:srgbClr val="404040"/>
              </a:solidFill>
              <a:latin typeface="Open Sans"/>
              <a:ea typeface="Open Sans"/>
              <a:cs typeface="Open Sans"/>
            </a:endParaRPr>
          </a:p>
          <a:p>
            <a:pPr marL="633730" lvl="1" indent="-233680" defTabSz="457213">
              <a:spcBef>
                <a:spcPts val="1000"/>
              </a:spcBef>
              <a:buClr>
                <a:srgbClr val="5FCBEF"/>
              </a:buClr>
            </a:pPr>
            <a:r>
              <a:rPr lang="en-US" sz="1400">
                <a:ea typeface="+mn-lt"/>
                <a:cs typeface="+mn-lt"/>
              </a:rPr>
              <a:t>Upgrade Central DB Compatibility Level to SQL 2016 (Architects)</a:t>
            </a:r>
            <a:endParaRPr lang="en-US" sz="1400">
              <a:latin typeface="Calibri"/>
              <a:ea typeface="+mn-lt"/>
              <a:cs typeface="+mn-lt"/>
            </a:endParaRPr>
          </a:p>
          <a:p>
            <a:pPr marL="633730" lvl="1" indent="-233680" defTabSz="457213">
              <a:spcBef>
                <a:spcPts val="1000"/>
              </a:spcBef>
              <a:buClr>
                <a:srgbClr val="5FCBEF"/>
              </a:buClr>
            </a:pPr>
            <a:r>
              <a:rPr lang="en-US" sz="1400">
                <a:latin typeface="Calibri" panose="020F0502020204030204"/>
                <a:ea typeface="Open Sans"/>
                <a:cs typeface="Calibri" panose="020F0502020204030204"/>
              </a:rPr>
              <a:t>SP for Deleting Central Activities and Related Data (Autocrats)</a:t>
            </a:r>
            <a:endParaRPr lang="en-US" sz="1400">
              <a:latin typeface="Calibri" panose="020F0502020204030204"/>
              <a:ea typeface="Open Sans" panose="020B0606030504020204" pitchFamily="34" charset="0"/>
              <a:cs typeface="Calibri" panose="020F0502020204030204"/>
            </a:endParaRPr>
          </a:p>
          <a:p>
            <a:pPr marL="633730" lvl="1" indent="-233680" defTabSz="457213">
              <a:spcBef>
                <a:spcPts val="1000"/>
              </a:spcBef>
              <a:buClr>
                <a:srgbClr val="5FCBEF"/>
              </a:buClr>
            </a:pPr>
            <a:endParaRPr lang="en-US" sz="1400">
              <a:latin typeface="Open Sans" panose="020B0606030504020204" pitchFamily="34" charset="0"/>
              <a:ea typeface="Open Sans" panose="020B0606030504020204" pitchFamily="34" charset="0"/>
              <a:cs typeface="Open Sans" panose="020B0606030504020204" pitchFamily="34" charset="0"/>
            </a:endParaRPr>
          </a:p>
          <a:p>
            <a:pPr marL="742950" lvl="1" indent="-285750" defTabSz="457213">
              <a:spcBef>
                <a:spcPts val="1000"/>
              </a:spcBef>
              <a:buClr>
                <a:srgbClr val="86BC25"/>
              </a:buClr>
              <a:buNone/>
            </a:pPr>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 name="Title 1">
            <a:extLst>
              <a:ext uri="{FF2B5EF4-FFF2-40B4-BE49-F238E27FC236}">
                <a16:creationId xmlns:a16="http://schemas.microsoft.com/office/drawing/2014/main" id="{5BDED99B-694F-434D-97D8-B0EE825A396B}"/>
              </a:ext>
            </a:extLst>
          </p:cNvPr>
          <p:cNvSpPr txBox="1">
            <a:spLocks/>
          </p:cNvSpPr>
          <p:nvPr/>
        </p:nvSpPr>
        <p:spPr>
          <a:xfrm>
            <a:off x="273129" y="128868"/>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panose="020B0606030504020204" pitchFamily="34" charset="0"/>
                <a:ea typeface="Open Sans" panose="020B0606030504020204" pitchFamily="34" charset="0"/>
                <a:cs typeface="Open Sans" panose="020B0606030504020204" pitchFamily="34" charset="0"/>
              </a:rPr>
              <a:t>Audit</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801" b="1">
                <a:latin typeface="Open Sans" panose="020B0606030504020204" pitchFamily="34" charset="0"/>
                <a:ea typeface="Open Sans" panose="020B0606030504020204" pitchFamily="34" charset="0"/>
                <a:cs typeface="Open Sans" panose="020B0606030504020204" pitchFamily="34" charset="0"/>
              </a:rPr>
              <a:t>Online -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rchitecture </a:t>
            </a:r>
          </a:p>
        </p:txBody>
      </p:sp>
    </p:spTree>
    <p:extLst>
      <p:ext uri="{BB962C8B-B14F-4D97-AF65-F5344CB8AC3E}">
        <p14:creationId xmlns:p14="http://schemas.microsoft.com/office/powerpoint/2010/main" val="314828371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9"/>
          <p:cNvSpPr txBox="1">
            <a:spLocks/>
          </p:cNvSpPr>
          <p:nvPr/>
        </p:nvSpPr>
        <p:spPr>
          <a:xfrm>
            <a:off x="372484" y="804498"/>
            <a:ext cx="11447032" cy="5747131"/>
          </a:xfrm>
          <a:prstGeom prst="rect">
            <a:avLst/>
          </a:prstGeom>
        </p:spPr>
        <p:txBody>
          <a:bodyPr vert="horz" lIns="0" tIns="0" rIns="0" bIns="0" rtlCol="0" anchor="t">
            <a:noAutofit/>
          </a:bodyPr>
          <a:lstStyle>
            <a:lvl1pPr marL="502211" indent="-502211" algn="l" defTabSz="669615" rtl="0" eaLnBrk="1" latinLnBrk="0" hangingPunct="1">
              <a:spcBef>
                <a:spcPts val="1465"/>
              </a:spcBef>
              <a:spcAft>
                <a:spcPts val="0"/>
              </a:spcAft>
              <a:buClr>
                <a:schemeClr val="accent1"/>
              </a:buClr>
              <a:buSzPct val="80000"/>
              <a:buFont typeface="Wingdings 3" charset="2"/>
              <a:buChar char=""/>
              <a:defRPr sz="2636" kern="1200">
                <a:solidFill>
                  <a:schemeClr val="tx1">
                    <a:lumMod val="75000"/>
                    <a:lumOff val="25000"/>
                  </a:schemeClr>
                </a:solidFill>
                <a:latin typeface="+mn-lt"/>
                <a:ea typeface="+mn-ea"/>
                <a:cs typeface="+mn-cs"/>
              </a:defRPr>
            </a:lvl1pPr>
            <a:lvl2pPr marL="1088125" indent="-418509" algn="l" defTabSz="669615" rtl="0" eaLnBrk="1" latinLnBrk="0" hangingPunct="1">
              <a:spcBef>
                <a:spcPts val="1465"/>
              </a:spcBef>
              <a:spcAft>
                <a:spcPts val="0"/>
              </a:spcAft>
              <a:buClr>
                <a:schemeClr val="accent1"/>
              </a:buClr>
              <a:buSzPct val="80000"/>
              <a:buFont typeface="Wingdings 3" charset="2"/>
              <a:buChar char=""/>
              <a:defRPr sz="2343" kern="1200">
                <a:solidFill>
                  <a:schemeClr val="tx1">
                    <a:lumMod val="75000"/>
                    <a:lumOff val="25000"/>
                  </a:schemeClr>
                </a:solidFill>
                <a:latin typeface="+mn-lt"/>
                <a:ea typeface="+mn-ea"/>
                <a:cs typeface="+mn-cs"/>
              </a:defRPr>
            </a:lvl2pPr>
            <a:lvl3pPr marL="1674038" indent="-334808" algn="l" defTabSz="669615" rtl="0" eaLnBrk="1" latinLnBrk="0" hangingPunct="1">
              <a:spcBef>
                <a:spcPts val="1465"/>
              </a:spcBef>
              <a:spcAft>
                <a:spcPts val="0"/>
              </a:spcAft>
              <a:buClr>
                <a:schemeClr val="accent1"/>
              </a:buClr>
              <a:buSzPct val="80000"/>
              <a:buFont typeface="Wingdings 3" charset="2"/>
              <a:buChar char=""/>
              <a:defRPr sz="2050" kern="1200">
                <a:solidFill>
                  <a:schemeClr val="tx1">
                    <a:lumMod val="75000"/>
                    <a:lumOff val="25000"/>
                  </a:schemeClr>
                </a:solidFill>
                <a:latin typeface="+mn-lt"/>
                <a:ea typeface="+mn-ea"/>
                <a:cs typeface="+mn-cs"/>
              </a:defRPr>
            </a:lvl3pPr>
            <a:lvl4pPr marL="234365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4pPr>
            <a:lvl5pPr marL="3013268"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5pPr>
            <a:lvl6pPr marL="368288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6pPr>
            <a:lvl7pPr marL="4352498"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7pPr>
            <a:lvl8pPr marL="502211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8pPr>
            <a:lvl9pPr marL="5691729"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9pPr>
          </a:lstStyle>
          <a:p>
            <a:pPr marL="342900" indent="-342900" defTabSz="457213">
              <a:spcBef>
                <a:spcPts val="1800"/>
              </a:spcBef>
              <a:buClr>
                <a:srgbClr val="86BC25"/>
              </a:buClr>
              <a:defRPr/>
            </a:pPr>
            <a:r>
              <a:rPr lang="en-US" sz="1400">
                <a:solidFill>
                  <a:srgbClr val="000000"/>
                </a:solidFill>
                <a:latin typeface="Open Sans"/>
                <a:ea typeface="Open Sans"/>
                <a:cs typeface="Open Sans"/>
              </a:rPr>
              <a:t>Compliance enablers</a:t>
            </a:r>
            <a:r>
              <a:rPr lang="en-US" sz="1400">
                <a:latin typeface="Calibri"/>
                <a:ea typeface="Open Sans"/>
                <a:cs typeface="Calibri"/>
              </a:rPr>
              <a:t> – </a:t>
            </a:r>
            <a:r>
              <a:rPr lang="en-US" sz="1000">
                <a:solidFill>
                  <a:srgbClr val="000000"/>
                </a:solidFill>
                <a:latin typeface="Open Sans"/>
                <a:ea typeface="Open Sans"/>
                <a:cs typeface="Open Sans"/>
              </a:rPr>
              <a:t>These facilitate managing specific compliance activities, including Verification and Validation (V&amp;V), documentation and signoffs, and regulatory submissions and approvals.</a:t>
            </a:r>
          </a:p>
          <a:p>
            <a:pPr marL="633730" lvl="1" indent="-233680" defTabSz="457213">
              <a:spcBef>
                <a:spcPts val="1000"/>
              </a:spcBef>
              <a:buClr>
                <a:srgbClr val="5FCBEF"/>
              </a:buClr>
              <a:defRPr/>
            </a:pPr>
            <a:r>
              <a:rPr lang="en-US" sz="1400">
                <a:latin typeface="Open Sans"/>
                <a:ea typeface="Open Sans"/>
                <a:cs typeface="Open Sans"/>
              </a:rPr>
              <a:t>Contrast SQL Injection Vulnerability (Autocrats)</a:t>
            </a:r>
          </a:p>
          <a:p>
            <a:pPr marL="633730" lvl="1" indent="-233680" defTabSz="457213">
              <a:spcBef>
                <a:spcPts val="1000"/>
              </a:spcBef>
              <a:buClr>
                <a:srgbClr val="5FCBEF"/>
              </a:buClr>
              <a:defRPr/>
            </a:pPr>
            <a:r>
              <a:rPr lang="en-US" sz="1400">
                <a:latin typeface="Open Sans"/>
                <a:ea typeface="Open Sans"/>
                <a:cs typeface="Open Sans"/>
              </a:rPr>
              <a:t>Automate Contrast Agent Version Upgrades (Architects/Cloud Eagles)</a:t>
            </a:r>
          </a:p>
          <a:p>
            <a:pPr marL="342900" lvl="1" indent="-342900" defTabSz="457213">
              <a:spcBef>
                <a:spcPts val="1800"/>
              </a:spcBef>
              <a:buClr>
                <a:srgbClr val="86BC25"/>
              </a:buClr>
              <a:defRPr/>
            </a:pPr>
            <a:r>
              <a:rPr lang="en-US" sz="1400">
                <a:solidFill>
                  <a:srgbClr val="000000"/>
                </a:solidFill>
                <a:latin typeface="Open Sans"/>
                <a:ea typeface="Open Sans"/>
                <a:cs typeface="Open Sans"/>
              </a:rPr>
              <a:t>Exploration enablers – </a:t>
            </a:r>
            <a:r>
              <a:rPr lang="en-US" sz="1000">
                <a:solidFill>
                  <a:srgbClr val="000000"/>
                </a:solidFill>
                <a:latin typeface="Open Sans"/>
                <a:ea typeface="Open Sans"/>
                <a:cs typeface="Open Sans"/>
              </a:rPr>
              <a:t>These support research, prototyping, and other activities needed to develop an understanding of customer needs, including the exploration of prospective Solutions and evaluating alternatives. </a:t>
            </a:r>
            <a:endParaRPr lang="en-US" sz="2300">
              <a:cs typeface="Calibri"/>
            </a:endParaRPr>
          </a:p>
          <a:p>
            <a:pPr marL="633730" lvl="1" indent="-233680" defTabSz="457213">
              <a:spcBef>
                <a:spcPts val="1000"/>
              </a:spcBef>
              <a:buClr>
                <a:srgbClr val="5FCBEF"/>
              </a:buClr>
              <a:defRPr/>
            </a:pPr>
            <a:r>
              <a:rPr lang="en-US" sz="1400">
                <a:latin typeface="Open Sans"/>
                <a:ea typeface="Open Sans"/>
                <a:cs typeface="Open Sans"/>
              </a:rPr>
              <a:t>Design - Multi-version, copy/carry forward, reassign requests support in </a:t>
            </a:r>
            <a:r>
              <a:rPr lang="en-US" sz="1400" err="1">
                <a:latin typeface="Open Sans"/>
                <a:ea typeface="Open Sans"/>
                <a:cs typeface="Open Sans"/>
              </a:rPr>
              <a:t>Levvia</a:t>
            </a:r>
            <a:r>
              <a:rPr lang="en-US" sz="1400">
                <a:latin typeface="Open Sans"/>
                <a:ea typeface="Open Sans"/>
                <a:cs typeface="Open Sans"/>
              </a:rPr>
              <a:t> and Omnia (Architects)</a:t>
            </a:r>
          </a:p>
          <a:p>
            <a:pPr marL="633730" lvl="1" indent="-233680" defTabSz="457213">
              <a:spcBef>
                <a:spcPts val="1000"/>
              </a:spcBef>
              <a:buClr>
                <a:srgbClr val="5FCBEF"/>
              </a:buClr>
              <a:defRPr/>
            </a:pPr>
            <a:r>
              <a:rPr lang="en-US" sz="1400">
                <a:latin typeface="Open Sans"/>
                <a:ea typeface="Open Sans"/>
                <a:cs typeface="Open Sans"/>
              </a:rPr>
              <a:t>Design - </a:t>
            </a:r>
            <a:r>
              <a:rPr lang="en-US" sz="1400" err="1">
                <a:latin typeface="Open Sans"/>
                <a:ea typeface="Open Sans"/>
                <a:cs typeface="Open Sans"/>
              </a:rPr>
              <a:t>IConfirm</a:t>
            </a:r>
            <a:r>
              <a:rPr lang="en-US" sz="1400">
                <a:latin typeface="Open Sans"/>
                <a:ea typeface="Open Sans"/>
                <a:cs typeface="Open Sans"/>
              </a:rPr>
              <a:t> integration with Omnia and </a:t>
            </a:r>
            <a:r>
              <a:rPr lang="en-US" sz="1400" err="1">
                <a:latin typeface="Open Sans"/>
                <a:ea typeface="Open Sans"/>
                <a:cs typeface="Open Sans"/>
              </a:rPr>
              <a:t>Levvia</a:t>
            </a:r>
            <a:r>
              <a:rPr lang="en-US" sz="1400">
                <a:latin typeface="Open Sans"/>
                <a:ea typeface="Open Sans"/>
                <a:cs typeface="Open Sans"/>
              </a:rPr>
              <a:t> (Architects)</a:t>
            </a:r>
          </a:p>
          <a:p>
            <a:pPr marL="633730" lvl="1" indent="-233680" defTabSz="457213">
              <a:spcBef>
                <a:spcPts val="1000"/>
              </a:spcBef>
              <a:buClr>
                <a:srgbClr val="5FCBEF"/>
              </a:buClr>
              <a:defRPr/>
            </a:pPr>
            <a:r>
              <a:rPr lang="en-US" sz="1400">
                <a:latin typeface="Open Sans"/>
                <a:ea typeface="Open Sans"/>
                <a:cs typeface="Open Sans"/>
              </a:rPr>
              <a:t>Design - China RADC integration with Omnia and </a:t>
            </a:r>
            <a:r>
              <a:rPr lang="en-US" sz="1400" err="1">
                <a:latin typeface="Open Sans"/>
                <a:ea typeface="Open Sans"/>
                <a:cs typeface="Open Sans"/>
              </a:rPr>
              <a:t>Levvia</a:t>
            </a:r>
            <a:r>
              <a:rPr lang="en-US" sz="1400">
                <a:latin typeface="Open Sans"/>
                <a:ea typeface="Open Sans"/>
                <a:cs typeface="Open Sans"/>
              </a:rPr>
              <a:t> (Architects)</a:t>
            </a:r>
          </a:p>
          <a:p>
            <a:pPr marL="633730" lvl="1" indent="-233680" defTabSz="457213">
              <a:spcBef>
                <a:spcPts val="1000"/>
              </a:spcBef>
              <a:buClr>
                <a:srgbClr val="5FCBEF"/>
              </a:buClr>
              <a:defRPr/>
            </a:pPr>
            <a:r>
              <a:rPr lang="en-US" sz="1400">
                <a:latin typeface="Open Sans"/>
                <a:ea typeface="Open Sans"/>
                <a:cs typeface="Open Sans"/>
              </a:rPr>
              <a:t>Design – Omnia Execution Plan (Architects)</a:t>
            </a:r>
            <a:endParaRPr lang="en-US"/>
          </a:p>
          <a:p>
            <a:pPr marL="633730" lvl="1" indent="-233680" defTabSz="457213">
              <a:spcBef>
                <a:spcPts val="1000"/>
              </a:spcBef>
              <a:buClr>
                <a:srgbClr val="5FCBEF"/>
              </a:buClr>
              <a:defRPr/>
            </a:pPr>
            <a:r>
              <a:rPr lang="en-US" sz="1400">
                <a:latin typeface="Open Sans"/>
                <a:ea typeface="Open Sans"/>
                <a:cs typeface="Open Sans"/>
              </a:rPr>
              <a:t>Design - Auto-scheduling - Schedulers to Choose Autoschedule or Not (Architects)</a:t>
            </a:r>
          </a:p>
          <a:p>
            <a:pPr marL="633730" lvl="1" indent="-233680" defTabSz="457213">
              <a:spcBef>
                <a:spcPts val="1000"/>
              </a:spcBef>
              <a:buClr>
                <a:srgbClr val="5FCBEF"/>
              </a:buClr>
              <a:defRPr/>
            </a:pPr>
            <a:r>
              <a:rPr lang="en-US" sz="1400">
                <a:latin typeface="Open Sans"/>
                <a:ea typeface="Open Sans"/>
                <a:cs typeface="Open Sans"/>
              </a:rPr>
              <a:t>Design - Bulk Upload Request Config (Architects)</a:t>
            </a:r>
          </a:p>
          <a:p>
            <a:pPr marL="633730" lvl="1" indent="-233680" defTabSz="457213">
              <a:spcBef>
                <a:spcPts val="1000"/>
              </a:spcBef>
              <a:buClr>
                <a:srgbClr val="5FCBEF"/>
              </a:buClr>
              <a:defRPr/>
            </a:pPr>
            <a:r>
              <a:rPr lang="en-US" sz="1400">
                <a:latin typeface="Open Sans"/>
                <a:ea typeface="Open Sans"/>
                <a:cs typeface="Open Sans"/>
              </a:rPr>
              <a:t>Design - Allow for RADC Placeholder Assignments (Architects)</a:t>
            </a:r>
          </a:p>
          <a:p>
            <a:pPr marL="633730" lvl="1" indent="-233680" defTabSz="457213">
              <a:spcBef>
                <a:spcPts val="1000"/>
              </a:spcBef>
              <a:buClr>
                <a:srgbClr val="5FCBEF"/>
              </a:buClr>
              <a:defRPr/>
            </a:pPr>
            <a:r>
              <a:rPr lang="en-US" sz="1400">
                <a:latin typeface="Open Sans"/>
                <a:ea typeface="Open Sans"/>
                <a:cs typeface="Open Sans"/>
              </a:rPr>
              <a:t>Design - Ability to Set Standard Capacity by MF vs DC (Architects)</a:t>
            </a:r>
          </a:p>
          <a:p>
            <a:pPr marL="342900" lvl="1" indent="-342900" defTabSz="457213">
              <a:spcBef>
                <a:spcPts val="1800"/>
              </a:spcBef>
              <a:buClr>
                <a:srgbClr val="86BC25"/>
              </a:buClr>
            </a:pPr>
            <a:endParaRPr lang="en-US" sz="140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633730" lvl="1" indent="-233680" defTabSz="457213">
              <a:spcBef>
                <a:spcPts val="1000"/>
              </a:spcBef>
              <a:buClr>
                <a:srgbClr val="5FCBEF"/>
              </a:buClr>
            </a:pPr>
            <a:endParaRPr lang="en-US" sz="140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endParaRPr>
          </a:p>
          <a:p>
            <a:pPr marL="400050" lvl="1" indent="0" defTabSz="457213">
              <a:spcBef>
                <a:spcPts val="1000"/>
              </a:spcBef>
              <a:buClr>
                <a:srgbClr val="5FCBEF"/>
              </a:buClr>
              <a:buNone/>
            </a:pPr>
            <a:endParaRPr lang="en-GB" sz="140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endParaRPr>
          </a:p>
          <a:p>
            <a:pPr marL="400050" lvl="1" indent="0" defTabSz="457213">
              <a:spcBef>
                <a:spcPts val="1000"/>
              </a:spcBef>
              <a:buClr>
                <a:srgbClr val="5FCBEF"/>
              </a:buClr>
              <a:buNone/>
            </a:pPr>
            <a:endParaRPr lang="en-GB" sz="140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endParaRPr>
          </a:p>
          <a:p>
            <a:pPr marL="742950" lvl="1" indent="-285750" defTabSz="457213">
              <a:spcBef>
                <a:spcPts val="1000"/>
              </a:spcBef>
              <a:buClr>
                <a:srgbClr val="86BC25"/>
              </a:buClr>
              <a:buNone/>
            </a:pPr>
            <a:endParaRPr lang="en-GB" sz="140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Title 1">
            <a:extLst>
              <a:ext uri="{FF2B5EF4-FFF2-40B4-BE49-F238E27FC236}">
                <a16:creationId xmlns:a16="http://schemas.microsoft.com/office/drawing/2014/main" id="{5BDED99B-694F-434D-97D8-B0EE825A396B}"/>
              </a:ext>
            </a:extLst>
          </p:cNvPr>
          <p:cNvSpPr txBox="1">
            <a:spLocks/>
          </p:cNvSpPr>
          <p:nvPr/>
        </p:nvSpPr>
        <p:spPr>
          <a:xfrm>
            <a:off x="273129" y="128868"/>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panose="020B0606030504020204" pitchFamily="34" charset="0"/>
                <a:ea typeface="Open Sans" panose="020B0606030504020204" pitchFamily="34" charset="0"/>
                <a:cs typeface="Open Sans" panose="020B0606030504020204" pitchFamily="34" charset="0"/>
              </a:rPr>
              <a:t>Audit</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801" b="1">
                <a:latin typeface="Open Sans" panose="020B0606030504020204" pitchFamily="34" charset="0"/>
                <a:ea typeface="Open Sans" panose="020B0606030504020204" pitchFamily="34" charset="0"/>
                <a:cs typeface="Open Sans" panose="020B0606030504020204" pitchFamily="34" charset="0"/>
              </a:rPr>
              <a:t>Online -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rchitecture (Continued)</a:t>
            </a:r>
          </a:p>
        </p:txBody>
      </p:sp>
    </p:spTree>
    <p:extLst>
      <p:ext uri="{BB962C8B-B14F-4D97-AF65-F5344CB8AC3E}">
        <p14:creationId xmlns:p14="http://schemas.microsoft.com/office/powerpoint/2010/main" val="231871681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BDED99B-694F-434D-97D8-B0EE825A396B}"/>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685792" rtl="0" eaLnBrk="1" fontAlgn="auto" latinLnBrk="0" hangingPunct="1">
              <a:lnSpc>
                <a:spcPct val="90000"/>
              </a:lnSpc>
              <a:spcBef>
                <a:spcPct val="0"/>
              </a:spcBef>
              <a:spcAft>
                <a:spcPts val="0"/>
              </a:spcAft>
              <a:buClrTx/>
              <a:buSzTx/>
              <a:buFontTx/>
              <a:buNone/>
              <a:tabLst/>
              <a:defRPr/>
            </a:pPr>
            <a:r>
              <a:rPr kumimoji="0" lang="en-US" sz="1801"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dit</a:t>
            </a:r>
            <a:r>
              <a:rPr kumimoji="0" lang="en-US" sz="1801" b="1" i="0"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801"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nline  - </a:t>
            </a:r>
            <a:r>
              <a:rPr kumimoji="0" lang="en-US" sz="1801" b="1" i="0"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Multi-Geo Architecture (no change this release) </a:t>
            </a:r>
          </a:p>
        </p:txBody>
      </p:sp>
      <p:sp>
        <p:nvSpPr>
          <p:cNvPr id="5" name="Rectangle 4"/>
          <p:cNvSpPr/>
          <p:nvPr/>
        </p:nvSpPr>
        <p:spPr>
          <a:xfrm>
            <a:off x="4720075" y="800100"/>
            <a:ext cx="2518926" cy="1838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471052" y="3315996"/>
            <a:ext cx="595748" cy="1760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7853799" y="937990"/>
            <a:ext cx="2842775" cy="17004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7239000" y="937990"/>
            <a:ext cx="614799" cy="17004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p:nvSpPr>
        <p:spPr>
          <a:xfrm>
            <a:off x="1066800" y="3315995"/>
            <a:ext cx="595748" cy="1760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p:cNvSpPr/>
          <p:nvPr/>
        </p:nvSpPr>
        <p:spPr>
          <a:xfrm>
            <a:off x="7643377" y="3315995"/>
            <a:ext cx="595748" cy="1760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p:cNvSpPr/>
          <p:nvPr/>
        </p:nvSpPr>
        <p:spPr>
          <a:xfrm>
            <a:off x="8239125" y="3315994"/>
            <a:ext cx="595748" cy="1760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p:cNvSpPr/>
          <p:nvPr/>
        </p:nvSpPr>
        <p:spPr>
          <a:xfrm>
            <a:off x="8834873" y="3315992"/>
            <a:ext cx="2871352" cy="1760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p:cNvSpPr/>
          <p:nvPr/>
        </p:nvSpPr>
        <p:spPr>
          <a:xfrm>
            <a:off x="1662548" y="3315993"/>
            <a:ext cx="2871352" cy="1760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6" name="Picture 25" descr="Diagram&#10;&#10;Description automatically generated">
            <a:extLst>
              <a:ext uri="{FF2B5EF4-FFF2-40B4-BE49-F238E27FC236}">
                <a16:creationId xmlns:a16="http://schemas.microsoft.com/office/drawing/2014/main" id="{F0C3B2EC-1428-4CD8-A95C-489B086EB384}"/>
              </a:ext>
            </a:extLst>
          </p:cNvPr>
          <p:cNvPicPr>
            <a:picLocks noChangeAspect="1"/>
          </p:cNvPicPr>
          <p:nvPr/>
        </p:nvPicPr>
        <p:blipFill>
          <a:blip r:embed="rId2"/>
          <a:stretch>
            <a:fillRect/>
          </a:stretch>
        </p:blipFill>
        <p:spPr>
          <a:xfrm>
            <a:off x="190706" y="712180"/>
            <a:ext cx="11633613" cy="5821210"/>
          </a:xfrm>
          <a:prstGeom prst="rect">
            <a:avLst/>
          </a:prstGeom>
        </p:spPr>
      </p:pic>
    </p:spTree>
    <p:extLst>
      <p:ext uri="{BB962C8B-B14F-4D97-AF65-F5344CB8AC3E}">
        <p14:creationId xmlns:p14="http://schemas.microsoft.com/office/powerpoint/2010/main" val="3424447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6"/>
                                        </p:tgtEl>
                                      </p:cBhvr>
                                    </p:animEffect>
                                    <p:set>
                                      <p:cBhvr>
                                        <p:cTn id="10" dur="1" fill="hold">
                                          <p:stCondLst>
                                            <p:cond delay="499"/>
                                          </p:stCondLst>
                                        </p:cTn>
                                        <p:tgtEl>
                                          <p:spTgt spid="16"/>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5"/>
                                        </p:tgtEl>
                                      </p:cBhvr>
                                    </p:animEffect>
                                    <p:set>
                                      <p:cBhvr>
                                        <p:cTn id="13" dur="1" fill="hold">
                                          <p:stCondLst>
                                            <p:cond delay="499"/>
                                          </p:stCondLst>
                                        </p:cTn>
                                        <p:tgtEl>
                                          <p:spTgt spid="15"/>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par>
                                <p:cTn id="19" presetID="10" presetClass="exit" presetSubtype="0" fill="hold" grpId="0" nodeType="withEffect">
                                  <p:stCondLst>
                                    <p:cond delay="0"/>
                                  </p:stCondLst>
                                  <p:childTnLst>
                                    <p:animEffect transition="out" filter="fade">
                                      <p:cBhvr>
                                        <p:cTn id="20" dur="500"/>
                                        <p:tgtEl>
                                          <p:spTgt spid="7"/>
                                        </p:tgtEl>
                                      </p:cBhvr>
                                    </p:animEffect>
                                    <p:set>
                                      <p:cBhvr>
                                        <p:cTn id="21" dur="1" fill="hold">
                                          <p:stCondLst>
                                            <p:cond delay="499"/>
                                          </p:stCondLst>
                                        </p:cTn>
                                        <p:tgtEl>
                                          <p:spTgt spid="7"/>
                                        </p:tgtEl>
                                        <p:attrNameLst>
                                          <p:attrName>style.visibility</p:attrName>
                                        </p:attrNameLst>
                                      </p:cBhvr>
                                      <p:to>
                                        <p:strVal val="hidden"/>
                                      </p:to>
                                    </p:set>
                                  </p:childTnLst>
                                </p:cTn>
                              </p:par>
                              <p:par>
                                <p:cTn id="22" presetID="10" presetClass="exit" presetSubtype="0" fill="hold" grpId="0" nodeType="withEffect">
                                  <p:stCondLst>
                                    <p:cond delay="0"/>
                                  </p:stCondLst>
                                  <p:childTnLst>
                                    <p:animEffect transition="out" filter="fade">
                                      <p:cBhvr>
                                        <p:cTn id="23" dur="500"/>
                                        <p:tgtEl>
                                          <p:spTgt spid="12"/>
                                        </p:tgtEl>
                                      </p:cBhvr>
                                    </p:animEffect>
                                    <p:set>
                                      <p:cBhvr>
                                        <p:cTn id="24" dur="1" fill="hold">
                                          <p:stCondLst>
                                            <p:cond delay="499"/>
                                          </p:stCondLst>
                                        </p:cTn>
                                        <p:tgtEl>
                                          <p:spTgt spid="12"/>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grpId="0" nodeType="clickEffect">
                                  <p:stCondLst>
                                    <p:cond delay="0"/>
                                  </p:stCondLst>
                                  <p:childTnLst>
                                    <p:animEffect transition="out" filter="fade">
                                      <p:cBhvr>
                                        <p:cTn id="28" dur="500"/>
                                        <p:tgtEl>
                                          <p:spTgt spid="10"/>
                                        </p:tgtEl>
                                      </p:cBhvr>
                                    </p:animEffect>
                                    <p:set>
                                      <p:cBhvr>
                                        <p:cTn id="29" dur="1" fill="hold">
                                          <p:stCondLst>
                                            <p:cond delay="499"/>
                                          </p:stCondLst>
                                        </p:cTn>
                                        <p:tgtEl>
                                          <p:spTgt spid="10"/>
                                        </p:tgtEl>
                                        <p:attrNameLst>
                                          <p:attrName>style.visibility</p:attrName>
                                        </p:attrNameLst>
                                      </p:cBhvr>
                                      <p:to>
                                        <p:strVal val="hidden"/>
                                      </p:to>
                                    </p:set>
                                  </p:childTnLst>
                                </p:cTn>
                              </p:par>
                              <p:par>
                                <p:cTn id="30" presetID="10" presetClass="exit" presetSubtype="0" fill="hold" grpId="0" nodeType="withEffect">
                                  <p:stCondLst>
                                    <p:cond delay="0"/>
                                  </p:stCondLst>
                                  <p:childTnLst>
                                    <p:animEffect transition="out" filter="fade">
                                      <p:cBhvr>
                                        <p:cTn id="31" dur="500"/>
                                        <p:tgtEl>
                                          <p:spTgt spid="14"/>
                                        </p:tgtEl>
                                      </p:cBhvr>
                                    </p:animEffect>
                                    <p:set>
                                      <p:cBhvr>
                                        <p:cTn id="32" dur="1" fill="hold">
                                          <p:stCondLst>
                                            <p:cond delay="499"/>
                                          </p:stCondLst>
                                        </p:cTn>
                                        <p:tgtEl>
                                          <p:spTgt spid="14"/>
                                        </p:tgtEl>
                                        <p:attrNameLst>
                                          <p:attrName>style.visibility</p:attrName>
                                        </p:attrNameLst>
                                      </p:cBhvr>
                                      <p:to>
                                        <p:strVal val="hidden"/>
                                      </p:to>
                                    </p:set>
                                  </p:childTnLst>
                                </p:cTn>
                              </p:par>
                              <p:par>
                                <p:cTn id="33" presetID="10" presetClass="exit" presetSubtype="0" fill="hold" grpId="0" nodeType="withEffect">
                                  <p:stCondLst>
                                    <p:cond delay="0"/>
                                  </p:stCondLst>
                                  <p:childTnLst>
                                    <p:animEffect transition="out" filter="fade">
                                      <p:cBhvr>
                                        <p:cTn id="34" dur="500"/>
                                        <p:tgtEl>
                                          <p:spTgt spid="11"/>
                                        </p:tgtEl>
                                      </p:cBhvr>
                                    </p:animEffect>
                                    <p:set>
                                      <p:cBhvr>
                                        <p:cTn id="35"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P spid="10" grpId="0" animBg="1"/>
      <p:bldP spid="11" grpId="0" animBg="1"/>
      <p:bldP spid="12" grpId="0" animBg="1"/>
      <p:bldP spid="14" grpId="0" animBg="1"/>
      <p:bldP spid="16" grpId="0" animBg="1"/>
      <p:bldP spid="1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9"/>
          <p:cNvSpPr txBox="1">
            <a:spLocks/>
          </p:cNvSpPr>
          <p:nvPr/>
        </p:nvSpPr>
        <p:spPr>
          <a:xfrm>
            <a:off x="372484" y="910921"/>
            <a:ext cx="11447032" cy="5552179"/>
          </a:xfrm>
          <a:prstGeom prst="rect">
            <a:avLst/>
          </a:prstGeom>
        </p:spPr>
        <p:txBody>
          <a:bodyPr vert="horz" lIns="0" tIns="0" rIns="0" bIns="0" rtlCol="0" anchor="t">
            <a:noAutofit/>
          </a:bodyPr>
          <a:lstStyle>
            <a:lvl1pPr marL="502211" indent="-502211" algn="l" defTabSz="669615" rtl="0" eaLnBrk="1" latinLnBrk="0" hangingPunct="1">
              <a:spcBef>
                <a:spcPts val="1465"/>
              </a:spcBef>
              <a:spcAft>
                <a:spcPts val="0"/>
              </a:spcAft>
              <a:buClr>
                <a:schemeClr val="accent1"/>
              </a:buClr>
              <a:buSzPct val="80000"/>
              <a:buFont typeface="Wingdings 3" charset="2"/>
              <a:buChar char=""/>
              <a:defRPr sz="2636" kern="1200">
                <a:solidFill>
                  <a:schemeClr val="tx1">
                    <a:lumMod val="75000"/>
                    <a:lumOff val="25000"/>
                  </a:schemeClr>
                </a:solidFill>
                <a:latin typeface="+mn-lt"/>
                <a:ea typeface="+mn-ea"/>
                <a:cs typeface="+mn-cs"/>
              </a:defRPr>
            </a:lvl1pPr>
            <a:lvl2pPr marL="1088125" indent="-418509" algn="l" defTabSz="669615" rtl="0" eaLnBrk="1" latinLnBrk="0" hangingPunct="1">
              <a:spcBef>
                <a:spcPts val="1465"/>
              </a:spcBef>
              <a:spcAft>
                <a:spcPts val="0"/>
              </a:spcAft>
              <a:buClr>
                <a:schemeClr val="accent1"/>
              </a:buClr>
              <a:buSzPct val="80000"/>
              <a:buFont typeface="Wingdings 3" charset="2"/>
              <a:buChar char=""/>
              <a:defRPr sz="2343" kern="1200">
                <a:solidFill>
                  <a:schemeClr val="tx1">
                    <a:lumMod val="75000"/>
                    <a:lumOff val="25000"/>
                  </a:schemeClr>
                </a:solidFill>
                <a:latin typeface="+mn-lt"/>
                <a:ea typeface="+mn-ea"/>
                <a:cs typeface="+mn-cs"/>
              </a:defRPr>
            </a:lvl2pPr>
            <a:lvl3pPr marL="1674038" indent="-334808" algn="l" defTabSz="669615" rtl="0" eaLnBrk="1" latinLnBrk="0" hangingPunct="1">
              <a:spcBef>
                <a:spcPts val="1465"/>
              </a:spcBef>
              <a:spcAft>
                <a:spcPts val="0"/>
              </a:spcAft>
              <a:buClr>
                <a:schemeClr val="accent1"/>
              </a:buClr>
              <a:buSzPct val="80000"/>
              <a:buFont typeface="Wingdings 3" charset="2"/>
              <a:buChar char=""/>
              <a:defRPr sz="2050" kern="1200">
                <a:solidFill>
                  <a:schemeClr val="tx1">
                    <a:lumMod val="75000"/>
                    <a:lumOff val="25000"/>
                  </a:schemeClr>
                </a:solidFill>
                <a:latin typeface="+mn-lt"/>
                <a:ea typeface="+mn-ea"/>
                <a:cs typeface="+mn-cs"/>
              </a:defRPr>
            </a:lvl3pPr>
            <a:lvl4pPr marL="234365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4pPr>
            <a:lvl5pPr marL="3013268"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5pPr>
            <a:lvl6pPr marL="368288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6pPr>
            <a:lvl7pPr marL="4352498"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7pPr>
            <a:lvl8pPr marL="502211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8pPr>
            <a:lvl9pPr marL="5691729"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9pPr>
          </a:lstStyle>
          <a:p>
            <a:pPr marL="342900" indent="-342900" defTabSz="457213">
              <a:spcBef>
                <a:spcPts val="1800"/>
              </a:spcBef>
              <a:buClr>
                <a:srgbClr val="86BC25"/>
              </a:buClr>
            </a:pPr>
            <a:r>
              <a:rPr lang="en-US" sz="1400">
                <a:solidFill>
                  <a:srgbClr val="000000"/>
                </a:solidFill>
                <a:latin typeface="Open Sans"/>
                <a:ea typeface="Open Sans" panose="020B0606030504020204" pitchFamily="34" charset="0"/>
                <a:cs typeface="Open Sans" panose="020B0606030504020204" pitchFamily="34" charset="0"/>
              </a:rPr>
              <a:t>Architectural enablers – </a:t>
            </a:r>
            <a:r>
              <a:rPr lang="en-US" sz="1000">
                <a:solidFill>
                  <a:srgbClr val="000000"/>
                </a:solidFill>
                <a:latin typeface="Open Sans"/>
                <a:ea typeface="Open Sans" panose="020B0606030504020204" pitchFamily="34" charset="0"/>
                <a:cs typeface="Open Sans" panose="020B0606030504020204" pitchFamily="34" charset="0"/>
              </a:rPr>
              <a:t>These are created to build the architectural runway, which allows smoother and faster development. </a:t>
            </a:r>
            <a:endParaRPr lang="en-US"/>
          </a:p>
          <a:p>
            <a:pPr marL="633730" lvl="1" indent="-233680" defTabSz="457213">
              <a:spcBef>
                <a:spcPts val="1000"/>
              </a:spcBef>
              <a:buClr>
                <a:srgbClr val="5FCBEF"/>
              </a:buClr>
              <a:defRPr/>
            </a:pPr>
            <a:r>
              <a:rPr lang="en-US" sz="1400">
                <a:latin typeface="Open Sans"/>
                <a:ea typeface="Open Sans" panose="020B0606030504020204" pitchFamily="34" charset="0"/>
                <a:cs typeface="Open Sans" panose="020B0606030504020204" pitchFamily="34" charset="0"/>
              </a:rPr>
              <a:t>Performance improvements </a:t>
            </a:r>
          </a:p>
          <a:p>
            <a:pPr marL="1219643" lvl="2" indent="-233680" defTabSz="457213">
              <a:spcBef>
                <a:spcPts val="1000"/>
              </a:spcBef>
              <a:buClr>
                <a:srgbClr val="5FCBEF"/>
              </a:buClr>
              <a:defRPr/>
            </a:pPr>
            <a:r>
              <a:rPr lang="en-US" sz="1107">
                <a:latin typeface="Open Sans"/>
                <a:ea typeface="Open Sans" panose="020B0606030504020204" pitchFamily="34" charset="0"/>
                <a:cs typeface="Open Sans" panose="020B0606030504020204" pitchFamily="34" charset="0"/>
              </a:rPr>
              <a:t>http competencies – Two APIs in IFM section</a:t>
            </a:r>
          </a:p>
          <a:p>
            <a:pPr marL="1219643" lvl="2" indent="-233680" defTabSz="457213">
              <a:spcBef>
                <a:spcPts val="1000"/>
              </a:spcBef>
              <a:buClr>
                <a:srgbClr val="5FCBEF"/>
              </a:buClr>
              <a:defRPr/>
            </a:pPr>
            <a:r>
              <a:rPr lang="en-US" sz="1107">
                <a:latin typeface="Open Sans"/>
                <a:ea typeface="Open Sans" panose="020B0606030504020204" pitchFamily="34" charset="0"/>
                <a:cs typeface="Open Sans" panose="020B0606030504020204" pitchFamily="34" charset="0"/>
              </a:rPr>
              <a:t>Report generation – GRA POA, Internal Control Report</a:t>
            </a:r>
          </a:p>
          <a:p>
            <a:pPr marL="342900" indent="-342900" defTabSz="457213">
              <a:spcBef>
                <a:spcPts val="1800"/>
              </a:spcBef>
              <a:buClr>
                <a:srgbClr val="86BC25"/>
              </a:buClr>
            </a:pPr>
            <a:r>
              <a:rPr lang="en-US" sz="1400">
                <a:solidFill>
                  <a:srgbClr val="000000"/>
                </a:solidFill>
                <a:latin typeface="Open Sans"/>
                <a:ea typeface="Open Sans" panose="020B0606030504020204" pitchFamily="34" charset="0"/>
                <a:cs typeface="Open Sans" panose="020B0606030504020204" pitchFamily="34" charset="0"/>
              </a:rPr>
              <a:t>Infrastructure enablers – </a:t>
            </a:r>
            <a:r>
              <a:rPr lang="en-US" sz="1000">
                <a:solidFill>
                  <a:srgbClr val="000000"/>
                </a:solidFill>
                <a:latin typeface="Open Sans"/>
                <a:ea typeface="Open Sans" panose="020B0606030504020204" pitchFamily="34" charset="0"/>
                <a:cs typeface="Open Sans" panose="020B0606030504020204" pitchFamily="34" charset="0"/>
              </a:rPr>
              <a:t>These are created to build, enhance, and automate the development, testing, monitoring, and deployment environments. They facilitate faster development, higher-quality testing, and a faster Continuous Delivery Pipeline. </a:t>
            </a:r>
          </a:p>
          <a:p>
            <a:pPr marL="633730" lvl="1" indent="-233680" defTabSz="457213">
              <a:spcBef>
                <a:spcPts val="1000"/>
              </a:spcBef>
              <a:buClr>
                <a:srgbClr val="5FCBEF"/>
              </a:buClr>
              <a:defRPr/>
            </a:pPr>
            <a:r>
              <a:rPr lang="en-US" sz="1400">
                <a:latin typeface="Open Sans"/>
              </a:rPr>
              <a:t>AppInsights – On-Prem</a:t>
            </a:r>
            <a:endParaRPr lang="en-US" sz="1400">
              <a:latin typeface="Open Sans"/>
              <a:ea typeface="Open Sans" panose="020B0606030504020204" pitchFamily="34" charset="0"/>
              <a:cs typeface="Open Sans" panose="020B0606030504020204" pitchFamily="34" charset="0"/>
            </a:endParaRPr>
          </a:p>
          <a:p>
            <a:pPr marL="633730" lvl="1" indent="-233680" defTabSz="457213">
              <a:spcBef>
                <a:spcPts val="1000"/>
              </a:spcBef>
              <a:buClr>
                <a:srgbClr val="5FCBEF"/>
              </a:buClr>
              <a:defRPr/>
            </a:pPr>
            <a:r>
              <a:rPr lang="en-US" sz="1400">
                <a:latin typeface="Open Sans"/>
                <a:ea typeface="Open Sans" panose="020B0606030504020204" pitchFamily="34" charset="0"/>
                <a:cs typeface="Open Sans" panose="020B0606030504020204" pitchFamily="34" charset="0"/>
              </a:rPr>
              <a:t>Automation of scripts that are run from DevOps (I.e., onboarding, Submitting Scans, etc.)</a:t>
            </a:r>
          </a:p>
          <a:p>
            <a:pPr marL="633730" lvl="1" indent="-233680" defTabSz="457213">
              <a:spcBef>
                <a:spcPts val="1000"/>
              </a:spcBef>
              <a:buClr>
                <a:srgbClr val="5FCBEF"/>
              </a:buClr>
              <a:defRPr/>
            </a:pPr>
            <a:r>
              <a:rPr lang="en-US" sz="1400">
                <a:latin typeface="Open Sans"/>
                <a:ea typeface="Open Sans" panose="020B0606030504020204" pitchFamily="34" charset="0"/>
                <a:cs typeface="Open Sans" panose="020B0606030504020204" pitchFamily="34" charset="0"/>
              </a:rPr>
              <a:t>Code cleanup ( i.e., </a:t>
            </a:r>
            <a:r>
              <a:rPr lang="en-US" sz="1200">
                <a:latin typeface="Open Sans"/>
                <a:ea typeface="Open Sans" panose="020B0606030504020204" pitchFamily="34" charset="0"/>
                <a:cs typeface="Open Sans" panose="020B0606030504020204" pitchFamily="34" charset="0"/>
              </a:rPr>
              <a:t>API and UI code</a:t>
            </a:r>
            <a:r>
              <a:rPr lang="en-US" sz="1400">
                <a:latin typeface="Open Sans"/>
                <a:ea typeface="Open Sans" panose="020B0606030504020204" pitchFamily="34" charset="0"/>
                <a:cs typeface="Open Sans" panose="020B0606030504020204" pitchFamily="34" charset="0"/>
              </a:rPr>
              <a:t> )</a:t>
            </a:r>
          </a:p>
          <a:p>
            <a:pPr marL="633730" lvl="1" indent="-233680" defTabSz="457213">
              <a:spcBef>
                <a:spcPts val="1000"/>
              </a:spcBef>
              <a:buClr>
                <a:srgbClr val="5FCBEF"/>
              </a:buClr>
              <a:defRPr/>
            </a:pPr>
            <a:r>
              <a:rPr lang="en-US" sz="1400">
                <a:latin typeface="Open Sans"/>
                <a:ea typeface="Open Sans" panose="020B0606030504020204" pitchFamily="34" charset="0"/>
                <a:cs typeface="Open Sans" panose="020B0606030504020204" pitchFamily="34" charset="0"/>
              </a:rPr>
              <a:t>Moving Diagnostics to Cloud - </a:t>
            </a:r>
            <a:r>
              <a:rPr lang="en-US" sz="1400" err="1">
                <a:latin typeface="Open Sans"/>
                <a:ea typeface="Open Sans" panose="020B0606030504020204" pitchFamily="34" charset="0"/>
                <a:cs typeface="Open Sans" panose="020B0606030504020204" pitchFamily="34" charset="0"/>
              </a:rPr>
              <a:t>PoC</a:t>
            </a:r>
            <a:endParaRPr lang="en-US" sz="1400">
              <a:latin typeface="Open Sans"/>
            </a:endParaRPr>
          </a:p>
          <a:p>
            <a:pPr marL="342900" indent="-342900" defTabSz="457213">
              <a:spcBef>
                <a:spcPts val="1800"/>
              </a:spcBef>
              <a:buClr>
                <a:srgbClr val="86BC25"/>
              </a:buClr>
            </a:pPr>
            <a:r>
              <a:rPr lang="en-US" sz="1400">
                <a:solidFill>
                  <a:srgbClr val="000000"/>
                </a:solidFill>
                <a:latin typeface="Open Sans"/>
                <a:ea typeface="Open Sans" panose="020B0606030504020204" pitchFamily="34" charset="0"/>
                <a:cs typeface="Open Sans" panose="020B0606030504020204" pitchFamily="34" charset="0"/>
              </a:rPr>
              <a:t>Compliance enablers – </a:t>
            </a:r>
            <a:r>
              <a:rPr lang="en-US" sz="1000">
                <a:solidFill>
                  <a:srgbClr val="000000"/>
                </a:solidFill>
                <a:latin typeface="Open Sans"/>
                <a:ea typeface="Open Sans" panose="020B0606030504020204" pitchFamily="34" charset="0"/>
                <a:cs typeface="Open Sans" panose="020B0606030504020204" pitchFamily="34" charset="0"/>
              </a:rPr>
              <a:t>These facilitate managing specific compliance activities, including Verification and Validation (V&amp;V), documentation and signoffs, and regulatory submissions and approvals.</a:t>
            </a:r>
          </a:p>
          <a:p>
            <a:pPr marL="633730" lvl="1" indent="-233680" defTabSz="457213">
              <a:spcBef>
                <a:spcPts val="1000"/>
              </a:spcBef>
              <a:buClr>
                <a:srgbClr val="5FCBEF"/>
              </a:buClr>
              <a:defRPr/>
            </a:pPr>
            <a:r>
              <a:rPr lang="en-US" sz="1400">
                <a:latin typeface="Open Sans"/>
                <a:ea typeface="Open Sans" panose="020B0606030504020204" pitchFamily="34" charset="0"/>
                <a:cs typeface="Open Sans" panose="020B0606030504020204" pitchFamily="34" charset="0"/>
              </a:rPr>
              <a:t>Update CSP and Http responses</a:t>
            </a:r>
          </a:p>
          <a:p>
            <a:pPr marL="633730" lvl="1" indent="-233680" defTabSz="457213">
              <a:spcBef>
                <a:spcPts val="1000"/>
              </a:spcBef>
              <a:buClr>
                <a:srgbClr val="5FCBEF"/>
              </a:buClr>
              <a:defRPr/>
            </a:pPr>
            <a:r>
              <a:rPr lang="en-US" sz="1400">
                <a:latin typeface="Open Sans"/>
                <a:ea typeface="Open Sans" panose="020B0606030504020204" pitchFamily="34" charset="0"/>
                <a:cs typeface="Open Sans" panose="020B0606030504020204" pitchFamily="34" charset="0"/>
              </a:rPr>
              <a:t>Upgrade to TLS 1.3 - </a:t>
            </a:r>
            <a:r>
              <a:rPr lang="en-US" sz="1000">
                <a:latin typeface="Open Sans"/>
                <a:ea typeface="Open Sans" panose="020B0606030504020204" pitchFamily="34" charset="0"/>
                <a:cs typeface="Open Sans" panose="020B0606030504020204" pitchFamily="34" charset="0"/>
              </a:rPr>
              <a:t>Subject to Global recommendations</a:t>
            </a:r>
            <a:endParaRPr lang="en-US" sz="1400">
              <a:latin typeface="Open Sans"/>
              <a:ea typeface="Open Sans" panose="020B0606030504020204" pitchFamily="34" charset="0"/>
              <a:cs typeface="Open Sans" panose="020B0606030504020204" pitchFamily="34" charset="0"/>
            </a:endParaRPr>
          </a:p>
        </p:txBody>
      </p:sp>
      <p:sp>
        <p:nvSpPr>
          <p:cNvPr id="5" name="Title 1">
            <a:extLst>
              <a:ext uri="{FF2B5EF4-FFF2-40B4-BE49-F238E27FC236}">
                <a16:creationId xmlns:a16="http://schemas.microsoft.com/office/drawing/2014/main" id="{28169DCB-1A3E-4223-8E67-BDDCDD7C50F1}"/>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685792" rtl="0" eaLnBrk="1" fontAlgn="auto" latinLnBrk="0" hangingPunct="1">
              <a:lnSpc>
                <a:spcPct val="90000"/>
              </a:lnSpc>
              <a:spcBef>
                <a:spcPct val="0"/>
              </a:spcBef>
              <a:spcAft>
                <a:spcPts val="0"/>
              </a:spcAft>
              <a:buClrTx/>
              <a:buSzTx/>
              <a:buFontTx/>
              <a:buNone/>
              <a:tabLst/>
              <a:defRPr/>
            </a:pPr>
            <a:r>
              <a:rPr kumimoji="0" lang="en-US" sz="1801"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agnostics </a:t>
            </a:r>
            <a:r>
              <a:rPr kumimoji="0" lang="en-US" sz="1801" b="1" i="0"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rchitecture </a:t>
            </a:r>
          </a:p>
        </p:txBody>
      </p:sp>
    </p:spTree>
    <p:extLst>
      <p:ext uri="{BB962C8B-B14F-4D97-AF65-F5344CB8AC3E}">
        <p14:creationId xmlns:p14="http://schemas.microsoft.com/office/powerpoint/2010/main" val="160709842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BDED99B-694F-434D-97D8-B0EE825A396B}"/>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685792" rtl="0" eaLnBrk="1" fontAlgn="auto" latinLnBrk="0" hangingPunct="1">
              <a:lnSpc>
                <a:spcPct val="90000"/>
              </a:lnSpc>
              <a:spcBef>
                <a:spcPct val="0"/>
              </a:spcBef>
              <a:spcAft>
                <a:spcPts val="0"/>
              </a:spcAft>
              <a:buClrTx/>
              <a:buSzTx/>
              <a:buFontTx/>
              <a:buNone/>
              <a:tabLst/>
              <a:defRPr/>
            </a:pPr>
            <a:r>
              <a:rPr kumimoji="0" lang="en-US" sz="1801"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agnostics </a:t>
            </a:r>
            <a:r>
              <a:rPr kumimoji="0" lang="en-US" sz="1801" b="1" i="0"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no change this release) </a:t>
            </a:r>
          </a:p>
        </p:txBody>
      </p:sp>
      <p:pic>
        <p:nvPicPr>
          <p:cNvPr id="1028" name="Picture 4">
            <a:extLst>
              <a:ext uri="{FF2B5EF4-FFF2-40B4-BE49-F238E27FC236}">
                <a16:creationId xmlns:a16="http://schemas.microsoft.com/office/drawing/2014/main" id="{FB19702A-E230-49AE-B294-967EA7E74A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2556" y="1046964"/>
            <a:ext cx="10418959" cy="4172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300338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9"/>
          <p:cNvSpPr txBox="1">
            <a:spLocks/>
          </p:cNvSpPr>
          <p:nvPr/>
        </p:nvSpPr>
        <p:spPr>
          <a:xfrm>
            <a:off x="474965" y="781396"/>
            <a:ext cx="11162852" cy="5706490"/>
          </a:xfrm>
          <a:prstGeom prst="rect">
            <a:avLst/>
          </a:prstGeom>
        </p:spPr>
        <p:txBody>
          <a:bodyPr vert="horz" lIns="0" tIns="0" rIns="0" bIns="0" rtlCol="0" anchor="t">
            <a:noAutofit/>
          </a:bodyPr>
          <a:lstStyle>
            <a:lvl1pPr marL="502211" indent="-502211" algn="l" defTabSz="669615" rtl="0" eaLnBrk="1" latinLnBrk="0" hangingPunct="1">
              <a:spcBef>
                <a:spcPts val="1465"/>
              </a:spcBef>
              <a:spcAft>
                <a:spcPts val="0"/>
              </a:spcAft>
              <a:buClr>
                <a:schemeClr val="accent1"/>
              </a:buClr>
              <a:buSzPct val="80000"/>
              <a:buFont typeface="Wingdings 3" charset="2"/>
              <a:buChar char=""/>
              <a:defRPr sz="2636" kern="1200">
                <a:solidFill>
                  <a:schemeClr val="tx1">
                    <a:lumMod val="75000"/>
                    <a:lumOff val="25000"/>
                  </a:schemeClr>
                </a:solidFill>
                <a:latin typeface="+mn-lt"/>
                <a:ea typeface="+mn-ea"/>
                <a:cs typeface="+mn-cs"/>
              </a:defRPr>
            </a:lvl1pPr>
            <a:lvl2pPr marL="1088125" indent="-418509" algn="l" defTabSz="669615" rtl="0" eaLnBrk="1" latinLnBrk="0" hangingPunct="1">
              <a:spcBef>
                <a:spcPts val="1465"/>
              </a:spcBef>
              <a:spcAft>
                <a:spcPts val="0"/>
              </a:spcAft>
              <a:buClr>
                <a:schemeClr val="accent1"/>
              </a:buClr>
              <a:buSzPct val="80000"/>
              <a:buFont typeface="Wingdings 3" charset="2"/>
              <a:buChar char=""/>
              <a:defRPr sz="2343" kern="1200">
                <a:solidFill>
                  <a:schemeClr val="tx1">
                    <a:lumMod val="75000"/>
                    <a:lumOff val="25000"/>
                  </a:schemeClr>
                </a:solidFill>
                <a:latin typeface="+mn-lt"/>
                <a:ea typeface="+mn-ea"/>
                <a:cs typeface="+mn-cs"/>
              </a:defRPr>
            </a:lvl2pPr>
            <a:lvl3pPr marL="1674038" indent="-334808" algn="l" defTabSz="669615" rtl="0" eaLnBrk="1" latinLnBrk="0" hangingPunct="1">
              <a:spcBef>
                <a:spcPts val="1465"/>
              </a:spcBef>
              <a:spcAft>
                <a:spcPts val="0"/>
              </a:spcAft>
              <a:buClr>
                <a:schemeClr val="accent1"/>
              </a:buClr>
              <a:buSzPct val="80000"/>
              <a:buFont typeface="Wingdings 3" charset="2"/>
              <a:buChar char=""/>
              <a:defRPr sz="2050" kern="1200">
                <a:solidFill>
                  <a:schemeClr val="tx1">
                    <a:lumMod val="75000"/>
                    <a:lumOff val="25000"/>
                  </a:schemeClr>
                </a:solidFill>
                <a:latin typeface="+mn-lt"/>
                <a:ea typeface="+mn-ea"/>
                <a:cs typeface="+mn-cs"/>
              </a:defRPr>
            </a:lvl3pPr>
            <a:lvl4pPr marL="234365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4pPr>
            <a:lvl5pPr marL="3013268"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5pPr>
            <a:lvl6pPr marL="368288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6pPr>
            <a:lvl7pPr marL="4352498"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7pPr>
            <a:lvl8pPr marL="502211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8pPr>
            <a:lvl9pPr marL="5691729"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9pPr>
          </a:lstStyle>
          <a:p>
            <a:pPr marL="342900" indent="-342900" defTabSz="457213">
              <a:spcBef>
                <a:spcPts val="1000"/>
              </a:spcBef>
              <a:buClr>
                <a:srgbClr val="86BC25"/>
              </a:buClr>
            </a:pPr>
            <a:r>
              <a:rPr lang="en-US" sz="1400">
                <a:solidFill>
                  <a:srgbClr val="000000"/>
                </a:solidFill>
                <a:latin typeface="Open Sans"/>
                <a:ea typeface="Open Sans" panose="020B0606030504020204" pitchFamily="34" charset="0"/>
                <a:cs typeface="Open Sans" panose="020B0606030504020204" pitchFamily="34" charset="0"/>
              </a:rPr>
              <a:t>Exploration enablers – </a:t>
            </a:r>
            <a:r>
              <a:rPr lang="en-US" sz="1000">
                <a:solidFill>
                  <a:srgbClr val="000000"/>
                </a:solidFill>
                <a:latin typeface="Open Sans"/>
                <a:ea typeface="Open Sans" panose="020B0606030504020204" pitchFamily="34" charset="0"/>
                <a:cs typeface="Open Sans" panose="020B0606030504020204" pitchFamily="34" charset="0"/>
              </a:rPr>
              <a:t>These support research, prototyping, and other activities needed to develop an understanding of customer needs, including the exploration of prospective Solutions and evaluating alternatives. </a:t>
            </a:r>
            <a:endParaRPr lang="en-US" sz="1000">
              <a:latin typeface="Open Sans"/>
              <a:ea typeface="Open Sans" panose="020B0606030504020204" pitchFamily="34" charset="0"/>
              <a:cs typeface="Open Sans" panose="020B0606030504020204" pitchFamily="34" charset="0"/>
            </a:endParaRPr>
          </a:p>
          <a:p>
            <a:pPr marL="742950" lvl="1" indent="-285750" defTabSz="457213">
              <a:spcBef>
                <a:spcPts val="1000"/>
              </a:spcBef>
              <a:buClr>
                <a:schemeClr val="accent3"/>
              </a:buClr>
            </a:pPr>
            <a:r>
              <a:rPr lang="en-GB" sz="1400">
                <a:latin typeface="Open Sans"/>
                <a:ea typeface="Open Sans" panose="020B0606030504020204" pitchFamily="34" charset="0"/>
                <a:cs typeface="Open Sans" panose="020B0606030504020204" pitchFamily="34" charset="0"/>
              </a:rPr>
              <a:t>Ink integration for review questionnaires</a:t>
            </a:r>
          </a:p>
          <a:p>
            <a:pPr marL="342900" indent="-342900" defTabSz="457213">
              <a:spcBef>
                <a:spcPts val="1800"/>
              </a:spcBef>
              <a:buClr>
                <a:srgbClr val="86BC25"/>
              </a:buClr>
            </a:pPr>
            <a:r>
              <a:rPr lang="en-US" sz="1400">
                <a:solidFill>
                  <a:srgbClr val="000000"/>
                </a:solidFill>
                <a:latin typeface="Open Sans"/>
                <a:ea typeface="Open Sans" panose="020B0606030504020204" pitchFamily="34" charset="0"/>
                <a:cs typeface="Open Sans" panose="020B0606030504020204" pitchFamily="34" charset="0"/>
              </a:rPr>
              <a:t>Architectural enablers – </a:t>
            </a:r>
            <a:r>
              <a:rPr lang="en-US" sz="1000">
                <a:solidFill>
                  <a:srgbClr val="000000"/>
                </a:solidFill>
                <a:latin typeface="Open Sans"/>
                <a:ea typeface="Open Sans" panose="020B0606030504020204" pitchFamily="34" charset="0"/>
                <a:cs typeface="Open Sans" panose="020B0606030504020204" pitchFamily="34" charset="0"/>
              </a:rPr>
              <a:t>These are created to build the architectural runway, which allows smoother and faster development. </a:t>
            </a:r>
            <a:endParaRPr lang="en-US" sz="1400">
              <a:solidFill>
                <a:sysClr val="windowText" lastClr="000000">
                  <a:lumMod val="75000"/>
                  <a:lumOff val="25000"/>
                </a:sysClr>
              </a:solidFill>
              <a:latin typeface="Open Sans"/>
              <a:ea typeface="Open Sans" panose="020B0606030504020204" pitchFamily="34" charset="0"/>
              <a:cs typeface="Open Sans" panose="020B0606030504020204" pitchFamily="34" charset="0"/>
            </a:endParaRPr>
          </a:p>
          <a:p>
            <a:pPr marL="742950" lvl="1" indent="-285750" defTabSz="457213">
              <a:spcBef>
                <a:spcPts val="1000"/>
              </a:spcBef>
              <a:buClr>
                <a:schemeClr val="accent3"/>
              </a:buClr>
            </a:pPr>
            <a:r>
              <a:rPr lang="en-US" sz="1400">
                <a:latin typeface="Open Sans"/>
                <a:ea typeface="Open Sans" panose="020B0606030504020204" pitchFamily="34" charset="0"/>
                <a:cs typeface="Open Sans" panose="020B0606030504020204" pitchFamily="34" charset="0"/>
              </a:rPr>
              <a:t>Ink integration for AER</a:t>
            </a:r>
          </a:p>
          <a:p>
            <a:pPr marL="742950" lvl="1" indent="-285750" defTabSz="457213">
              <a:spcBef>
                <a:spcPts val="1000"/>
              </a:spcBef>
              <a:buClr>
                <a:schemeClr val="accent3"/>
              </a:buClr>
            </a:pPr>
            <a:r>
              <a:rPr lang="en-US" sz="1400">
                <a:latin typeface="Open Sans"/>
                <a:ea typeface="Open Sans" panose="020B0606030504020204" pitchFamily="34" charset="0"/>
                <a:cs typeface="Open Sans" panose="020B0606030504020204" pitchFamily="34" charset="0"/>
              </a:rPr>
              <a:t>Database Normalization</a:t>
            </a:r>
          </a:p>
          <a:p>
            <a:pPr marL="742950" lvl="1" indent="-285750" defTabSz="457213">
              <a:spcBef>
                <a:spcPts val="1000"/>
              </a:spcBef>
              <a:buClr>
                <a:schemeClr val="accent3"/>
              </a:buClr>
            </a:pPr>
            <a:r>
              <a:rPr lang="en-US" sz="1400">
                <a:latin typeface="Open Sans"/>
                <a:ea typeface="Open Sans" panose="020B0606030504020204" pitchFamily="34" charset="0"/>
                <a:cs typeface="Open Sans" panose="020B0606030504020204" pitchFamily="34" charset="0"/>
              </a:rPr>
              <a:t>Log Archiving</a:t>
            </a:r>
          </a:p>
          <a:p>
            <a:pPr marL="342900" indent="-342900" defTabSz="457213">
              <a:spcBef>
                <a:spcPts val="1800"/>
              </a:spcBef>
              <a:buClr>
                <a:srgbClr val="86BC25"/>
              </a:buClr>
            </a:pPr>
            <a:r>
              <a:rPr lang="en-US" sz="1400">
                <a:solidFill>
                  <a:srgbClr val="000000"/>
                </a:solidFill>
                <a:latin typeface="Open Sans"/>
                <a:ea typeface="Open Sans" panose="020B0606030504020204" pitchFamily="34" charset="0"/>
                <a:cs typeface="Open Sans" panose="020B0606030504020204" pitchFamily="34" charset="0"/>
              </a:rPr>
              <a:t>Infrastructure enablers </a:t>
            </a:r>
            <a:r>
              <a:rPr lang="en-US" sz="1000">
                <a:solidFill>
                  <a:srgbClr val="000000"/>
                </a:solidFill>
                <a:latin typeface="Open Sans"/>
                <a:ea typeface="Open Sans" panose="020B0606030504020204" pitchFamily="34" charset="0"/>
                <a:cs typeface="Open Sans" panose="020B0606030504020204" pitchFamily="34" charset="0"/>
              </a:rPr>
              <a:t>- These are created to build, enhance, and automate the development, testing, and deployment environments. They facilitate faster development, higher-quality testing, and a faster Continuous Delivery Pipeline.</a:t>
            </a:r>
          </a:p>
          <a:p>
            <a:pPr marL="742950" lvl="1" indent="-285750" defTabSz="457213">
              <a:spcBef>
                <a:spcPts val="1000"/>
              </a:spcBef>
              <a:buClr>
                <a:schemeClr val="accent3"/>
              </a:buClr>
              <a:defRPr/>
            </a:pPr>
            <a:r>
              <a:rPr lang="en-GB" sz="1400">
                <a:latin typeface="Open Sans"/>
                <a:ea typeface="Open Sans" panose="020B0606030504020204" pitchFamily="34" charset="0"/>
                <a:cs typeface="Open Sans" panose="020B0606030504020204" pitchFamily="34" charset="0"/>
              </a:rPr>
              <a:t>Implementation of Redis – Control Data </a:t>
            </a:r>
          </a:p>
          <a:p>
            <a:pPr marL="742950" lvl="1" indent="-285750" defTabSz="457213">
              <a:spcBef>
                <a:spcPts val="1000"/>
              </a:spcBef>
              <a:buClr>
                <a:schemeClr val="accent3"/>
              </a:buClr>
              <a:defRPr/>
            </a:pPr>
            <a:r>
              <a:rPr lang="en-GB" sz="1400">
                <a:latin typeface="Open Sans"/>
                <a:ea typeface="Open Sans" panose="020B0606030504020204" pitchFamily="34" charset="0"/>
                <a:cs typeface="Open Sans" panose="020B0606030504020204" pitchFamily="34" charset="0"/>
              </a:rPr>
              <a:t>Automation of SAST Scan from Azure DevOps</a:t>
            </a:r>
          </a:p>
          <a:p>
            <a:pPr marL="742950" lvl="1" indent="-285750" defTabSz="457213">
              <a:spcBef>
                <a:spcPts val="1000"/>
              </a:spcBef>
              <a:buClr>
                <a:schemeClr val="accent3"/>
              </a:buClr>
              <a:defRPr/>
            </a:pPr>
            <a:endParaRPr lang="en-GB" sz="1400">
              <a:latin typeface="Open Sans"/>
              <a:ea typeface="Open Sans" panose="020B0606030504020204" pitchFamily="34" charset="0"/>
              <a:cs typeface="Open Sans" panose="020B0606030504020204" pitchFamily="34" charset="0"/>
            </a:endParaRPr>
          </a:p>
          <a:p>
            <a:pPr marL="742950" lvl="1" indent="-285750" defTabSz="457213">
              <a:spcBef>
                <a:spcPts val="1000"/>
              </a:spcBef>
              <a:buClr>
                <a:schemeClr val="accent3"/>
              </a:buClr>
              <a:defRPr/>
            </a:pPr>
            <a:endParaRPr lang="en-GB" sz="1400">
              <a:latin typeface="Open Sans"/>
              <a:ea typeface="Open Sans" panose="020B0606030504020204" pitchFamily="34" charset="0"/>
              <a:cs typeface="Open Sans" panose="020B0606030504020204" pitchFamily="34" charset="0"/>
            </a:endParaRPr>
          </a:p>
          <a:p>
            <a:pPr marL="633730" lvl="1" indent="-233680" defTabSz="457213">
              <a:spcBef>
                <a:spcPts val="1000"/>
              </a:spcBef>
              <a:buClr>
                <a:srgbClr val="5FCBEF"/>
              </a:buClr>
              <a:defRPr/>
            </a:pPr>
            <a:endParaRPr lang="en-GB" sz="1400">
              <a:solidFill>
                <a:sysClr val="windowText" lastClr="000000">
                  <a:lumMod val="75000"/>
                  <a:lumOff val="25000"/>
                </a:sysClr>
              </a:solidFill>
              <a:latin typeface="Open Sans" panose="020B0606030504020204" pitchFamily="34" charset="0"/>
              <a:ea typeface="Open Sans" panose="020B0606030504020204" pitchFamily="34" charset="0"/>
              <a:cs typeface="Open Sans" panose="020B0606030504020204" pitchFamily="34" charset="0"/>
            </a:endParaRPr>
          </a:p>
          <a:p>
            <a:pPr marL="742950" lvl="1" indent="-285750" defTabSz="457213">
              <a:spcBef>
                <a:spcPts val="1000"/>
              </a:spcBef>
              <a:buClr>
                <a:schemeClr val="accent3"/>
              </a:buClr>
              <a:defRPr/>
            </a:pPr>
            <a:endParaRPr lang="en-GB" sz="1400">
              <a:solidFill>
                <a:sysClr val="windowText" lastClr="000000">
                  <a:lumMod val="75000"/>
                  <a:lumOff val="25000"/>
                </a:sysClr>
              </a:solidFill>
              <a:latin typeface="Open Sans" panose="020B0606030504020204" pitchFamily="34" charset="0"/>
              <a:ea typeface="Open Sans" panose="020B0606030504020204" pitchFamily="34" charset="0"/>
              <a:cs typeface="Open Sans" panose="020B0606030504020204" pitchFamily="34" charset="0"/>
            </a:endParaRPr>
          </a:p>
          <a:p>
            <a:pPr marL="742950" lvl="1" indent="-285750" defTabSz="457213">
              <a:spcBef>
                <a:spcPts val="1000"/>
              </a:spcBef>
              <a:buClr>
                <a:schemeClr val="accent3"/>
              </a:buClr>
              <a:defRPr/>
            </a:pPr>
            <a:endParaRPr lang="en-GB" sz="1400">
              <a:solidFill>
                <a:sysClr val="windowText" lastClr="000000">
                  <a:lumMod val="75000"/>
                  <a:lumOff val="25000"/>
                </a:sysClr>
              </a:solidFill>
              <a:latin typeface="Open Sans" panose="020B0606030504020204" pitchFamily="34" charset="0"/>
              <a:ea typeface="Open Sans" panose="020B0606030504020204" pitchFamily="34" charset="0"/>
              <a:cs typeface="Open Sans" panose="020B0606030504020204" pitchFamily="34" charset="0"/>
            </a:endParaRPr>
          </a:p>
          <a:p>
            <a:pPr marL="742950" lvl="1" indent="-285750" defTabSz="457213">
              <a:spcBef>
                <a:spcPts val="1000"/>
              </a:spcBef>
              <a:buClr>
                <a:srgbClr val="62B5E5"/>
              </a:buClr>
              <a:defRPr/>
            </a:pPr>
            <a:endParaRPr lang="en-GB" sz="1400">
              <a:solidFill>
                <a:sysClr val="windowText" lastClr="000000">
                  <a:lumMod val="75000"/>
                  <a:lumOff val="25000"/>
                </a:sysClr>
              </a:solidFill>
              <a:latin typeface="Open Sans" panose="020B0606030504020204" pitchFamily="34" charset="0"/>
            </a:endParaRPr>
          </a:p>
          <a:p>
            <a:pPr marL="400050" lvl="1" indent="0" defTabSz="457213">
              <a:spcBef>
                <a:spcPts val="1000"/>
              </a:spcBef>
              <a:buClr>
                <a:srgbClr val="5FCBEF"/>
              </a:buClr>
              <a:buNone/>
              <a:defRPr/>
            </a:pPr>
            <a:endParaRPr lang="en-GB" sz="1400">
              <a:solidFill>
                <a:sysClr val="windowText" lastClr="000000">
                  <a:lumMod val="75000"/>
                  <a:lumOff val="25000"/>
                </a:sysClr>
              </a:solidFill>
              <a:latin typeface="Trebuchet MS" panose="020B0603020202020204"/>
            </a:endParaRPr>
          </a:p>
          <a:p>
            <a:pPr marL="633730" lvl="1" indent="-233680" defTabSz="457213">
              <a:spcBef>
                <a:spcPts val="1000"/>
              </a:spcBef>
              <a:buClr>
                <a:srgbClr val="5FCBEF"/>
              </a:buClr>
            </a:pPr>
            <a:endParaRPr lang="en-GB" sz="1400">
              <a:solidFill>
                <a:srgbClr val="404040"/>
              </a:solidFill>
              <a:latin typeface="Trebuchet MS" panose="020B0603020202020204"/>
              <a:ea typeface="Verdana"/>
              <a:cs typeface="Verdana"/>
            </a:endParaRPr>
          </a:p>
          <a:p>
            <a:pPr marL="342900" indent="-342900" defTabSz="457213">
              <a:spcBef>
                <a:spcPts val="1000"/>
              </a:spcBef>
              <a:buClr>
                <a:srgbClr val="86BC25"/>
              </a:buClr>
              <a:defRPr/>
            </a:pPr>
            <a:endParaRPr lang="en-US" sz="1400">
              <a:solidFill>
                <a:sysClr val="windowText" lastClr="000000">
                  <a:lumMod val="75000"/>
                  <a:lumOff val="25000"/>
                </a:sysClr>
              </a:solidFill>
              <a:latin typeface="Verdana"/>
              <a:ea typeface="Verdana"/>
              <a:cs typeface="Verdana"/>
            </a:endParaRPr>
          </a:p>
          <a:p>
            <a:pPr marL="400050" lvl="1" indent="0" defTabSz="457213">
              <a:spcBef>
                <a:spcPts val="1000"/>
              </a:spcBef>
              <a:buClr>
                <a:srgbClr val="5FCBEF"/>
              </a:buClr>
              <a:buNone/>
            </a:pPr>
            <a:endParaRPr lang="en-GB" sz="1400">
              <a:solidFill>
                <a:srgbClr val="000000">
                  <a:lumMod val="75000"/>
                  <a:lumOff val="25000"/>
                </a:srgbClr>
              </a:solidFill>
              <a:latin typeface="Trebuchet MS" panose="020B0603020202020204"/>
              <a:ea typeface="Verdana"/>
              <a:cs typeface="Verdana"/>
            </a:endParaRPr>
          </a:p>
          <a:p>
            <a:pPr marL="742950" lvl="1" indent="-285750" defTabSz="457213">
              <a:spcBef>
                <a:spcPts val="1000"/>
              </a:spcBef>
              <a:buClr>
                <a:srgbClr val="86BC25"/>
              </a:buClr>
              <a:buNone/>
            </a:pPr>
            <a:endParaRPr lang="en-GB" sz="1400">
              <a:solidFill>
                <a:srgbClr val="000000">
                  <a:lumMod val="75000"/>
                  <a:lumOff val="25000"/>
                </a:srgbClr>
              </a:solidFill>
              <a:latin typeface="Trebuchet MS" panose="020B0603020202020204"/>
            </a:endParaRPr>
          </a:p>
        </p:txBody>
      </p:sp>
      <p:sp>
        <p:nvSpPr>
          <p:cNvPr id="6" name="Title 1">
            <a:extLst>
              <a:ext uri="{FF2B5EF4-FFF2-40B4-BE49-F238E27FC236}">
                <a16:creationId xmlns:a16="http://schemas.microsoft.com/office/drawing/2014/main" id="{07A92E25-2530-47D3-83A2-6FAC3D045CD4}"/>
              </a:ext>
            </a:extLst>
          </p:cNvPr>
          <p:cNvSpPr txBox="1">
            <a:spLocks/>
          </p:cNvSpPr>
          <p:nvPr/>
        </p:nvSpPr>
        <p:spPr>
          <a:xfrm>
            <a:off x="385617" y="203063"/>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panose="020B0606030504020204" pitchFamily="34" charset="0"/>
                <a:ea typeface="Open Sans" panose="020B0606030504020204" pitchFamily="34" charset="0"/>
                <a:cs typeface="Open Sans" panose="020B0606030504020204" pitchFamily="34" charset="0"/>
              </a:rPr>
              <a:t>AQMM –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rchitecture</a:t>
            </a:r>
          </a:p>
        </p:txBody>
      </p:sp>
    </p:spTree>
    <p:extLst>
      <p:ext uri="{BB962C8B-B14F-4D97-AF65-F5344CB8AC3E}">
        <p14:creationId xmlns:p14="http://schemas.microsoft.com/office/powerpoint/2010/main" val="27251843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2AAAC88F-F4B4-4FE3-956E-C3F806D71324}"/>
              </a:ext>
            </a:extLst>
          </p:cNvPr>
          <p:cNvGraphicFramePr>
            <a:graphicFrameLocks noGrp="1"/>
          </p:cNvGraphicFramePr>
          <p:nvPr>
            <p:ph idx="1"/>
            <p:extLst>
              <p:ext uri="{D42A27DB-BD31-4B8C-83A1-F6EECF244321}">
                <p14:modId xmlns:p14="http://schemas.microsoft.com/office/powerpoint/2010/main" val="211445249"/>
              </p:ext>
            </p:extLst>
          </p:nvPr>
        </p:nvGraphicFramePr>
        <p:xfrm>
          <a:off x="381413" y="737118"/>
          <a:ext cx="11429997" cy="4603357"/>
        </p:xfrm>
        <a:graphic>
          <a:graphicData uri="http://schemas.openxmlformats.org/drawingml/2006/table">
            <a:tbl>
              <a:tblPr firstRow="1" bandRow="1">
                <a:tableStyleId>{5C22544A-7EE6-4342-B048-85BDC9FD1C3A}</a:tableStyleId>
              </a:tblPr>
              <a:tblGrid>
                <a:gridCol w="1125206">
                  <a:extLst>
                    <a:ext uri="{9D8B030D-6E8A-4147-A177-3AD203B41FA5}">
                      <a16:colId xmlns:a16="http://schemas.microsoft.com/office/drawing/2014/main" val="861965633"/>
                    </a:ext>
                  </a:extLst>
                </a:gridCol>
                <a:gridCol w="1089932">
                  <a:extLst>
                    <a:ext uri="{9D8B030D-6E8A-4147-A177-3AD203B41FA5}">
                      <a16:colId xmlns:a16="http://schemas.microsoft.com/office/drawing/2014/main" val="3567108516"/>
                    </a:ext>
                  </a:extLst>
                </a:gridCol>
                <a:gridCol w="1181459">
                  <a:extLst>
                    <a:ext uri="{9D8B030D-6E8A-4147-A177-3AD203B41FA5}">
                      <a16:colId xmlns:a16="http://schemas.microsoft.com/office/drawing/2014/main" val="1013084987"/>
                    </a:ext>
                  </a:extLst>
                </a:gridCol>
                <a:gridCol w="1034479">
                  <a:extLst>
                    <a:ext uri="{9D8B030D-6E8A-4147-A177-3AD203B41FA5}">
                      <a16:colId xmlns:a16="http://schemas.microsoft.com/office/drawing/2014/main" val="2846602792"/>
                    </a:ext>
                  </a:extLst>
                </a:gridCol>
                <a:gridCol w="4028742">
                  <a:extLst>
                    <a:ext uri="{9D8B030D-6E8A-4147-A177-3AD203B41FA5}">
                      <a16:colId xmlns:a16="http://schemas.microsoft.com/office/drawing/2014/main" val="2777513450"/>
                    </a:ext>
                  </a:extLst>
                </a:gridCol>
                <a:gridCol w="1233931">
                  <a:extLst>
                    <a:ext uri="{9D8B030D-6E8A-4147-A177-3AD203B41FA5}">
                      <a16:colId xmlns:a16="http://schemas.microsoft.com/office/drawing/2014/main" val="2140803698"/>
                    </a:ext>
                  </a:extLst>
                </a:gridCol>
                <a:gridCol w="1736248">
                  <a:extLst>
                    <a:ext uri="{9D8B030D-6E8A-4147-A177-3AD203B41FA5}">
                      <a16:colId xmlns:a16="http://schemas.microsoft.com/office/drawing/2014/main" val="2356713016"/>
                    </a:ext>
                  </a:extLst>
                </a:gridCol>
              </a:tblGrid>
              <a:tr h="586922">
                <a:tc>
                  <a:txBody>
                    <a:bodyPr/>
                    <a:lstStyle/>
                    <a:p>
                      <a:pPr algn="ctr" fontAlgn="b"/>
                      <a:r>
                        <a:rPr lang="en-US" sz="1400" u="none" strike="noStrike">
                          <a:solidFill>
                            <a:schemeClr val="tx1">
                              <a:lumMod val="85000"/>
                              <a:lumOff val="15000"/>
                            </a:schemeClr>
                          </a:solidFill>
                          <a:effectLst/>
                          <a:latin typeface="Open Sans"/>
                          <a:ea typeface="Open Sans"/>
                          <a:cs typeface="Open Sans"/>
                        </a:rPr>
                        <a:t>Start</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Finish</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USI Start</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USI Finish</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l" fontAlgn="b"/>
                      <a:r>
                        <a:rPr lang="en-US" sz="1400" u="none" strike="noStrike">
                          <a:solidFill>
                            <a:schemeClr val="tx1">
                              <a:lumMod val="85000"/>
                              <a:lumOff val="15000"/>
                            </a:schemeClr>
                          </a:solidFill>
                          <a:effectLst/>
                          <a:latin typeface="Open Sans"/>
                          <a:ea typeface="Open Sans"/>
                          <a:cs typeface="Open Sans"/>
                        </a:rPr>
                        <a:t>Agenda Item</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Duration</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b="1" i="0" u="none" strike="noStrike">
                          <a:solidFill>
                            <a:schemeClr val="tx1">
                              <a:lumMod val="85000"/>
                              <a:lumOff val="15000"/>
                            </a:schemeClr>
                          </a:solidFill>
                          <a:effectLst/>
                          <a:latin typeface="Open Sans"/>
                          <a:ea typeface="Open Sans"/>
                          <a:cs typeface="Open Sans"/>
                        </a:rPr>
                        <a:t>Owner</a:t>
                      </a:r>
                    </a:p>
                  </a:txBody>
                  <a:tcPr marL="125783" marR="75470" marT="75470" marB="75470" anchor="b">
                    <a:solidFill>
                      <a:schemeClr val="accent1"/>
                    </a:solidFill>
                  </a:tcPr>
                </a:tc>
                <a:extLst>
                  <a:ext uri="{0D108BD9-81ED-4DB2-BD59-A6C34878D82A}">
                    <a16:rowId xmlns:a16="http://schemas.microsoft.com/office/drawing/2014/main" val="309002237"/>
                  </a:ext>
                </a:extLst>
              </a:tr>
              <a:tr h="341775">
                <a:tc>
                  <a:txBody>
                    <a:bodyPr/>
                    <a:lstStyle/>
                    <a:p>
                      <a:pPr algn="ctr" fontAlgn="b"/>
                      <a:endParaRPr lang="en-US" sz="110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b">
                    <a:solidFill>
                      <a:schemeClr val="accent1">
                        <a:lumMod val="20000"/>
                        <a:lumOff val="80000"/>
                      </a:schemeClr>
                    </a:solidFill>
                  </a:tcPr>
                </a:tc>
                <a:tc>
                  <a:txBody>
                    <a:bodyPr/>
                    <a:lstStyle/>
                    <a:p>
                      <a:pPr algn="ctr" fontAlgn="b"/>
                      <a:endParaRPr lang="en-US" sz="110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b">
                    <a:solidFill>
                      <a:schemeClr val="accent1">
                        <a:lumMod val="20000"/>
                        <a:lumOff val="80000"/>
                      </a:schemeClr>
                    </a:solidFill>
                  </a:tcPr>
                </a:tc>
                <a:tc>
                  <a:txBody>
                    <a:bodyPr/>
                    <a:lstStyle/>
                    <a:p>
                      <a:pPr algn="ctr" fontAlgn="b"/>
                      <a:r>
                        <a:rPr lang="en-US" sz="1100" b="0" u="none" strike="noStrike">
                          <a:solidFill>
                            <a:schemeClr val="tx1">
                              <a:lumMod val="85000"/>
                              <a:lumOff val="15000"/>
                            </a:schemeClr>
                          </a:solidFill>
                          <a:effectLst/>
                          <a:latin typeface="Open Sans"/>
                          <a:ea typeface="Open Sans"/>
                          <a:cs typeface="Open Sans"/>
                        </a:rPr>
                        <a:t>12:00 PM</a:t>
                      </a:r>
                      <a:endParaRPr lang="en-US" sz="1100" b="0" i="0" u="none" strike="noStrike">
                        <a:solidFill>
                          <a:schemeClr val="tx1">
                            <a:lumMod val="85000"/>
                            <a:lumOff val="15000"/>
                          </a:schemeClr>
                        </a:solidFill>
                        <a:effectLst/>
                        <a:latin typeface="Open Sans"/>
                        <a:ea typeface="Open Sans"/>
                        <a:cs typeface="Open Sans"/>
                      </a:endParaRPr>
                    </a:p>
                  </a:txBody>
                  <a:tcPr marL="115164" marR="69099" marT="69099" marB="69099" anchor="b">
                    <a:solidFill>
                      <a:schemeClr val="accent1">
                        <a:lumMod val="20000"/>
                        <a:lumOff val="80000"/>
                      </a:schemeClr>
                    </a:solidFill>
                  </a:tcPr>
                </a:tc>
                <a:tc>
                  <a:txBody>
                    <a:bodyPr/>
                    <a:lstStyle/>
                    <a:p>
                      <a:pPr algn="ctr" fontAlgn="b"/>
                      <a:r>
                        <a:rPr lang="en-US" sz="1100" b="0" u="none" strike="noStrike">
                          <a:solidFill>
                            <a:schemeClr val="tx1">
                              <a:lumMod val="85000"/>
                              <a:lumOff val="15000"/>
                            </a:schemeClr>
                          </a:solidFill>
                          <a:effectLst/>
                          <a:latin typeface="Open Sans"/>
                          <a:ea typeface="Open Sans"/>
                          <a:cs typeface="Open Sans"/>
                        </a:rPr>
                        <a:t>12:15 PM</a:t>
                      </a:r>
                      <a:endParaRPr lang="en-US" sz="1100" b="0" i="0" u="none" strike="noStrike">
                        <a:solidFill>
                          <a:schemeClr val="tx1">
                            <a:lumMod val="85000"/>
                            <a:lumOff val="15000"/>
                          </a:schemeClr>
                        </a:solidFill>
                        <a:effectLst/>
                        <a:latin typeface="Open Sans"/>
                        <a:ea typeface="Open Sans"/>
                        <a:cs typeface="Open Sans"/>
                      </a:endParaRPr>
                    </a:p>
                  </a:txBody>
                  <a:tcPr marL="115164" marR="69099" marT="69099" marB="69099" anchor="b">
                    <a:solidFill>
                      <a:schemeClr val="accent1">
                        <a:lumMod val="20000"/>
                        <a:lumOff val="80000"/>
                      </a:schemeClr>
                    </a:solidFill>
                  </a:tcPr>
                </a:tc>
                <a:tc>
                  <a:txBody>
                    <a:bodyPr/>
                    <a:lstStyle/>
                    <a:p>
                      <a:pPr algn="l" fontAlgn="b"/>
                      <a:r>
                        <a:rPr lang="en-US" sz="1100" b="0" i="0" u="none" strike="noStrike">
                          <a:solidFill>
                            <a:schemeClr val="tx1">
                              <a:lumMod val="85000"/>
                              <a:lumOff val="15000"/>
                            </a:schemeClr>
                          </a:solidFill>
                          <a:effectLst/>
                          <a:latin typeface="Open Sans"/>
                          <a:ea typeface="Open Sans"/>
                          <a:cs typeface="Open Sans"/>
                        </a:rPr>
                        <a:t>Planning Context/Set up</a:t>
                      </a: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5</a:t>
                      </a:r>
                    </a:p>
                  </a:txBody>
                  <a:tcPr marL="115164" marR="69099" marT="69099" marB="69099"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Anubha/Padmini</a:t>
                      </a:r>
                    </a:p>
                  </a:txBody>
                  <a:tcPr marL="115164" marR="69099" marT="69099" marB="69099" anchor="b">
                    <a:solidFill>
                      <a:schemeClr val="accent1">
                        <a:lumMod val="20000"/>
                        <a:lumOff val="80000"/>
                      </a:schemeClr>
                    </a:solidFill>
                  </a:tcPr>
                </a:tc>
                <a:extLst>
                  <a:ext uri="{0D108BD9-81ED-4DB2-BD59-A6C34878D82A}">
                    <a16:rowId xmlns:a16="http://schemas.microsoft.com/office/drawing/2014/main" val="3869885435"/>
                  </a:ext>
                </a:extLst>
              </a:tr>
              <a:tr h="630607">
                <a:tc>
                  <a:txBody>
                    <a:bodyPr/>
                    <a:lstStyle/>
                    <a:p>
                      <a:pPr algn="ctr" fontAlgn="b"/>
                      <a:endParaRPr lang="en-US" sz="110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b">
                    <a:solidFill>
                      <a:schemeClr val="accent1">
                        <a:lumMod val="20000"/>
                        <a:lumOff val="80000"/>
                      </a:schemeClr>
                    </a:solidFill>
                  </a:tcPr>
                </a:tc>
                <a:tc>
                  <a:txBody>
                    <a:bodyPr/>
                    <a:lstStyle/>
                    <a:p>
                      <a:pPr algn="ctr" fontAlgn="b"/>
                      <a:endParaRPr lang="en-US" sz="110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b">
                    <a:solidFill>
                      <a:schemeClr val="accent1">
                        <a:lumMod val="20000"/>
                        <a:lumOff val="80000"/>
                      </a:schemeClr>
                    </a:solidFill>
                  </a:tcPr>
                </a:tc>
                <a:tc>
                  <a:txBody>
                    <a:bodyPr/>
                    <a:lstStyle/>
                    <a:p>
                      <a:pPr algn="ctr" fontAlgn="b"/>
                      <a:r>
                        <a:rPr lang="en-US" sz="1100" b="0" u="none" strike="noStrike">
                          <a:solidFill>
                            <a:schemeClr val="tx1">
                              <a:lumMod val="85000"/>
                              <a:lumOff val="15000"/>
                            </a:schemeClr>
                          </a:solidFill>
                          <a:effectLst/>
                          <a:latin typeface="Open Sans"/>
                          <a:ea typeface="Open Sans"/>
                          <a:cs typeface="Open Sans"/>
                        </a:rPr>
                        <a:t>12:15 PM</a:t>
                      </a:r>
                      <a:endParaRPr lang="en-US" sz="1100" b="0" i="0" u="none" strike="noStrike">
                        <a:solidFill>
                          <a:schemeClr val="tx1">
                            <a:lumMod val="85000"/>
                            <a:lumOff val="15000"/>
                          </a:schemeClr>
                        </a:solidFill>
                        <a:effectLst/>
                        <a:latin typeface="Open Sans"/>
                        <a:ea typeface="Open Sans"/>
                        <a:cs typeface="Open Sans"/>
                      </a:endParaRPr>
                    </a:p>
                  </a:txBody>
                  <a:tcPr marL="115164" marR="69099" marT="69099" marB="69099" anchor="b">
                    <a:solidFill>
                      <a:schemeClr val="accent1">
                        <a:lumMod val="20000"/>
                        <a:lumOff val="80000"/>
                      </a:schemeClr>
                    </a:solidFill>
                  </a:tcPr>
                </a:tc>
                <a:tc>
                  <a:txBody>
                    <a:bodyPr/>
                    <a:lstStyle/>
                    <a:p>
                      <a:pPr algn="ctr" fontAlgn="b"/>
                      <a:r>
                        <a:rPr lang="en-US" sz="1100" b="0" u="none" strike="noStrike">
                          <a:solidFill>
                            <a:schemeClr val="tx1">
                              <a:lumMod val="85000"/>
                              <a:lumOff val="15000"/>
                            </a:schemeClr>
                          </a:solidFill>
                          <a:effectLst/>
                          <a:latin typeface="Open Sans"/>
                          <a:ea typeface="Open Sans"/>
                          <a:cs typeface="Open Sans"/>
                        </a:rPr>
                        <a:t>1:30 PM</a:t>
                      </a:r>
                      <a:endParaRPr lang="en-US" sz="1100" b="0" i="0" u="none" strike="noStrike">
                        <a:solidFill>
                          <a:schemeClr val="tx1">
                            <a:lumMod val="85000"/>
                            <a:lumOff val="15000"/>
                          </a:schemeClr>
                        </a:solidFill>
                        <a:effectLst/>
                        <a:latin typeface="Open Sans"/>
                        <a:ea typeface="Open Sans"/>
                        <a:cs typeface="Open Sans"/>
                      </a:endParaRPr>
                    </a:p>
                  </a:txBody>
                  <a:tcPr marL="115164" marR="69099" marT="69099" marB="69099" anchor="b">
                    <a:solidFill>
                      <a:schemeClr val="accent1">
                        <a:lumMod val="20000"/>
                        <a:lumOff val="80000"/>
                      </a:schemeClr>
                    </a:solidFill>
                  </a:tcPr>
                </a:tc>
                <a:tc>
                  <a:txBody>
                    <a:bodyPr/>
                    <a:lstStyle/>
                    <a:p>
                      <a:pPr algn="l" fontAlgn="b"/>
                      <a:r>
                        <a:rPr lang="en-US" sz="1100" b="0" u="none" strike="noStrike">
                          <a:solidFill>
                            <a:schemeClr val="tx1">
                              <a:lumMod val="85000"/>
                              <a:lumOff val="15000"/>
                            </a:schemeClr>
                          </a:solidFill>
                          <a:effectLst/>
                          <a:latin typeface="Open Sans"/>
                          <a:ea typeface="Open Sans"/>
                          <a:cs typeface="Open Sans"/>
                        </a:rPr>
                        <a:t>Team Breakouts – Day 1 for USI{Autocrats, Technokats, Data Dynamics, </a:t>
                      </a:r>
                      <a:r>
                        <a:rPr lang="en-US" sz="1100" b="0" i="0" u="none" strike="noStrike" noProof="0">
                          <a:effectLst/>
                          <a:latin typeface="Open Sans"/>
                          <a:ea typeface="Open Sans"/>
                          <a:cs typeface="Open Sans"/>
                        </a:rPr>
                        <a:t>Content Fosters</a:t>
                      </a:r>
                      <a:r>
                        <a:rPr lang="en-US" sz="1100" b="0" u="none" strike="noStrike">
                          <a:solidFill>
                            <a:schemeClr val="tx1">
                              <a:lumMod val="85000"/>
                              <a:lumOff val="15000"/>
                            </a:schemeClr>
                          </a:solidFill>
                          <a:effectLst/>
                          <a:latin typeface="Open Sans"/>
                          <a:ea typeface="Open Sans"/>
                          <a:cs typeface="Open Sans"/>
                        </a:rPr>
                        <a:t>, Bahamas, Jamaica, Amigos, Falcon Heavy, Saturn V)</a:t>
                      </a:r>
                      <a:endParaRPr lang="en-US" sz="1100" b="0" i="0" u="none" strike="noStrike">
                        <a:solidFill>
                          <a:schemeClr val="tx1">
                            <a:lumMod val="85000"/>
                            <a:lumOff val="15000"/>
                          </a:schemeClr>
                        </a:solidFill>
                        <a:effectLst/>
                        <a:latin typeface="Open Sans"/>
                        <a:ea typeface="Open Sans" panose="020B0606030504020204" pitchFamily="34" charset="0"/>
                        <a:cs typeface="Open Sans" panose="020B0606030504020204" pitchFamily="34" charset="0"/>
                      </a:endParaRP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75</a:t>
                      </a:r>
                    </a:p>
                  </a:txBody>
                  <a:tcPr marL="115164" marR="69099" marT="69099" marB="69099"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Teams</a:t>
                      </a:r>
                    </a:p>
                  </a:txBody>
                  <a:tcPr marL="115164" marR="69099" marT="69099" marB="69099" anchor="b">
                    <a:solidFill>
                      <a:schemeClr val="accent1">
                        <a:lumMod val="20000"/>
                        <a:lumOff val="80000"/>
                      </a:schemeClr>
                    </a:solidFill>
                  </a:tcPr>
                </a:tc>
                <a:extLst>
                  <a:ext uri="{0D108BD9-81ED-4DB2-BD59-A6C34878D82A}">
                    <a16:rowId xmlns:a16="http://schemas.microsoft.com/office/drawing/2014/main" val="2166726968"/>
                  </a:ext>
                </a:extLst>
              </a:tr>
              <a:tr h="341775">
                <a:tc>
                  <a:txBody>
                    <a:bodyPr/>
                    <a:lstStyle/>
                    <a:p>
                      <a:pPr algn="ctr" fontAlgn="b"/>
                      <a:endParaRPr lang="en-US" sz="110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b">
                    <a:solidFill>
                      <a:schemeClr val="accent1">
                        <a:lumMod val="20000"/>
                        <a:lumOff val="80000"/>
                      </a:schemeClr>
                    </a:solidFill>
                  </a:tcPr>
                </a:tc>
                <a:tc>
                  <a:txBody>
                    <a:bodyPr/>
                    <a:lstStyle/>
                    <a:p>
                      <a:pPr algn="ctr" fontAlgn="b"/>
                      <a:endParaRPr lang="en-US" sz="110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b">
                    <a:solidFill>
                      <a:schemeClr val="accent1">
                        <a:lumMod val="20000"/>
                        <a:lumOff val="80000"/>
                      </a:schemeClr>
                    </a:solidFill>
                  </a:tcPr>
                </a:tc>
                <a:tc>
                  <a:txBody>
                    <a:bodyPr/>
                    <a:lstStyle/>
                    <a:p>
                      <a:pPr marL="0" algn="ctr" defTabSz="1219170" rtl="0" eaLnBrk="1" fontAlgn="b" latinLnBrk="0" hangingPunct="1"/>
                      <a:r>
                        <a:rPr lang="en-US" sz="1100" b="0" u="none" strike="noStrike" kern="1200">
                          <a:solidFill>
                            <a:schemeClr val="tx1">
                              <a:lumMod val="85000"/>
                              <a:lumOff val="15000"/>
                            </a:schemeClr>
                          </a:solidFill>
                          <a:effectLst/>
                          <a:latin typeface="Open Sans"/>
                          <a:ea typeface="Open Sans"/>
                          <a:cs typeface="Open Sans"/>
                        </a:rPr>
                        <a:t>1:30 PM</a:t>
                      </a:r>
                    </a:p>
                  </a:txBody>
                  <a:tcPr marL="115164" marR="69099" marT="69099" marB="69099" anchor="b">
                    <a:solidFill>
                      <a:schemeClr val="accent1">
                        <a:lumMod val="20000"/>
                        <a:lumOff val="80000"/>
                      </a:schemeClr>
                    </a:solidFill>
                  </a:tcPr>
                </a:tc>
                <a:tc>
                  <a:txBody>
                    <a:bodyPr/>
                    <a:lstStyle/>
                    <a:p>
                      <a:pPr marL="0" algn="ctr" defTabSz="1219170" rtl="0" eaLnBrk="1" fontAlgn="b" latinLnBrk="0" hangingPunct="1"/>
                      <a:r>
                        <a:rPr lang="en-US" sz="1100" b="0" u="none" strike="noStrike" kern="1200">
                          <a:solidFill>
                            <a:schemeClr val="tx1">
                              <a:lumMod val="85000"/>
                              <a:lumOff val="15000"/>
                            </a:schemeClr>
                          </a:solidFill>
                          <a:effectLst/>
                          <a:latin typeface="Open Sans"/>
                          <a:ea typeface="Open Sans"/>
                          <a:cs typeface="Open Sans"/>
                        </a:rPr>
                        <a:t>2:30 PM</a:t>
                      </a:r>
                    </a:p>
                  </a:txBody>
                  <a:tcPr marL="115164" marR="69099" marT="69099" marB="69099" anchor="b">
                    <a:solidFill>
                      <a:schemeClr val="accent1">
                        <a:lumMod val="20000"/>
                        <a:lumOff val="80000"/>
                      </a:schemeClr>
                    </a:solidFill>
                  </a:tcPr>
                </a:tc>
                <a:tc>
                  <a:txBody>
                    <a:bodyPr/>
                    <a:lstStyle/>
                    <a:p>
                      <a:pPr marL="0" algn="l" rtl="0" eaLnBrk="1" fontAlgn="b" latinLnBrk="0" hangingPunct="1"/>
                      <a:r>
                        <a:rPr lang="en-US" sz="1100" b="0" u="none" strike="noStrike" kern="1200">
                          <a:solidFill>
                            <a:schemeClr val="tx1">
                              <a:lumMod val="85000"/>
                              <a:lumOff val="15000"/>
                            </a:schemeClr>
                          </a:solidFill>
                          <a:effectLst/>
                          <a:latin typeface="Open Sans"/>
                          <a:ea typeface="Open Sans"/>
                          <a:cs typeface="Open Sans"/>
                        </a:rPr>
                        <a:t>Lunch Break</a:t>
                      </a: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60</a:t>
                      </a:r>
                    </a:p>
                  </a:txBody>
                  <a:tcPr marL="115164" marR="69099" marT="69099" marB="69099" anchor="b">
                    <a:solidFill>
                      <a:schemeClr val="accent1">
                        <a:lumMod val="20000"/>
                        <a:lumOff val="80000"/>
                      </a:schemeClr>
                    </a:solidFill>
                  </a:tcPr>
                </a:tc>
                <a:tc>
                  <a:txBody>
                    <a:bodyPr/>
                    <a:lstStyle/>
                    <a:p>
                      <a:pPr lvl="0" algn="ctr">
                        <a:buNone/>
                      </a:pPr>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15164" marR="69099" marT="69099" marB="69099" anchor="b">
                    <a:solidFill>
                      <a:schemeClr val="accent1">
                        <a:lumMod val="20000"/>
                        <a:lumOff val="80000"/>
                      </a:schemeClr>
                    </a:solidFill>
                  </a:tcPr>
                </a:tc>
                <a:extLst>
                  <a:ext uri="{0D108BD9-81ED-4DB2-BD59-A6C34878D82A}">
                    <a16:rowId xmlns:a16="http://schemas.microsoft.com/office/drawing/2014/main" val="3076188913"/>
                  </a:ext>
                </a:extLst>
              </a:tr>
              <a:tr h="630607">
                <a:tc>
                  <a:txBody>
                    <a:bodyPr/>
                    <a:lstStyle/>
                    <a:p>
                      <a:pPr lvl="0" algn="ctr">
                        <a:buNone/>
                      </a:pPr>
                      <a:endParaRPr lang="en-US" sz="110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b">
                    <a:solidFill>
                      <a:schemeClr val="accent1">
                        <a:lumMod val="20000"/>
                        <a:lumOff val="80000"/>
                      </a:schemeClr>
                    </a:solidFill>
                  </a:tcPr>
                </a:tc>
                <a:tc>
                  <a:txBody>
                    <a:bodyPr/>
                    <a:lstStyle/>
                    <a:p>
                      <a:pPr lvl="0" algn="ctr">
                        <a:buNone/>
                      </a:pPr>
                      <a:endParaRPr lang="en-US" sz="110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b">
                    <a:solidFill>
                      <a:schemeClr val="accent1">
                        <a:lumMod val="20000"/>
                        <a:lumOff val="80000"/>
                      </a:schemeClr>
                    </a:solidFill>
                  </a:tcPr>
                </a:tc>
                <a:tc>
                  <a:txBody>
                    <a:bodyPr/>
                    <a:lstStyle/>
                    <a:p>
                      <a:pPr algn="ctr" fontAlgn="b"/>
                      <a:r>
                        <a:rPr lang="en-US" sz="1100" b="0" u="none" strike="noStrike">
                          <a:solidFill>
                            <a:schemeClr val="tx1">
                              <a:lumMod val="85000"/>
                              <a:lumOff val="15000"/>
                            </a:schemeClr>
                          </a:solidFill>
                          <a:effectLst/>
                          <a:latin typeface="Open Sans"/>
                          <a:ea typeface="Open Sans"/>
                          <a:cs typeface="Open Sans"/>
                        </a:rPr>
                        <a:t>2:30 PM</a:t>
                      </a:r>
                      <a:endParaRPr lang="en-US" sz="1100" b="0" i="0" u="none" strike="noStrike">
                        <a:solidFill>
                          <a:schemeClr val="tx1">
                            <a:lumMod val="85000"/>
                            <a:lumOff val="15000"/>
                          </a:schemeClr>
                        </a:solidFill>
                        <a:effectLst/>
                        <a:latin typeface="Open Sans"/>
                        <a:ea typeface="Open Sans"/>
                        <a:cs typeface="Open Sans"/>
                      </a:endParaRPr>
                    </a:p>
                  </a:txBody>
                  <a:tcPr marL="115164" marR="69099" marT="69099" marB="69099" anchor="ctr">
                    <a:solidFill>
                      <a:schemeClr val="accent1">
                        <a:lumMod val="20000"/>
                        <a:lumOff val="80000"/>
                      </a:schemeClr>
                    </a:solidFill>
                  </a:tcPr>
                </a:tc>
                <a:tc>
                  <a:txBody>
                    <a:bodyPr/>
                    <a:lstStyle/>
                    <a:p>
                      <a:pPr algn="ctr" fontAlgn="b"/>
                      <a:r>
                        <a:rPr lang="en-US" sz="1100" b="0" u="none" strike="noStrike">
                          <a:solidFill>
                            <a:schemeClr val="tx1">
                              <a:lumMod val="85000"/>
                              <a:lumOff val="15000"/>
                            </a:schemeClr>
                          </a:solidFill>
                          <a:effectLst/>
                          <a:latin typeface="Open Sans"/>
                          <a:ea typeface="Open Sans"/>
                          <a:cs typeface="Open Sans"/>
                        </a:rPr>
                        <a:t>4:30 PM</a:t>
                      </a:r>
                      <a:endParaRPr lang="en-US" sz="1100" b="0" i="0" u="none" strike="noStrike">
                        <a:solidFill>
                          <a:schemeClr val="tx1">
                            <a:lumMod val="85000"/>
                            <a:lumOff val="15000"/>
                          </a:schemeClr>
                        </a:solidFill>
                        <a:effectLst/>
                        <a:latin typeface="Open Sans"/>
                        <a:ea typeface="Open Sans"/>
                        <a:cs typeface="Open Sans"/>
                      </a:endParaRPr>
                    </a:p>
                  </a:txBody>
                  <a:tcPr marL="115164" marR="69099" marT="69099" marB="69099" anchor="ctr">
                    <a:solidFill>
                      <a:schemeClr val="accent1">
                        <a:lumMod val="20000"/>
                        <a:lumOff val="80000"/>
                      </a:schemeClr>
                    </a:solidFill>
                  </a:tcPr>
                </a:tc>
                <a:tc>
                  <a:txBody>
                    <a:bodyPr/>
                    <a:lstStyle/>
                    <a:p>
                      <a:pPr marL="0" marR="0" lvl="0" indent="0" algn="l">
                        <a:lnSpc>
                          <a:spcPct val="100000"/>
                        </a:lnSpc>
                        <a:spcBef>
                          <a:spcPts val="0"/>
                        </a:spcBef>
                        <a:spcAft>
                          <a:spcPts val="0"/>
                        </a:spcAft>
                        <a:buNone/>
                      </a:pPr>
                      <a:r>
                        <a:rPr lang="en-US" sz="1100" b="0" i="0" u="none" strike="noStrike" kern="1200" noProof="0">
                          <a:solidFill>
                            <a:schemeClr val="tx1">
                              <a:lumMod val="85000"/>
                              <a:lumOff val="15000"/>
                            </a:schemeClr>
                          </a:solidFill>
                          <a:effectLst/>
                          <a:latin typeface="Open Sans"/>
                        </a:rPr>
                        <a:t>Team Breakouts – Day 1 for USI{Autocrats, Technokats, Data Dynamics, </a:t>
                      </a:r>
                      <a:r>
                        <a:rPr lang="en-US" sz="1100" b="0" i="0" u="none" strike="noStrike" kern="1200" noProof="0">
                          <a:effectLst/>
                          <a:latin typeface="Open Sans"/>
                        </a:rPr>
                        <a:t>Content Fosters</a:t>
                      </a:r>
                      <a:r>
                        <a:rPr lang="en-US" sz="1100" b="0" i="0" u="none" strike="noStrike" kern="1200" noProof="0">
                          <a:solidFill>
                            <a:schemeClr val="tx1">
                              <a:lumMod val="85000"/>
                              <a:lumOff val="15000"/>
                            </a:schemeClr>
                          </a:solidFill>
                          <a:effectLst/>
                          <a:latin typeface="Open Sans"/>
                        </a:rPr>
                        <a:t>, </a:t>
                      </a:r>
                      <a:r>
                        <a:rPr lang="en-US" sz="1100" b="0" u="none" strike="noStrike">
                          <a:solidFill>
                            <a:schemeClr val="tx1">
                              <a:lumMod val="85000"/>
                              <a:lumOff val="15000"/>
                            </a:schemeClr>
                          </a:solidFill>
                          <a:effectLst/>
                          <a:latin typeface="Open Sans"/>
                          <a:ea typeface="Open Sans"/>
                          <a:cs typeface="Open Sans"/>
                        </a:rPr>
                        <a:t>Bahamas, Jamaica, Amigos, Falcon Heavy, Saturn V)</a:t>
                      </a:r>
                      <a:endParaRPr lang="en-US" sz="1100" b="0" i="0" u="none" strike="noStrike" kern="1200" noProof="0">
                        <a:solidFill>
                          <a:schemeClr val="tx1">
                            <a:lumMod val="85000"/>
                            <a:lumOff val="15000"/>
                          </a:schemeClr>
                        </a:solidFill>
                        <a:effectLst/>
                        <a:latin typeface="Open Sans"/>
                      </a:endParaRP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20</a:t>
                      </a:r>
                    </a:p>
                  </a:txBody>
                  <a:tcPr marL="115164" marR="69099" marT="69099" marB="69099"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Teams</a:t>
                      </a:r>
                    </a:p>
                  </a:txBody>
                  <a:tcPr marL="115164" marR="69099" marT="69099" marB="69099" anchor="b">
                    <a:solidFill>
                      <a:schemeClr val="accent1">
                        <a:lumMod val="20000"/>
                        <a:lumOff val="80000"/>
                      </a:schemeClr>
                    </a:solidFill>
                  </a:tcPr>
                </a:tc>
                <a:extLst>
                  <a:ext uri="{0D108BD9-81ED-4DB2-BD59-A6C34878D82A}">
                    <a16:rowId xmlns:a16="http://schemas.microsoft.com/office/drawing/2014/main" val="570105777"/>
                  </a:ext>
                </a:extLst>
              </a:tr>
              <a:tr h="341775">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b">
                    <a:solidFill>
                      <a:schemeClr val="accent1">
                        <a:lumMod val="20000"/>
                        <a:lumOff val="80000"/>
                      </a:schemeClr>
                    </a:solidFill>
                  </a:tcPr>
                </a:tc>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25783" marR="75470" marT="75470" marB="75470"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4:30 PM</a:t>
                      </a: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5:00 PM</a:t>
                      </a:r>
                    </a:p>
                  </a:txBody>
                  <a:tcPr marL="115164" marR="69099" marT="69099" marB="69099" anchor="b">
                    <a:solidFill>
                      <a:schemeClr val="accent1">
                        <a:lumMod val="20000"/>
                        <a:lumOff val="80000"/>
                      </a:schemeClr>
                    </a:solidFill>
                  </a:tcPr>
                </a:tc>
                <a:tc>
                  <a:txBody>
                    <a:bodyPr/>
                    <a:lstStyle/>
                    <a:p>
                      <a:pPr marL="0" marR="0" lvl="0" indent="0" algn="l" rtl="0" eaLnBrk="1" fontAlgn="b" latinLnBrk="0" hangingPunct="1">
                        <a:lnSpc>
                          <a:spcPct val="100000"/>
                        </a:lnSpc>
                        <a:spcBef>
                          <a:spcPts val="0"/>
                        </a:spcBef>
                        <a:spcAft>
                          <a:spcPts val="0"/>
                        </a:spcAft>
                        <a:buFontTx/>
                        <a:buNone/>
                      </a:pPr>
                      <a:r>
                        <a:rPr lang="en-US" sz="1100" b="0" i="0" u="none" strike="noStrike">
                          <a:solidFill>
                            <a:schemeClr val="tx1">
                              <a:lumMod val="85000"/>
                              <a:lumOff val="15000"/>
                            </a:schemeClr>
                          </a:solidFill>
                          <a:effectLst/>
                          <a:latin typeface="Open Sans"/>
                          <a:ea typeface="Open Sans"/>
                          <a:cs typeface="Open Sans"/>
                        </a:rPr>
                        <a:t>Coffee Break</a:t>
                      </a: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30</a:t>
                      </a:r>
                    </a:p>
                  </a:txBody>
                  <a:tcPr marL="115164" marR="69099" marT="69099" marB="69099" anchor="b">
                    <a:solidFill>
                      <a:schemeClr val="accent1">
                        <a:lumMod val="20000"/>
                        <a:lumOff val="80000"/>
                      </a:schemeClr>
                    </a:solidFill>
                  </a:tcPr>
                </a:tc>
                <a:tc>
                  <a:txBody>
                    <a:bodyPr/>
                    <a:lstStyle/>
                    <a:p>
                      <a:pPr lvl="0" algn="ctr">
                        <a:buNone/>
                      </a:pPr>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15164" marR="69099" marT="69099" marB="69099" anchor="b">
                    <a:solidFill>
                      <a:schemeClr val="accent1">
                        <a:lumMod val="20000"/>
                        <a:lumOff val="80000"/>
                      </a:schemeClr>
                    </a:solidFill>
                  </a:tcPr>
                </a:tc>
                <a:extLst>
                  <a:ext uri="{0D108BD9-81ED-4DB2-BD59-A6C34878D82A}">
                    <a16:rowId xmlns:a16="http://schemas.microsoft.com/office/drawing/2014/main" val="3743042171"/>
                  </a:ext>
                </a:extLst>
              </a:tr>
              <a:tr h="341775">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7:30 AM</a:t>
                      </a: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9:00 AM</a:t>
                      </a: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5</a:t>
                      </a:r>
                      <a:r>
                        <a:rPr lang="en-US" sz="1100" b="0" i="0" u="none" strike="noStrike">
                          <a:solidFill>
                            <a:schemeClr val="tx1">
                              <a:lumMod val="85000"/>
                              <a:lumOff val="15000"/>
                            </a:schemeClr>
                          </a:solidFill>
                          <a:effectLst/>
                          <a:latin typeface="Open Sans"/>
                          <a:ea typeface="Open Sans"/>
                          <a:cs typeface="Open Sans"/>
                          <a:sym typeface="Wingdings" panose="05000000000000000000" pitchFamily="2" charset="2"/>
                        </a:rPr>
                        <a:t>:00</a:t>
                      </a:r>
                      <a:r>
                        <a:rPr lang="en-US" sz="1100" b="0" i="0" u="none" strike="noStrike">
                          <a:solidFill>
                            <a:schemeClr val="tx1">
                              <a:lumMod val="85000"/>
                              <a:lumOff val="15000"/>
                            </a:schemeClr>
                          </a:solidFill>
                          <a:effectLst/>
                          <a:latin typeface="Open Sans"/>
                          <a:ea typeface="Open Sans"/>
                          <a:cs typeface="Open Sans"/>
                        </a:rPr>
                        <a:t> PM</a:t>
                      </a: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6:30 PM</a:t>
                      </a:r>
                    </a:p>
                  </a:txBody>
                  <a:tcPr marL="115164" marR="69099" marT="69099" marB="69099" anchor="b">
                    <a:solidFill>
                      <a:schemeClr val="accent1">
                        <a:lumMod val="20000"/>
                        <a:lumOff val="80000"/>
                      </a:schemeClr>
                    </a:solidFill>
                  </a:tcPr>
                </a:tc>
                <a:tc>
                  <a:txBody>
                    <a:bodyPr/>
                    <a:lstStyle/>
                    <a:p>
                      <a:pPr algn="l" fontAlgn="b"/>
                      <a:r>
                        <a:rPr lang="en-US" sz="1100" b="0" i="0" u="none" strike="noStrike">
                          <a:solidFill>
                            <a:schemeClr val="tx1">
                              <a:lumMod val="85000"/>
                              <a:lumOff val="15000"/>
                            </a:schemeClr>
                          </a:solidFill>
                          <a:effectLst/>
                          <a:latin typeface="Open Sans"/>
                          <a:ea typeface="Open Sans"/>
                          <a:cs typeface="Open Sans"/>
                        </a:rPr>
                        <a:t>Draft Plan Review [20 min per team]</a:t>
                      </a: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20</a:t>
                      </a:r>
                    </a:p>
                  </a:txBody>
                  <a:tcPr marL="115164" marR="69099" marT="69099" marB="69099"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Teams</a:t>
                      </a:r>
                    </a:p>
                  </a:txBody>
                  <a:tcPr marL="115164" marR="69099" marT="69099" marB="69099" anchor="b">
                    <a:solidFill>
                      <a:schemeClr val="accent1">
                        <a:lumMod val="20000"/>
                        <a:lumOff val="80000"/>
                      </a:schemeClr>
                    </a:solidFill>
                  </a:tcPr>
                </a:tc>
                <a:extLst>
                  <a:ext uri="{0D108BD9-81ED-4DB2-BD59-A6C34878D82A}">
                    <a16:rowId xmlns:a16="http://schemas.microsoft.com/office/drawing/2014/main" val="3653536053"/>
                  </a:ext>
                </a:extLst>
              </a:tr>
              <a:tr h="341774">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9:00 AM</a:t>
                      </a:r>
                    </a:p>
                  </a:txBody>
                  <a:tcPr marL="115164" marR="69099" marT="69099" marB="69099"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9:15 AM</a:t>
                      </a:r>
                    </a:p>
                  </a:txBody>
                  <a:tcPr marL="115164" marR="69099" marT="69099" marB="69099"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6:30 PM</a:t>
                      </a:r>
                    </a:p>
                  </a:txBody>
                  <a:tcPr marL="115164" marR="69099" marT="69099" marB="69099"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6:45 PM</a:t>
                      </a:r>
                    </a:p>
                  </a:txBody>
                  <a:tcPr marL="115164" marR="69099" marT="69099" marB="69099" anchor="b">
                    <a:solidFill>
                      <a:schemeClr val="accent1">
                        <a:lumMod val="20000"/>
                        <a:lumOff val="80000"/>
                      </a:schemeClr>
                    </a:solidFill>
                  </a:tcPr>
                </a:tc>
                <a:tc>
                  <a:txBody>
                    <a:bodyPr/>
                    <a:lstStyle/>
                    <a:p>
                      <a:pPr lvl="0" algn="l">
                        <a:buNone/>
                      </a:pPr>
                      <a:r>
                        <a:rPr lang="en-US" sz="1100" b="0" i="0" u="none" strike="noStrike">
                          <a:solidFill>
                            <a:schemeClr val="tx1">
                              <a:lumMod val="85000"/>
                              <a:lumOff val="15000"/>
                            </a:schemeClr>
                          </a:solidFill>
                          <a:effectLst/>
                          <a:latin typeface="Open Sans"/>
                          <a:ea typeface="Open Sans"/>
                          <a:cs typeface="Open Sans"/>
                        </a:rPr>
                        <a:t>Coffee Break</a:t>
                      </a:r>
                    </a:p>
                  </a:txBody>
                  <a:tcPr marL="115164" marR="69099" marT="69099" marB="69099"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15</a:t>
                      </a:r>
                    </a:p>
                  </a:txBody>
                  <a:tcPr marL="115164" marR="69099" marT="69099" marB="69099" anchor="b">
                    <a:solidFill>
                      <a:schemeClr val="accent1">
                        <a:lumMod val="20000"/>
                        <a:lumOff val="80000"/>
                      </a:schemeClr>
                    </a:solidFill>
                  </a:tcPr>
                </a:tc>
                <a:tc>
                  <a:txBody>
                    <a:bodyPr/>
                    <a:lstStyle/>
                    <a:p>
                      <a:pPr lvl="0" algn="ctr">
                        <a:buNone/>
                      </a:pPr>
                      <a:endParaRPr lang="en-US" sz="1100" b="0" i="0" u="none" strike="noStrike">
                        <a:solidFill>
                          <a:schemeClr val="tx1">
                            <a:lumMod val="85000"/>
                            <a:lumOff val="15000"/>
                          </a:schemeClr>
                        </a:solidFill>
                        <a:effectLst/>
                        <a:latin typeface="Open Sans"/>
                        <a:ea typeface="Open Sans" panose="020B0606030504020204" pitchFamily="34" charset="0"/>
                        <a:cs typeface="Open Sans" panose="020B0606030504020204" pitchFamily="34" charset="0"/>
                      </a:endParaRPr>
                    </a:p>
                  </a:txBody>
                  <a:tcPr marL="115164" marR="69099" marT="69099" marB="69099" anchor="b">
                    <a:solidFill>
                      <a:schemeClr val="accent1">
                        <a:lumMod val="20000"/>
                        <a:lumOff val="80000"/>
                      </a:schemeClr>
                    </a:solidFill>
                  </a:tcPr>
                </a:tc>
                <a:extLst>
                  <a:ext uri="{0D108BD9-81ED-4DB2-BD59-A6C34878D82A}">
                    <a16:rowId xmlns:a16="http://schemas.microsoft.com/office/drawing/2014/main" val="2372310566"/>
                  </a:ext>
                </a:extLst>
              </a:tr>
              <a:tr h="341775">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9:15 AM</a:t>
                      </a: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0:00 AM</a:t>
                      </a:r>
                    </a:p>
                  </a:txBody>
                  <a:tcPr marL="115164" marR="69099" marT="69099" marB="69099" anchor="b">
                    <a:solidFill>
                      <a:schemeClr val="accent1">
                        <a:lumMod val="20000"/>
                        <a:lumOff val="80000"/>
                      </a:schemeClr>
                    </a:solidFill>
                  </a:tcPr>
                </a:tc>
                <a:tc>
                  <a:txBody>
                    <a:bodyPr/>
                    <a:lstStyle/>
                    <a:p>
                      <a:pPr algn="ctr" fontAlgn="b"/>
                      <a:r>
                        <a:rPr lang="en-US" sz="1100" b="0" u="none" strike="noStrike">
                          <a:solidFill>
                            <a:schemeClr val="tx1">
                              <a:lumMod val="85000"/>
                              <a:lumOff val="15000"/>
                            </a:schemeClr>
                          </a:solidFill>
                          <a:effectLst/>
                          <a:latin typeface="Open Sans"/>
                          <a:ea typeface="Open Sans"/>
                          <a:cs typeface="Open Sans"/>
                        </a:rPr>
                        <a:t>6:45 PM</a:t>
                      </a:r>
                      <a:endParaRPr lang="en-US" sz="1100" b="0" i="0" u="none" strike="noStrike">
                        <a:solidFill>
                          <a:schemeClr val="tx1">
                            <a:lumMod val="85000"/>
                            <a:lumOff val="15000"/>
                          </a:schemeClr>
                        </a:solidFill>
                        <a:effectLst/>
                        <a:latin typeface="Open Sans"/>
                        <a:ea typeface="Open Sans"/>
                        <a:cs typeface="Open Sans"/>
                      </a:endParaRPr>
                    </a:p>
                  </a:txBody>
                  <a:tcPr marL="115164" marR="69099" marT="69099" marB="69099" anchor="b">
                    <a:solidFill>
                      <a:schemeClr val="accent1">
                        <a:lumMod val="20000"/>
                        <a:lumOff val="80000"/>
                      </a:schemeClr>
                    </a:solidFill>
                  </a:tcPr>
                </a:tc>
                <a:tc>
                  <a:txBody>
                    <a:bodyPr/>
                    <a:lstStyle/>
                    <a:p>
                      <a:pPr algn="ctr" fontAlgn="b"/>
                      <a:r>
                        <a:rPr lang="en-US" sz="1100" b="0" u="none" strike="noStrike">
                          <a:solidFill>
                            <a:schemeClr val="tx1">
                              <a:lumMod val="85000"/>
                              <a:lumOff val="15000"/>
                            </a:schemeClr>
                          </a:solidFill>
                          <a:effectLst/>
                          <a:latin typeface="Open Sans"/>
                          <a:ea typeface="Open Sans"/>
                          <a:cs typeface="Open Sans"/>
                        </a:rPr>
                        <a:t>8:00 PM</a:t>
                      </a:r>
                      <a:endParaRPr lang="en-US" sz="1100" b="0" i="0" u="none" strike="noStrike">
                        <a:solidFill>
                          <a:schemeClr val="tx1">
                            <a:lumMod val="85000"/>
                            <a:lumOff val="15000"/>
                          </a:schemeClr>
                        </a:solidFill>
                        <a:effectLst/>
                        <a:latin typeface="Open Sans"/>
                        <a:ea typeface="Open Sans"/>
                        <a:cs typeface="Open Sans"/>
                      </a:endParaRPr>
                    </a:p>
                  </a:txBody>
                  <a:tcPr marL="115164" marR="69099" marT="69099" marB="69099" anchor="b">
                    <a:solidFill>
                      <a:schemeClr val="accent1">
                        <a:lumMod val="20000"/>
                        <a:lumOff val="80000"/>
                      </a:schemeClr>
                    </a:solidFill>
                  </a:tcPr>
                </a:tc>
                <a:tc>
                  <a:txBody>
                    <a:bodyPr/>
                    <a:lstStyle/>
                    <a:p>
                      <a:pPr algn="l" fontAlgn="b"/>
                      <a:r>
                        <a:rPr lang="en-US" sz="1100" b="0" u="none" strike="noStrike">
                          <a:solidFill>
                            <a:schemeClr val="tx1">
                              <a:lumMod val="85000"/>
                              <a:lumOff val="15000"/>
                            </a:schemeClr>
                          </a:solidFill>
                          <a:effectLst/>
                          <a:latin typeface="Open Sans"/>
                          <a:ea typeface="Open Sans"/>
                          <a:cs typeface="Open Sans"/>
                        </a:rPr>
                        <a:t>Draft Plan Review [20 min per team]</a:t>
                      </a:r>
                      <a:endParaRPr lang="en-US" sz="1100" b="0" i="0" u="none" strike="noStrike" noProof="0">
                        <a:effectLst/>
                        <a:ea typeface="Open Sans"/>
                        <a:cs typeface="Open Sans"/>
                      </a:endParaRPr>
                    </a:p>
                  </a:txBody>
                  <a:tcPr marL="115164" marR="69099" marT="69099" marB="69099" anchor="b">
                    <a:solidFill>
                      <a:schemeClr val="accent1">
                        <a:lumMod val="20000"/>
                        <a:lumOff val="80000"/>
                      </a:schemeClr>
                    </a:solidFill>
                  </a:tcPr>
                </a:tc>
                <a:tc>
                  <a:txBody>
                    <a:bodyPr/>
                    <a:lstStyle/>
                    <a:p>
                      <a:pPr algn="ctr" fontAlgn="b"/>
                      <a:r>
                        <a:rPr lang="en-US" sz="1100" b="0" u="none" strike="noStrike">
                          <a:solidFill>
                            <a:schemeClr val="tx1">
                              <a:lumMod val="85000"/>
                              <a:lumOff val="15000"/>
                            </a:schemeClr>
                          </a:solidFill>
                          <a:effectLst/>
                          <a:latin typeface="Open Sans"/>
                          <a:ea typeface="Open Sans"/>
                          <a:cs typeface="Open Sans"/>
                        </a:rPr>
                        <a:t>75</a:t>
                      </a:r>
                    </a:p>
                  </a:txBody>
                  <a:tcPr marL="115164" marR="69099" marT="69099" marB="69099" anchor="b">
                    <a:solidFill>
                      <a:schemeClr val="accent1">
                        <a:lumMod val="20000"/>
                        <a:lumOff val="80000"/>
                      </a:schemeClr>
                    </a:solidFill>
                  </a:tcPr>
                </a:tc>
                <a:tc>
                  <a:txBody>
                    <a:bodyPr/>
                    <a:lstStyle/>
                    <a:p>
                      <a:pPr lvl="0" algn="ctr">
                        <a:buNone/>
                      </a:pPr>
                      <a:r>
                        <a:rPr lang="en-US" sz="1100" b="0" u="none" strike="noStrike">
                          <a:solidFill>
                            <a:schemeClr val="tx1">
                              <a:lumMod val="85000"/>
                              <a:lumOff val="15000"/>
                            </a:schemeClr>
                          </a:solidFill>
                          <a:effectLst/>
                          <a:latin typeface="Open Sans"/>
                          <a:ea typeface="Open Sans"/>
                          <a:cs typeface="Open Sans"/>
                        </a:rPr>
                        <a:t>Teams</a:t>
                      </a:r>
                    </a:p>
                  </a:txBody>
                  <a:tcPr marL="115164" marR="69099" marT="69099" marB="69099" anchor="b">
                    <a:solidFill>
                      <a:schemeClr val="accent1">
                        <a:lumMod val="20000"/>
                        <a:lumOff val="80000"/>
                      </a:schemeClr>
                    </a:solidFill>
                  </a:tcPr>
                </a:tc>
                <a:extLst>
                  <a:ext uri="{0D108BD9-81ED-4DB2-BD59-A6C34878D82A}">
                    <a16:rowId xmlns:a16="http://schemas.microsoft.com/office/drawing/2014/main" val="2928630097"/>
                  </a:ext>
                </a:extLst>
              </a:tr>
              <a:tr h="341775">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0:30 AM</a:t>
                      </a: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2:00 PM</a:t>
                      </a: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8:00 PM</a:t>
                      </a:r>
                    </a:p>
                  </a:txBody>
                  <a:tcPr marL="115164" marR="69099" marT="69099" marB="69099" anchor="b">
                    <a:solidFill>
                      <a:schemeClr val="accent1">
                        <a:lumMod val="20000"/>
                        <a:lumOff val="80000"/>
                      </a:schemeClr>
                    </a:solidFill>
                  </a:tcPr>
                </a:tc>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15164" marR="69099" marT="69099" marB="69099" anchor="b">
                    <a:solidFill>
                      <a:schemeClr val="accent1">
                        <a:lumMod val="20000"/>
                        <a:lumOff val="80000"/>
                      </a:schemeClr>
                    </a:solidFill>
                  </a:tcPr>
                </a:tc>
                <a:tc>
                  <a:txBody>
                    <a:bodyPr/>
                    <a:lstStyle/>
                    <a:p>
                      <a:pPr marL="0" lvl="0" algn="l">
                        <a:buNone/>
                      </a:pPr>
                      <a:r>
                        <a:rPr lang="en-US" sz="1100" b="0" u="none" strike="noStrike" kern="1200" noProof="0">
                          <a:solidFill>
                            <a:schemeClr val="tx1">
                              <a:lumMod val="85000"/>
                              <a:lumOff val="15000"/>
                            </a:schemeClr>
                          </a:solidFill>
                          <a:effectLst/>
                          <a:latin typeface="Open Sans"/>
                        </a:rPr>
                        <a:t>Break for US/USI Leaves for the day</a:t>
                      </a:r>
                      <a:endParaRPr lang="en-US" sz="1100" b="0" u="none" strike="noStrike" kern="1200">
                        <a:solidFill>
                          <a:schemeClr val="tx1">
                            <a:lumMod val="85000"/>
                            <a:lumOff val="15000"/>
                          </a:schemeClr>
                        </a:solidFill>
                        <a:effectLst/>
                        <a:latin typeface="Open Sans"/>
                      </a:endParaRPr>
                    </a:p>
                  </a:txBody>
                  <a:tcPr marL="115164" marR="69099" marT="69099" marB="69099"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90</a:t>
                      </a:r>
                    </a:p>
                  </a:txBody>
                  <a:tcPr marL="115164" marR="69099" marT="69099" marB="69099"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Teams</a:t>
                      </a:r>
                    </a:p>
                  </a:txBody>
                  <a:tcPr marL="115164" marR="69099" marT="69099" marB="69099" anchor="b">
                    <a:solidFill>
                      <a:schemeClr val="accent1">
                        <a:lumMod val="20000"/>
                        <a:lumOff val="80000"/>
                      </a:schemeClr>
                    </a:solidFill>
                  </a:tcPr>
                </a:tc>
                <a:extLst>
                  <a:ext uri="{0D108BD9-81ED-4DB2-BD59-A6C34878D82A}">
                    <a16:rowId xmlns:a16="http://schemas.microsoft.com/office/drawing/2014/main" val="449790435"/>
                  </a:ext>
                </a:extLst>
              </a:tr>
              <a:tr h="341775">
                <a:tc>
                  <a:txBody>
                    <a:bodyPr/>
                    <a:lstStyle/>
                    <a:p>
                      <a:pPr marL="0" lvl="0" algn="ctr">
                        <a:buNone/>
                      </a:pPr>
                      <a:r>
                        <a:rPr lang="en-US" sz="1100" b="0" i="0" u="none" strike="noStrike" kern="1200">
                          <a:solidFill>
                            <a:schemeClr val="tx1">
                              <a:lumMod val="85000"/>
                              <a:lumOff val="15000"/>
                            </a:schemeClr>
                          </a:solidFill>
                          <a:effectLst/>
                          <a:latin typeface="Open Sans"/>
                          <a:ea typeface="Open Sans"/>
                          <a:cs typeface="Open Sans"/>
                        </a:rPr>
                        <a:t>12:00 PM</a:t>
                      </a:r>
                    </a:p>
                  </a:txBody>
                  <a:tcPr marL="115164" marR="69099" marT="69099" marB="69099" anchor="b">
                    <a:solidFill>
                      <a:schemeClr val="accent1">
                        <a:lumMod val="20000"/>
                        <a:lumOff val="80000"/>
                      </a:schemeClr>
                    </a:solidFill>
                  </a:tcPr>
                </a:tc>
                <a:tc>
                  <a:txBody>
                    <a:bodyPr/>
                    <a:lstStyle/>
                    <a:p>
                      <a:pPr marL="0" lvl="0" algn="ctr">
                        <a:buNone/>
                      </a:pPr>
                      <a:r>
                        <a:rPr lang="en-US" sz="1100" b="0" i="0" u="none" strike="noStrike" kern="1200">
                          <a:solidFill>
                            <a:schemeClr val="tx1">
                              <a:lumMod val="85000"/>
                              <a:lumOff val="15000"/>
                            </a:schemeClr>
                          </a:solidFill>
                          <a:effectLst/>
                          <a:latin typeface="Open Sans"/>
                          <a:ea typeface="Open Sans"/>
                          <a:cs typeface="Open Sans"/>
                        </a:rPr>
                        <a:t>4:00 PM</a:t>
                      </a:r>
                    </a:p>
                  </a:txBody>
                  <a:tcPr marL="115164" marR="69099" marT="69099" marB="69099" anchor="b">
                    <a:solidFill>
                      <a:schemeClr val="accent1">
                        <a:lumMod val="20000"/>
                        <a:lumOff val="80000"/>
                      </a:schemeClr>
                    </a:solidFill>
                  </a:tcPr>
                </a:tc>
                <a:tc>
                  <a:txBody>
                    <a:bodyPr/>
                    <a:lstStyle/>
                    <a:p>
                      <a:pPr marL="0" lvl="0" algn="ctr" defTabSz="1219170">
                        <a:buNone/>
                      </a:pPr>
                      <a:endParaRPr lang="en-US" sz="1100" b="0" i="0" u="none" strike="noStrike" kern="1200">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15164" marR="69099" marT="69099" marB="69099" anchor="b">
                    <a:solidFill>
                      <a:schemeClr val="accent1">
                        <a:lumMod val="20000"/>
                        <a:lumOff val="80000"/>
                      </a:schemeClr>
                    </a:solidFill>
                  </a:tcPr>
                </a:tc>
                <a:tc>
                  <a:txBody>
                    <a:bodyPr/>
                    <a:lstStyle/>
                    <a:p>
                      <a:pPr marL="0" lvl="0" algn="ctr" defTabSz="1219170">
                        <a:buNone/>
                      </a:pPr>
                      <a:endParaRPr lang="en-US" sz="1100" b="0" i="0" u="none" strike="noStrike" kern="1200">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15164" marR="69099" marT="69099" marB="69099" anchor="b">
                    <a:solidFill>
                      <a:schemeClr val="accent1">
                        <a:lumMod val="20000"/>
                        <a:lumOff val="80000"/>
                      </a:schemeClr>
                    </a:solidFill>
                  </a:tcPr>
                </a:tc>
                <a:tc>
                  <a:txBody>
                    <a:bodyPr/>
                    <a:lstStyle/>
                    <a:p>
                      <a:pPr marL="0" lvl="0" algn="l">
                        <a:buNone/>
                      </a:pPr>
                      <a:r>
                        <a:rPr lang="en-US" sz="1100" b="0" u="none" strike="noStrike" kern="1200">
                          <a:solidFill>
                            <a:schemeClr val="tx1">
                              <a:lumMod val="85000"/>
                              <a:lumOff val="15000"/>
                            </a:schemeClr>
                          </a:solidFill>
                          <a:effectLst/>
                          <a:latin typeface="Open Sans"/>
                          <a:ea typeface="Open Sans"/>
                          <a:cs typeface="Open Sans"/>
                        </a:rPr>
                        <a:t>Team Breakouts – Day 2 for US</a:t>
                      </a:r>
                    </a:p>
                  </a:txBody>
                  <a:tcPr marL="115164" marR="69099" marT="69099" marB="69099" anchor="b">
                    <a:solidFill>
                      <a:schemeClr val="accent1">
                        <a:lumMod val="20000"/>
                        <a:lumOff val="80000"/>
                      </a:schemeClr>
                    </a:solidFill>
                  </a:tcPr>
                </a:tc>
                <a:tc>
                  <a:txBody>
                    <a:bodyPr/>
                    <a:lstStyle/>
                    <a:p>
                      <a:pPr marL="0" lvl="0" algn="ctr" defTabSz="1219170">
                        <a:buNone/>
                      </a:pPr>
                      <a:r>
                        <a:rPr lang="en-US" sz="1100" b="0" i="0" u="none" strike="noStrike" kern="1200">
                          <a:solidFill>
                            <a:schemeClr val="tx1">
                              <a:lumMod val="85000"/>
                              <a:lumOff val="15000"/>
                            </a:schemeClr>
                          </a:solidFill>
                          <a:effectLst/>
                          <a:latin typeface="Open Sans"/>
                          <a:ea typeface="Open Sans"/>
                          <a:cs typeface="Open Sans"/>
                        </a:rPr>
                        <a:t>240</a:t>
                      </a:r>
                    </a:p>
                  </a:txBody>
                  <a:tcPr marL="115164" marR="69099" marT="69099" marB="69099" anchor="b">
                    <a:solidFill>
                      <a:schemeClr val="accent1">
                        <a:lumMod val="20000"/>
                        <a:lumOff val="80000"/>
                      </a:schemeClr>
                    </a:solidFill>
                  </a:tcPr>
                </a:tc>
                <a:tc>
                  <a:txBody>
                    <a:bodyPr/>
                    <a:lstStyle/>
                    <a:p>
                      <a:pPr marL="0" lvl="0" algn="ctr" defTabSz="1219170">
                        <a:buNone/>
                      </a:pPr>
                      <a:r>
                        <a:rPr lang="en-US" sz="1100" b="0" i="0" u="none" strike="noStrike" kern="1200">
                          <a:solidFill>
                            <a:schemeClr val="tx1">
                              <a:lumMod val="85000"/>
                              <a:lumOff val="15000"/>
                            </a:schemeClr>
                          </a:solidFill>
                          <a:effectLst/>
                          <a:latin typeface="Open Sans"/>
                          <a:ea typeface="Open Sans"/>
                          <a:cs typeface="Open Sans"/>
                        </a:rPr>
                        <a:t>Teams</a:t>
                      </a:r>
                    </a:p>
                  </a:txBody>
                  <a:tcPr marL="115164" marR="69099" marT="69099" marB="69099" anchor="b">
                    <a:solidFill>
                      <a:schemeClr val="accent1">
                        <a:lumMod val="20000"/>
                        <a:lumOff val="80000"/>
                      </a:schemeClr>
                    </a:solidFill>
                  </a:tcPr>
                </a:tc>
                <a:extLst>
                  <a:ext uri="{0D108BD9-81ED-4DB2-BD59-A6C34878D82A}">
                    <a16:rowId xmlns:a16="http://schemas.microsoft.com/office/drawing/2014/main" val="1539015402"/>
                  </a:ext>
                </a:extLst>
              </a:tr>
            </a:tbl>
          </a:graphicData>
        </a:graphic>
      </p:graphicFrame>
      <p:sp>
        <p:nvSpPr>
          <p:cNvPr id="5" name="Title 1">
            <a:extLst>
              <a:ext uri="{FF2B5EF4-FFF2-40B4-BE49-F238E27FC236}">
                <a16:creationId xmlns:a16="http://schemas.microsoft.com/office/drawing/2014/main" id="{BDFC5B9C-AB1B-472D-B8E8-003403F9A3E9}"/>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1500" kern="1200">
                <a:solidFill>
                  <a:schemeClr val="tx1"/>
                </a:solidFill>
                <a:latin typeface="+mj-lt"/>
                <a:ea typeface="+mj-ea"/>
                <a:cs typeface="+mj-cs"/>
              </a:defRPr>
            </a:lvl1pPr>
          </a:lstStyle>
          <a:p>
            <a:r>
              <a:rPr lang="en-US" sz="1800" b="1">
                <a:latin typeface="Open Sans"/>
                <a:ea typeface="Open Sans"/>
                <a:cs typeface="Open Sans"/>
              </a:rPr>
              <a:t>Agenda Day 2 – </a:t>
            </a:r>
            <a:r>
              <a:rPr lang="en-US" sz="1800" b="1">
                <a:solidFill>
                  <a:srgbClr val="000000"/>
                </a:solidFill>
                <a:latin typeface="Open Sans"/>
                <a:ea typeface="Open Sans"/>
                <a:cs typeface="Open Sans"/>
              </a:rPr>
              <a:t>July 14, 2021</a:t>
            </a:r>
          </a:p>
        </p:txBody>
      </p:sp>
    </p:spTree>
    <p:extLst>
      <p:ext uri="{BB962C8B-B14F-4D97-AF65-F5344CB8AC3E}">
        <p14:creationId xmlns:p14="http://schemas.microsoft.com/office/powerpoint/2010/main" val="1039189330"/>
      </p:ext>
    </p:extLst>
  </p:cSld>
  <p:clrMapOvr>
    <a:overrideClrMapping bg1="lt1" tx1="dk1" bg2="lt2" tx2="dk2" accent1="accent1" accent2="accent2" accent3="accent3" accent4="accent4" accent5="accent5" accent6="accent6" hlink="hlink" folHlink="folHlink"/>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16EB711-1DFD-4BF5-AB76-CAB609BEB155}"/>
              </a:ext>
            </a:extLst>
          </p:cNvPr>
          <p:cNvSpPr txBox="1">
            <a:spLocks/>
          </p:cNvSpPr>
          <p:nvPr/>
        </p:nvSpPr>
        <p:spPr>
          <a:xfrm>
            <a:off x="422275" y="174625"/>
            <a:ext cx="11252200" cy="4572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a:latin typeface="Open Sans" panose="020B0606030504020204" pitchFamily="34" charset="0"/>
                <a:ea typeface="Open Sans" panose="020B0606030504020204" pitchFamily="34" charset="0"/>
                <a:cs typeface="Open Sans" panose="020B0606030504020204" pitchFamily="34" charset="0"/>
              </a:rPr>
              <a:t>AQMM </a:t>
            </a:r>
            <a:r>
              <a:rPr lang="en-US" sz="1800" b="1">
                <a:solidFill>
                  <a:schemeClr val="tx2"/>
                </a:solidFill>
                <a:latin typeface="Open Sans" panose="020B0606030504020204" pitchFamily="34" charset="0"/>
                <a:ea typeface="Open Sans" panose="020B0606030504020204" pitchFamily="34" charset="0"/>
                <a:cs typeface="Open Sans" panose="020B0606030504020204" pitchFamily="34" charset="0"/>
              </a:rPr>
              <a:t>(Current State)</a:t>
            </a:r>
          </a:p>
        </p:txBody>
      </p:sp>
      <p:pic>
        <p:nvPicPr>
          <p:cNvPr id="2050" name="Picture 2">
            <a:extLst>
              <a:ext uri="{FF2B5EF4-FFF2-40B4-BE49-F238E27FC236}">
                <a16:creationId xmlns:a16="http://schemas.microsoft.com/office/drawing/2014/main" id="{392CEDD1-6F96-4E1E-9663-033FF6A2D8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7881" y="868952"/>
            <a:ext cx="7996237" cy="58144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12597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16EB711-1DFD-4BF5-AB76-CAB609BEB155}"/>
              </a:ext>
            </a:extLst>
          </p:cNvPr>
          <p:cNvSpPr txBox="1">
            <a:spLocks/>
          </p:cNvSpPr>
          <p:nvPr/>
        </p:nvSpPr>
        <p:spPr>
          <a:xfrm>
            <a:off x="422275" y="174625"/>
            <a:ext cx="11252200" cy="4572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a:latin typeface="Open Sans" panose="020B0606030504020204" pitchFamily="34" charset="0"/>
                <a:ea typeface="Open Sans" panose="020B0606030504020204" pitchFamily="34" charset="0"/>
                <a:cs typeface="Open Sans" panose="020B0606030504020204" pitchFamily="34" charset="0"/>
              </a:rPr>
              <a:t>AQMM - Ink Integration</a:t>
            </a:r>
          </a:p>
        </p:txBody>
      </p:sp>
      <p:pic>
        <p:nvPicPr>
          <p:cNvPr id="8" name="Picture 7" descr="Graphical user interface, diagram, application&#10;&#10;Description automatically generated">
            <a:extLst>
              <a:ext uri="{FF2B5EF4-FFF2-40B4-BE49-F238E27FC236}">
                <a16:creationId xmlns:a16="http://schemas.microsoft.com/office/drawing/2014/main" id="{D1874747-7883-49F6-9A8E-B87443EAD5CE}"/>
              </a:ext>
            </a:extLst>
          </p:cNvPr>
          <p:cNvPicPr>
            <a:picLocks noChangeAspect="1"/>
          </p:cNvPicPr>
          <p:nvPr/>
        </p:nvPicPr>
        <p:blipFill>
          <a:blip r:embed="rId2"/>
          <a:stretch>
            <a:fillRect/>
          </a:stretch>
        </p:blipFill>
        <p:spPr>
          <a:xfrm>
            <a:off x="800894" y="1112838"/>
            <a:ext cx="10494962" cy="5333529"/>
          </a:xfrm>
          <a:prstGeom prst="rect">
            <a:avLst/>
          </a:prstGeom>
        </p:spPr>
      </p:pic>
    </p:spTree>
    <p:extLst>
      <p:ext uri="{BB962C8B-B14F-4D97-AF65-F5344CB8AC3E}">
        <p14:creationId xmlns:p14="http://schemas.microsoft.com/office/powerpoint/2010/main" val="6642709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9"/>
          <p:cNvSpPr txBox="1">
            <a:spLocks/>
          </p:cNvSpPr>
          <p:nvPr/>
        </p:nvSpPr>
        <p:spPr>
          <a:xfrm>
            <a:off x="486107" y="915886"/>
            <a:ext cx="11529372" cy="5598972"/>
          </a:xfrm>
          <a:prstGeom prst="rect">
            <a:avLst/>
          </a:prstGeom>
        </p:spPr>
        <p:txBody>
          <a:bodyPr vert="horz" lIns="0" tIns="0" rIns="0" bIns="0" rtlCol="0" anchor="t">
            <a:noAutofit/>
          </a:bodyPr>
          <a:lstStyle>
            <a:lvl1pPr marL="502211" indent="-502211" algn="l" defTabSz="669615" rtl="0" eaLnBrk="1" latinLnBrk="0" hangingPunct="1">
              <a:spcBef>
                <a:spcPts val="1465"/>
              </a:spcBef>
              <a:spcAft>
                <a:spcPts val="0"/>
              </a:spcAft>
              <a:buClr>
                <a:schemeClr val="accent1"/>
              </a:buClr>
              <a:buSzPct val="80000"/>
              <a:buFont typeface="Wingdings 3" charset="2"/>
              <a:buChar char=""/>
              <a:defRPr sz="2636" kern="1200">
                <a:solidFill>
                  <a:schemeClr val="tx1">
                    <a:lumMod val="75000"/>
                    <a:lumOff val="25000"/>
                  </a:schemeClr>
                </a:solidFill>
                <a:latin typeface="+mn-lt"/>
                <a:ea typeface="+mn-ea"/>
                <a:cs typeface="+mn-cs"/>
              </a:defRPr>
            </a:lvl1pPr>
            <a:lvl2pPr marL="1088125" indent="-418509" algn="l" defTabSz="669615" rtl="0" eaLnBrk="1" latinLnBrk="0" hangingPunct="1">
              <a:spcBef>
                <a:spcPts val="1465"/>
              </a:spcBef>
              <a:spcAft>
                <a:spcPts val="0"/>
              </a:spcAft>
              <a:buClr>
                <a:schemeClr val="accent1"/>
              </a:buClr>
              <a:buSzPct val="80000"/>
              <a:buFont typeface="Wingdings 3" charset="2"/>
              <a:buChar char=""/>
              <a:defRPr sz="2343" kern="1200">
                <a:solidFill>
                  <a:schemeClr val="tx1">
                    <a:lumMod val="75000"/>
                    <a:lumOff val="25000"/>
                  </a:schemeClr>
                </a:solidFill>
                <a:latin typeface="+mn-lt"/>
                <a:ea typeface="+mn-ea"/>
                <a:cs typeface="+mn-cs"/>
              </a:defRPr>
            </a:lvl2pPr>
            <a:lvl3pPr marL="1674038" indent="-334808" algn="l" defTabSz="669615" rtl="0" eaLnBrk="1" latinLnBrk="0" hangingPunct="1">
              <a:spcBef>
                <a:spcPts val="1465"/>
              </a:spcBef>
              <a:spcAft>
                <a:spcPts val="0"/>
              </a:spcAft>
              <a:buClr>
                <a:schemeClr val="accent1"/>
              </a:buClr>
              <a:buSzPct val="80000"/>
              <a:buFont typeface="Wingdings 3" charset="2"/>
              <a:buChar char=""/>
              <a:defRPr sz="2050" kern="1200">
                <a:solidFill>
                  <a:schemeClr val="tx1">
                    <a:lumMod val="75000"/>
                    <a:lumOff val="25000"/>
                  </a:schemeClr>
                </a:solidFill>
                <a:latin typeface="+mn-lt"/>
                <a:ea typeface="+mn-ea"/>
                <a:cs typeface="+mn-cs"/>
              </a:defRPr>
            </a:lvl3pPr>
            <a:lvl4pPr marL="234365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4pPr>
            <a:lvl5pPr marL="3013268"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5pPr>
            <a:lvl6pPr marL="368288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6pPr>
            <a:lvl7pPr marL="4352498"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7pPr>
            <a:lvl8pPr marL="5022113"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8pPr>
            <a:lvl9pPr marL="5691729" indent="-334808" algn="l" defTabSz="669615" rtl="0" eaLnBrk="1" latinLnBrk="0" hangingPunct="1">
              <a:spcBef>
                <a:spcPts val="1465"/>
              </a:spcBef>
              <a:spcAft>
                <a:spcPts val="0"/>
              </a:spcAft>
              <a:buClr>
                <a:schemeClr val="accent1"/>
              </a:buClr>
              <a:buSzPct val="80000"/>
              <a:buFont typeface="Wingdings 3" charset="2"/>
              <a:buChar char=""/>
              <a:defRPr sz="1758" kern="1200">
                <a:solidFill>
                  <a:schemeClr val="tx1">
                    <a:lumMod val="75000"/>
                    <a:lumOff val="25000"/>
                  </a:schemeClr>
                </a:solidFill>
                <a:latin typeface="+mn-lt"/>
                <a:ea typeface="+mn-ea"/>
                <a:cs typeface="+mn-cs"/>
              </a:defRPr>
            </a:lvl9pPr>
          </a:lstStyle>
          <a:p>
            <a:pPr marL="0" indent="0" defTabSz="457213">
              <a:buNone/>
              <a:defRPr/>
            </a:pPr>
            <a:r>
              <a:rPr lang="en-GB" sz="1400">
                <a:solidFill>
                  <a:srgbClr val="404040"/>
                </a:solidFill>
                <a:latin typeface="Open Sans"/>
              </a:rPr>
              <a:t>       </a:t>
            </a:r>
            <a:r>
              <a:rPr lang="en-GB" sz="1400">
                <a:latin typeface="Open Sans"/>
                <a:cs typeface="Calibri" panose="020F0502020204030204"/>
              </a:rPr>
              <a:t> </a:t>
            </a:r>
            <a:r>
              <a:rPr lang="en-GB" sz="1400">
                <a:solidFill>
                  <a:srgbClr val="404040"/>
                </a:solidFill>
                <a:latin typeface="Open Sans"/>
              </a:rPr>
              <a:t>Architectural enablers</a:t>
            </a:r>
            <a:endParaRPr lang="en-GB" sz="1400">
              <a:solidFill>
                <a:srgbClr val="404040"/>
              </a:solidFill>
              <a:latin typeface="Open Sans"/>
              <a:ea typeface="+mn-lt"/>
              <a:cs typeface="+mn-lt"/>
            </a:endParaRPr>
          </a:p>
          <a:p>
            <a:pPr marL="0" indent="0" defTabSz="457213">
              <a:buNone/>
              <a:defRPr/>
            </a:pPr>
            <a:endParaRPr lang="en-GB" sz="1400">
              <a:latin typeface="Open Sans"/>
              <a:ea typeface="+mn-lt"/>
              <a:cs typeface="+mn-lt"/>
            </a:endParaRPr>
          </a:p>
          <a:p>
            <a:pPr marL="1087755" lvl="2" indent="-334645" defTabSz="457213">
              <a:spcBef>
                <a:spcPts val="1000"/>
              </a:spcBef>
              <a:buClr>
                <a:srgbClr val="86BC25"/>
              </a:buClr>
              <a:buFont typeface="Wingdings" charset="2"/>
              <a:buChar char="ü"/>
              <a:defRPr/>
            </a:pPr>
            <a:r>
              <a:rPr lang="en-US" sz="1400">
                <a:solidFill>
                  <a:srgbClr val="404040"/>
                </a:solidFill>
                <a:latin typeface="Open Sans"/>
                <a:cs typeface="Calibri" panose="020F0502020204030204"/>
              </a:rPr>
              <a:t>Webtop  UCF Certificates upgrade</a:t>
            </a:r>
            <a:endParaRPr lang="en-US" sz="1400">
              <a:solidFill>
                <a:srgbClr val="404040"/>
              </a:solidFill>
              <a:latin typeface="Calibri" panose="020F0502020204030204"/>
              <a:cs typeface="Calibri" panose="020F0502020204030204"/>
            </a:endParaRPr>
          </a:p>
          <a:p>
            <a:pPr marL="1087755" lvl="2" indent="-334645" defTabSz="457213">
              <a:spcBef>
                <a:spcPts val="1000"/>
              </a:spcBef>
              <a:buClr>
                <a:srgbClr val="86BC25"/>
              </a:buClr>
              <a:buFont typeface="Wingdings" charset="2"/>
              <a:buChar char="ü"/>
              <a:defRPr/>
            </a:pPr>
            <a:r>
              <a:rPr lang="en-US" sz="1400">
                <a:solidFill>
                  <a:srgbClr val="404040"/>
                </a:solidFill>
                <a:latin typeface="Open Sans"/>
                <a:cs typeface="Calibri" panose="020F0502020204030204"/>
              </a:rPr>
              <a:t>Webtop Upgrade to 16.7.4</a:t>
            </a:r>
            <a:endParaRPr lang="en-US" sz="1400">
              <a:cs typeface="Calibri" panose="020F0502020204030204"/>
            </a:endParaRPr>
          </a:p>
          <a:p>
            <a:pPr marL="1087755" lvl="2" indent="-334645" defTabSz="457213">
              <a:spcBef>
                <a:spcPts val="1000"/>
              </a:spcBef>
              <a:buClr>
                <a:srgbClr val="86BC25"/>
              </a:buClr>
              <a:buFont typeface="Wingdings" charset="2"/>
              <a:buChar char="ü"/>
              <a:defRPr/>
            </a:pPr>
            <a:r>
              <a:rPr lang="en-US" sz="1400">
                <a:latin typeface="Open Sans"/>
                <a:ea typeface="Open Sans"/>
                <a:cs typeface="Calibri"/>
              </a:rPr>
              <a:t>OS and SQL upgrade</a:t>
            </a:r>
            <a:endParaRPr lang="en-US" sz="1400">
              <a:latin typeface="Calibri" panose="020F0502020204030204"/>
              <a:ea typeface="Open Sans"/>
              <a:cs typeface="Calibri" panose="020F0502020204030204"/>
            </a:endParaRPr>
          </a:p>
          <a:p>
            <a:pPr marL="1087755" lvl="2" indent="-334645" defTabSz="457213">
              <a:spcBef>
                <a:spcPts val="1000"/>
              </a:spcBef>
              <a:buClr>
                <a:srgbClr val="86BC25"/>
              </a:buClr>
              <a:buFont typeface="Wingdings" charset="2"/>
              <a:buChar char="ü"/>
              <a:defRPr/>
            </a:pPr>
            <a:r>
              <a:rPr lang="en-US" sz="1400">
                <a:latin typeface="Open Sans"/>
                <a:ea typeface="Open Sans"/>
                <a:cs typeface="Calibri"/>
              </a:rPr>
              <a:t>Documentum administrator (</a:t>
            </a:r>
            <a:r>
              <a:rPr lang="en-US" sz="1400" err="1">
                <a:latin typeface="Open Sans"/>
                <a:ea typeface="Open Sans"/>
                <a:cs typeface="Calibri"/>
              </a:rPr>
              <a:t>Docadmin</a:t>
            </a:r>
            <a:r>
              <a:rPr lang="en-US" sz="1400">
                <a:latin typeface="Open Sans"/>
                <a:ea typeface="Open Sans"/>
                <a:cs typeface="Calibri"/>
              </a:rPr>
              <a:t>) upgrade</a:t>
            </a:r>
          </a:p>
          <a:p>
            <a:pPr marL="1087755" lvl="2" indent="-334645" defTabSz="457213">
              <a:spcBef>
                <a:spcPts val="1000"/>
              </a:spcBef>
              <a:buClr>
                <a:srgbClr val="86BC25"/>
              </a:buClr>
              <a:buFont typeface="Wingdings" charset="2"/>
              <a:buChar char="ü"/>
              <a:defRPr/>
            </a:pPr>
            <a:r>
              <a:rPr lang="en-GB" sz="1400">
                <a:latin typeface="Open Sans"/>
                <a:ea typeface="Open Sans"/>
                <a:cs typeface="Open Sans"/>
              </a:rPr>
              <a:t>Cloud Migration </a:t>
            </a:r>
            <a:r>
              <a:rPr lang="en-GB" sz="1700">
                <a:latin typeface="Open Sans"/>
                <a:ea typeface="Open Sans"/>
                <a:cs typeface="Open Sans"/>
              </a:rPr>
              <a:t> </a:t>
            </a:r>
            <a:endParaRPr lang="en-US" sz="1700">
              <a:ea typeface="+mn-lt"/>
              <a:cs typeface="+mn-lt"/>
            </a:endParaRPr>
          </a:p>
          <a:p>
            <a:pPr marL="2426970" lvl="4" indent="-334645" defTabSz="457213">
              <a:spcBef>
                <a:spcPts val="1000"/>
              </a:spcBef>
              <a:buClr>
                <a:srgbClr val="86BC25"/>
              </a:buClr>
              <a:buFont typeface="Wingdings" charset="2"/>
              <a:buChar char="ü"/>
              <a:defRPr/>
            </a:pPr>
            <a:endParaRPr lang="en-US" sz="1400">
              <a:solidFill>
                <a:srgbClr val="404040"/>
              </a:solidFill>
              <a:latin typeface="Open Sans"/>
              <a:ea typeface="Open Sans"/>
              <a:cs typeface="Calibri" panose="020F0502020204030204"/>
            </a:endParaRPr>
          </a:p>
          <a:p>
            <a:pPr marL="1757045" lvl="3" indent="-501650" defTabSz="457213">
              <a:spcBef>
                <a:spcPts val="1000"/>
              </a:spcBef>
              <a:buClr>
                <a:srgbClr val="86BC25"/>
              </a:buClr>
              <a:defRPr/>
            </a:pPr>
            <a:endParaRPr lang="en-US" sz="1400">
              <a:solidFill>
                <a:srgbClr val="404040"/>
              </a:solidFill>
              <a:latin typeface="Open Sans"/>
              <a:ea typeface="Open Sans"/>
              <a:cs typeface="Calibri" panose="020F0502020204030204"/>
            </a:endParaRPr>
          </a:p>
          <a:p>
            <a:pPr marL="233680" indent="-233680" defTabSz="457213">
              <a:spcBef>
                <a:spcPts val="1000"/>
              </a:spcBef>
              <a:buClr>
                <a:srgbClr val="86BC25"/>
              </a:buClr>
              <a:buFont typeface="Wingdings 3" charset="2"/>
              <a:buChar char=""/>
              <a:defRPr/>
            </a:pPr>
            <a:endParaRPr lang="en-GB" sz="1400">
              <a:solidFill>
                <a:srgbClr val="404040"/>
              </a:solidFill>
              <a:latin typeface="Open Sans"/>
              <a:ea typeface="Open Sans"/>
              <a:cs typeface="Calibri" panose="020F0502020204030204"/>
            </a:endParaRPr>
          </a:p>
          <a:p>
            <a:pPr marL="501650" indent="-501650" defTabSz="457213">
              <a:buClr>
                <a:srgbClr val="86BC25"/>
              </a:buClr>
              <a:buFont typeface="Wingdings 3"/>
              <a:buChar char=""/>
              <a:defRPr/>
            </a:pPr>
            <a:endParaRPr lang="en-US" sz="1400">
              <a:solidFill>
                <a:srgbClr val="000000"/>
              </a:solidFill>
              <a:latin typeface="Open Sans"/>
              <a:ea typeface="Open Sans"/>
              <a:cs typeface="Calibri" panose="020F0502020204030204"/>
            </a:endParaRPr>
          </a:p>
          <a:p>
            <a:pPr marL="1405890" lvl="2" indent="-233680" defTabSz="457213">
              <a:spcBef>
                <a:spcPts val="1000"/>
              </a:spcBef>
              <a:buClr>
                <a:srgbClr val="86BC25"/>
              </a:buClr>
              <a:buFont typeface="Wingdings 3" charset="2"/>
              <a:buChar char=""/>
              <a:defRPr/>
            </a:pPr>
            <a:endParaRPr lang="en-GB" sz="1400">
              <a:solidFill>
                <a:srgbClr val="404040"/>
              </a:solidFill>
              <a:latin typeface="Open Sans"/>
              <a:ea typeface="Open Sans"/>
              <a:cs typeface="Open Sans"/>
            </a:endParaRPr>
          </a:p>
          <a:p>
            <a:pPr marL="501650" indent="-501650" defTabSz="457213">
              <a:buClr>
                <a:srgbClr val="86BC25"/>
              </a:buClr>
              <a:buFont typeface="Wingdings 3"/>
              <a:buChar char=""/>
              <a:defRPr/>
            </a:pPr>
            <a:endParaRPr lang="en-US" sz="1400">
              <a:solidFill>
                <a:srgbClr val="404040"/>
              </a:solidFill>
              <a:latin typeface="Open Sans"/>
              <a:ea typeface="Open Sans"/>
              <a:cs typeface="Calibri"/>
            </a:endParaRPr>
          </a:p>
          <a:p>
            <a:pPr marL="1373505" lvl="1" indent="-285750" defTabSz="457213">
              <a:buClr>
                <a:srgbClr val="86BC25"/>
              </a:buClr>
              <a:buFont typeface="Wingdings 3"/>
              <a:buChar char=""/>
              <a:defRPr/>
            </a:pPr>
            <a:endParaRPr lang="en-GB" sz="1400">
              <a:solidFill>
                <a:srgbClr val="404040"/>
              </a:solidFill>
              <a:latin typeface="Open Sans"/>
              <a:ea typeface="Open Sans"/>
              <a:cs typeface="Calibri"/>
            </a:endParaRPr>
          </a:p>
          <a:p>
            <a:pPr marL="0" indent="0" defTabSz="457213">
              <a:spcBef>
                <a:spcPts val="1000"/>
              </a:spcBef>
              <a:buClr>
                <a:srgbClr val="86BC25"/>
              </a:buClr>
              <a:buNone/>
              <a:defRPr/>
            </a:pPr>
            <a:endParaRPr lang="en-GB" sz="1400">
              <a:solidFill>
                <a:srgbClr val="404040"/>
              </a:solidFill>
              <a:latin typeface="Open Sans"/>
              <a:ea typeface="Open Sans" panose="020B0606030504020204" pitchFamily="34" charset="0"/>
              <a:cs typeface="Calibri"/>
            </a:endParaRPr>
          </a:p>
          <a:p>
            <a:pPr marL="0" indent="0" defTabSz="457213">
              <a:spcBef>
                <a:spcPts val="1000"/>
              </a:spcBef>
              <a:buClr>
                <a:srgbClr val="86BC25"/>
              </a:buClr>
              <a:buNone/>
              <a:defRPr/>
            </a:pPr>
            <a:endParaRPr lang="en-GB" sz="1400">
              <a:solidFill>
                <a:srgbClr val="000000"/>
              </a:solidFill>
              <a:latin typeface="Open Sans"/>
              <a:ea typeface="Open Sans" panose="020B0606030504020204" pitchFamily="34" charset="0"/>
              <a:cs typeface="Calibri"/>
            </a:endParaRPr>
          </a:p>
          <a:p>
            <a:pPr marL="0" indent="0" defTabSz="457213">
              <a:spcBef>
                <a:spcPts val="1000"/>
              </a:spcBef>
              <a:buClr>
                <a:srgbClr val="86BC25"/>
              </a:buClr>
              <a:buNone/>
              <a:defRPr/>
            </a:pPr>
            <a:endParaRPr lang="en-GB" sz="1400">
              <a:solidFill>
                <a:srgbClr val="000000"/>
              </a:solidFill>
              <a:latin typeface="Open Sans"/>
              <a:ea typeface="Open Sans" panose="020B0606030504020204" pitchFamily="34" charset="0"/>
              <a:cs typeface="+mn-lt"/>
            </a:endParaRPr>
          </a:p>
          <a:p>
            <a:pPr marL="0" indent="0" defTabSz="457213">
              <a:spcBef>
                <a:spcPts val="1000"/>
              </a:spcBef>
              <a:buClr>
                <a:srgbClr val="86BC25"/>
              </a:buClr>
              <a:buNone/>
              <a:defRPr/>
            </a:pPr>
            <a:endParaRPr lang="en-GB" sz="1400">
              <a:solidFill>
                <a:srgbClr val="404040"/>
              </a:solidFill>
              <a:latin typeface="Calibri"/>
              <a:ea typeface="Open Sans" panose="020B0606030504020204" pitchFamily="34" charset="0"/>
              <a:cs typeface="+mn-lt"/>
            </a:endParaRPr>
          </a:p>
          <a:p>
            <a:pPr marL="0" indent="0" defTabSz="457213">
              <a:spcBef>
                <a:spcPts val="1000"/>
              </a:spcBef>
              <a:buClr>
                <a:srgbClr val="86BC25"/>
              </a:buClr>
              <a:buNone/>
              <a:defRPr/>
            </a:pPr>
            <a:endParaRPr lang="en-GB" sz="1400">
              <a:solidFill>
                <a:srgbClr val="404040"/>
              </a:solidFill>
              <a:latin typeface="Calibri" panose="020F0502020204030204"/>
              <a:ea typeface="Open Sans" panose="020B0606030504020204" pitchFamily="34" charset="0"/>
              <a:cs typeface="Calibri" panose="020F0502020204030204"/>
            </a:endParaRPr>
          </a:p>
          <a:p>
            <a:pPr marL="501650" indent="-501650" defTabSz="457213">
              <a:spcBef>
                <a:spcPts val="1000"/>
              </a:spcBef>
              <a:buClr>
                <a:srgbClr val="86BC25"/>
              </a:buClr>
              <a:defRPr/>
            </a:pPr>
            <a:endParaRPr lang="en-GB" sz="1400">
              <a:solidFill>
                <a:srgbClr val="404040"/>
              </a:solidFill>
              <a:latin typeface="Calibri" panose="020F0502020204030204"/>
              <a:ea typeface="Open Sans" panose="020B0606030504020204" pitchFamily="34" charset="0"/>
              <a:cs typeface="Calibri" panose="020F0502020204030204"/>
            </a:endParaRPr>
          </a:p>
          <a:p>
            <a:pPr marL="233680" indent="-233680" defTabSz="457213">
              <a:spcBef>
                <a:spcPts val="1000"/>
              </a:spcBef>
              <a:buClr>
                <a:schemeClr val="accent3"/>
              </a:buClr>
              <a:defRPr/>
            </a:pPr>
            <a:endParaRPr lang="en-GB" sz="1400">
              <a:solidFill>
                <a:srgbClr val="404040"/>
              </a:solidFill>
              <a:latin typeface="Calibri" panose="020F0502020204030204"/>
              <a:ea typeface="Open Sans" panose="020B0606030504020204" pitchFamily="34" charset="0"/>
              <a:cs typeface="Calibri" panose="020F0502020204030204"/>
            </a:endParaRPr>
          </a:p>
          <a:p>
            <a:pPr marL="233680" indent="-233680" defTabSz="457213">
              <a:spcBef>
                <a:spcPts val="1000"/>
              </a:spcBef>
              <a:buClr>
                <a:schemeClr val="accent3"/>
              </a:buClr>
              <a:defRPr/>
            </a:pPr>
            <a:endParaRPr lang="en-GB" sz="1400">
              <a:solidFill>
                <a:srgbClr val="000000"/>
              </a:solidFill>
              <a:latin typeface="Open Sans" panose="020B0606030504020204" pitchFamily="34" charset="0"/>
              <a:ea typeface="Open Sans" panose="020B0606030504020204" pitchFamily="34" charset="0"/>
              <a:cs typeface="Calibri" panose="020F0502020204030204"/>
            </a:endParaRPr>
          </a:p>
          <a:p>
            <a:pPr marL="233680" indent="-233680" defTabSz="457213">
              <a:spcBef>
                <a:spcPts val="1000"/>
              </a:spcBef>
              <a:buClr>
                <a:schemeClr val="accent3"/>
              </a:buClr>
              <a:defRPr/>
            </a:pPr>
            <a:endParaRPr lang="en-GB" sz="1400">
              <a:solidFill>
                <a:srgbClr val="000000"/>
              </a:solidFill>
              <a:latin typeface="Open Sans" panose="020B0606030504020204" pitchFamily="34" charset="0"/>
              <a:ea typeface="Open Sans" panose="020B0606030504020204" pitchFamily="34" charset="0"/>
              <a:cs typeface="Calibri" panose="020F0502020204030204"/>
            </a:endParaRPr>
          </a:p>
        </p:txBody>
      </p:sp>
      <p:sp>
        <p:nvSpPr>
          <p:cNvPr id="5" name="Title 1">
            <a:extLst>
              <a:ext uri="{FF2B5EF4-FFF2-40B4-BE49-F238E27FC236}">
                <a16:creationId xmlns:a16="http://schemas.microsoft.com/office/drawing/2014/main" id="{11BD7B0B-9BB7-4BDE-BF3D-7287D50B0BE2}"/>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panose="020B0606030504020204" pitchFamily="34" charset="0"/>
                <a:ea typeface="Open Sans" panose="020B0606030504020204" pitchFamily="34" charset="0"/>
                <a:cs typeface="Open Sans" panose="020B0606030504020204" pitchFamily="34" charset="0"/>
              </a:rPr>
              <a:t>CMS –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rchitecture</a:t>
            </a:r>
          </a:p>
        </p:txBody>
      </p:sp>
      <p:sp>
        <p:nvSpPr>
          <p:cNvPr id="3" name="Isosceles Triangle 2">
            <a:extLst>
              <a:ext uri="{FF2B5EF4-FFF2-40B4-BE49-F238E27FC236}">
                <a16:creationId xmlns:a16="http://schemas.microsoft.com/office/drawing/2014/main" id="{D95B969B-DED9-4E70-B1D9-B2A725B3E61D}"/>
              </a:ext>
            </a:extLst>
          </p:cNvPr>
          <p:cNvSpPr/>
          <p:nvPr/>
        </p:nvSpPr>
        <p:spPr>
          <a:xfrm rot="5400000">
            <a:off x="490183" y="980621"/>
            <a:ext cx="99787" cy="10885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387E7E7-F260-4B44-B38C-69D8397159B1}"/>
              </a:ext>
            </a:extLst>
          </p:cNvPr>
          <p:cNvSpPr txBox="1"/>
          <p:nvPr/>
        </p:nvSpPr>
        <p:spPr>
          <a:xfrm>
            <a:off x="573153" y="836456"/>
            <a:ext cx="4855776" cy="677108"/>
          </a:xfrm>
          <a:prstGeom prst="rect">
            <a:avLst/>
          </a:prstGeom>
          <a:noFill/>
        </p:spPr>
        <p:txBody>
          <a:bodyPr wrap="square" lIns="0" tIns="0" rIns="0" bIns="0" rtlCol="0" anchor="t">
            <a:spAutoFit/>
          </a:bodyPr>
          <a:lstStyle/>
          <a:p>
            <a:pPr>
              <a:spcBef>
                <a:spcPts val="600"/>
              </a:spcBef>
              <a:buSzPct val="100000"/>
            </a:pPr>
            <a:endParaRPr lang="en-US" sz="4400">
              <a:solidFill>
                <a:srgbClr val="DA291C"/>
              </a:solidFill>
              <a:cs typeface="Calibri"/>
            </a:endParaRPr>
          </a:p>
        </p:txBody>
      </p:sp>
    </p:spTree>
    <p:extLst>
      <p:ext uri="{BB962C8B-B14F-4D97-AF65-F5344CB8AC3E}">
        <p14:creationId xmlns:p14="http://schemas.microsoft.com/office/powerpoint/2010/main" val="40997862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8096" y="916946"/>
            <a:ext cx="5278632" cy="5278632"/>
          </a:xfrm>
          <a:prstGeom prst="rect">
            <a:avLst/>
          </a:prstGeom>
        </p:spPr>
      </p:pic>
      <p:sp>
        <p:nvSpPr>
          <p:cNvPr id="4" name="TextBox 3">
            <a:extLst>
              <a:ext uri="{FF2B5EF4-FFF2-40B4-BE49-F238E27FC236}">
                <a16:creationId xmlns:a16="http://schemas.microsoft.com/office/drawing/2014/main" id="{7A9DFF01-0B03-48E4-B42D-F011C5ECF119}"/>
              </a:ext>
            </a:extLst>
          </p:cNvPr>
          <p:cNvSpPr txBox="1"/>
          <p:nvPr/>
        </p:nvSpPr>
        <p:spPr>
          <a:xfrm>
            <a:off x="6861362" y="2890391"/>
            <a:ext cx="3611115" cy="1077218"/>
          </a:xfrm>
          <a:prstGeom prst="rect">
            <a:avLst/>
          </a:prstGeom>
          <a:noFill/>
        </p:spPr>
        <p:txBody>
          <a:bodyPr wrap="square" rtlCol="0" anchor="t">
            <a:spAutoFit/>
          </a:bodyPr>
          <a:lstStyle/>
          <a:p>
            <a:r>
              <a:rPr lang="en-US" sz="2000" b="1">
                <a:latin typeface="Open Sans"/>
                <a:ea typeface="Open Sans" panose="020B0606030504020204" pitchFamily="34" charset="0"/>
                <a:cs typeface="Open Sans" panose="020B0606030504020204" pitchFamily="34" charset="0"/>
              </a:rPr>
              <a:t>DevOps Vision</a:t>
            </a:r>
          </a:p>
          <a:p>
            <a:endParaRPr lang="en-US"/>
          </a:p>
          <a:p>
            <a:r>
              <a:rPr lang="en-US" sz="2000" b="1">
                <a:solidFill>
                  <a:schemeClr val="bg1">
                    <a:lumMod val="50000"/>
                  </a:schemeClr>
                </a:solidFill>
                <a:latin typeface="Open Sans"/>
                <a:ea typeface="Open Sans" panose="020B0606030504020204" pitchFamily="34" charset="0"/>
                <a:cs typeface="Open Sans" panose="020B0606030504020204" pitchFamily="34" charset="0"/>
              </a:rPr>
              <a:t>Anindya Ghosh (DL)</a:t>
            </a:r>
          </a:p>
        </p:txBody>
      </p:sp>
    </p:spTree>
    <p:extLst>
      <p:ext uri="{BB962C8B-B14F-4D97-AF65-F5344CB8AC3E}">
        <p14:creationId xmlns:p14="http://schemas.microsoft.com/office/powerpoint/2010/main" val="266324236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Picture 2" descr="Creative Inspirations for Presenting DevOps Toolchain Loop - Blog ...">
            <a:extLst>
              <a:ext uri="{FF2B5EF4-FFF2-40B4-BE49-F238E27FC236}">
                <a16:creationId xmlns:a16="http://schemas.microsoft.com/office/drawing/2014/main" id="{705D66E2-1713-40B1-AAD4-DECA55BB2B5B}"/>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l="18381" t="14956" r="18045" b="6535"/>
          <a:stretch/>
        </p:blipFill>
        <p:spPr bwMode="auto">
          <a:xfrm>
            <a:off x="2490182" y="1044311"/>
            <a:ext cx="6618514" cy="478590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BCEB1B60-2A70-48F8-B225-997AF7F15017}"/>
              </a:ext>
            </a:extLst>
          </p:cNvPr>
          <p:cNvSpPr>
            <a:spLocks noGrp="1"/>
          </p:cNvSpPr>
          <p:nvPr>
            <p:ph idx="1"/>
          </p:nvPr>
        </p:nvSpPr>
        <p:spPr>
          <a:xfrm>
            <a:off x="299752" y="609239"/>
            <a:ext cx="6183426" cy="5000729"/>
          </a:xfrm>
        </p:spPr>
        <p:txBody>
          <a:bodyPr vert="horz" lIns="91440" tIns="45720" rIns="91440" bIns="45720" numCol="1" rtlCol="0" anchor="t">
            <a:normAutofit/>
          </a:bodyPr>
          <a:lstStyle/>
          <a:p>
            <a:pPr marL="227965" indent="-227965">
              <a:buFont typeface="Wingdings" panose="05000000000000000000" pitchFamily="2" charset="2"/>
              <a:buChar char="q"/>
            </a:pPr>
            <a:r>
              <a:rPr lang="en-US" sz="1800" b="1">
                <a:latin typeface="Arial"/>
                <a:cs typeface="Arial"/>
              </a:rPr>
              <a:t>Common</a:t>
            </a:r>
          </a:p>
          <a:p>
            <a:pPr marL="684530" lvl="1" indent="-227965">
              <a:buFont typeface="Wingdings" panose="05000000000000000000" pitchFamily="2" charset="2"/>
              <a:buChar char="q"/>
            </a:pPr>
            <a:r>
              <a:rPr lang="en-US" sz="1400" b="1">
                <a:latin typeface="Arial"/>
                <a:ea typeface="+mn-lt"/>
                <a:cs typeface="Arial"/>
              </a:rPr>
              <a:t>Remove project specific pools for release and use common pools</a:t>
            </a:r>
          </a:p>
          <a:p>
            <a:pPr marL="684530" lvl="1" indent="-227965">
              <a:buFont typeface="Wingdings" panose="05000000000000000000" pitchFamily="2" charset="2"/>
              <a:buChar char="q"/>
            </a:pPr>
            <a:r>
              <a:rPr lang="en-US" sz="1400" b="1">
                <a:latin typeface="Arial"/>
                <a:ea typeface="+mn-lt"/>
                <a:cs typeface="Arial"/>
              </a:rPr>
              <a:t>Automate start/stop of </a:t>
            </a:r>
            <a:r>
              <a:rPr lang="en-US" sz="1400" b="1" err="1">
                <a:latin typeface="Arial"/>
                <a:ea typeface="+mn-lt"/>
                <a:cs typeface="Arial"/>
              </a:rPr>
              <a:t>webjobs</a:t>
            </a:r>
            <a:endParaRPr lang="en-US" sz="1400" b="1">
              <a:latin typeface="Arial"/>
              <a:ea typeface="+mn-lt"/>
              <a:cs typeface="Arial"/>
            </a:endParaRPr>
          </a:p>
          <a:p>
            <a:pPr marL="684530" lvl="1" indent="-227965">
              <a:buFont typeface="Wingdings" panose="05000000000000000000" pitchFamily="2" charset="2"/>
              <a:buChar char="q"/>
            </a:pPr>
            <a:r>
              <a:rPr lang="en-US" sz="1400" b="1">
                <a:latin typeface="Arial"/>
                <a:ea typeface="+mn-lt"/>
                <a:cs typeface="Arial"/>
              </a:rPr>
              <a:t>Revise DNS entries</a:t>
            </a:r>
          </a:p>
          <a:p>
            <a:pPr marL="684530" lvl="1" indent="-227965">
              <a:buFont typeface="Wingdings" panose="05000000000000000000" pitchFamily="2" charset="2"/>
              <a:buChar char="q"/>
            </a:pPr>
            <a:r>
              <a:rPr lang="en-US" sz="1400" b="1">
                <a:latin typeface="Arial"/>
                <a:ea typeface="+mn-lt"/>
                <a:cs typeface="Arial"/>
              </a:rPr>
              <a:t>Remove classic pipelines and implement YAML pipelines for release (code, database, </a:t>
            </a:r>
            <a:r>
              <a:rPr lang="en-US" sz="1400" b="1" err="1">
                <a:latin typeface="Arial"/>
                <a:ea typeface="+mn-lt"/>
                <a:cs typeface="Arial"/>
              </a:rPr>
              <a:t>adf</a:t>
            </a:r>
            <a:r>
              <a:rPr lang="en-US" sz="1400" b="1">
                <a:latin typeface="Arial"/>
                <a:ea typeface="+mn-lt"/>
                <a:cs typeface="Arial"/>
              </a:rPr>
              <a:t> and infrastructure)</a:t>
            </a:r>
          </a:p>
          <a:p>
            <a:pPr marL="684530" lvl="1" indent="-227965">
              <a:buFont typeface="Wingdings" panose="05000000000000000000" pitchFamily="2" charset="2"/>
              <a:buChar char="q"/>
            </a:pPr>
            <a:r>
              <a:rPr lang="en-US" sz="1400" b="1">
                <a:latin typeface="Arial"/>
                <a:ea typeface="+mn-lt"/>
                <a:cs typeface="Arial"/>
              </a:rPr>
              <a:t>Implement traffic manager</a:t>
            </a:r>
          </a:p>
          <a:p>
            <a:pPr marL="684530" lvl="1" indent="-227965">
              <a:buFont typeface="Wingdings" panose="05000000000000000000" pitchFamily="2" charset="2"/>
              <a:buChar char="q"/>
            </a:pPr>
            <a:r>
              <a:rPr lang="en-US" sz="1400" b="1">
                <a:latin typeface="Arial"/>
                <a:ea typeface="+mn-lt"/>
                <a:cs typeface="Arial"/>
              </a:rPr>
              <a:t>Automate Power BI password update post password rotation</a:t>
            </a:r>
          </a:p>
          <a:p>
            <a:pPr marL="684530" lvl="1" indent="-227965">
              <a:buFont typeface="Wingdings" panose="05000000000000000000" pitchFamily="2" charset="2"/>
              <a:buChar char="q"/>
            </a:pPr>
            <a:r>
              <a:rPr lang="en-US" sz="1400" b="1">
                <a:latin typeface="Arial"/>
                <a:ea typeface="+mn-lt"/>
                <a:cs typeface="Arial"/>
              </a:rPr>
              <a:t>90-day password rotation alert for all apps</a:t>
            </a:r>
          </a:p>
          <a:p>
            <a:pPr marL="684530" lvl="1" indent="-227965">
              <a:buFont typeface="Wingdings" panose="05000000000000000000" pitchFamily="2" charset="2"/>
              <a:buChar char="q"/>
            </a:pPr>
            <a:r>
              <a:rPr lang="en-US" sz="1400" b="1">
                <a:latin typeface="Arial"/>
                <a:ea typeface="+mn-lt"/>
                <a:cs typeface="Arial"/>
              </a:rPr>
              <a:t>Remove diagnostic logging for ADF and setup new standard alerts</a:t>
            </a:r>
          </a:p>
          <a:p>
            <a:pPr marL="684530" lvl="1" indent="-227965">
              <a:buFont typeface="Wingdings" panose="05000000000000000000" pitchFamily="2" charset="2"/>
              <a:buChar char="q"/>
            </a:pPr>
            <a:r>
              <a:rPr lang="en-US" sz="1400" b="1">
                <a:latin typeface="Arial"/>
                <a:ea typeface="+mn-lt"/>
                <a:cs typeface="Arial"/>
              </a:rPr>
              <a:t>ADF – GIT Integration</a:t>
            </a:r>
          </a:p>
          <a:p>
            <a:pPr marL="684530" lvl="1" indent="-227965">
              <a:buFont typeface="Wingdings" panose="05000000000000000000" pitchFamily="2" charset="2"/>
              <a:buChar char="q"/>
            </a:pPr>
            <a:r>
              <a:rPr lang="en-US" sz="1400" b="1">
                <a:latin typeface="Arial"/>
                <a:ea typeface="+mn-lt"/>
                <a:cs typeface="Arial"/>
              </a:rPr>
              <a:t>Standard retention for Production databases to be 35 days</a:t>
            </a:r>
          </a:p>
          <a:p>
            <a:pPr marL="684530" lvl="1" indent="-227965">
              <a:buFont typeface="Wingdings" panose="05000000000000000000" pitchFamily="2" charset="2"/>
              <a:buChar char="q"/>
            </a:pPr>
            <a:r>
              <a:rPr lang="en-US" sz="1400" b="1">
                <a:latin typeface="Arial"/>
                <a:ea typeface="+mn-lt"/>
                <a:cs typeface="Arial"/>
              </a:rPr>
              <a:t>Remove manual updates on databases and use pipelines [100% automation]</a:t>
            </a:r>
          </a:p>
          <a:p>
            <a:pPr marL="684530" lvl="1" indent="-227965">
              <a:buFont typeface="Wingdings" panose="05000000000000000000" pitchFamily="2" charset="2"/>
              <a:buChar char="q"/>
            </a:pPr>
            <a:r>
              <a:rPr lang="en-US" sz="1400" b="1">
                <a:latin typeface="Arial"/>
                <a:ea typeface="+mn-lt"/>
                <a:cs typeface="Arial"/>
              </a:rPr>
              <a:t>Cost optimization</a:t>
            </a:r>
          </a:p>
          <a:p>
            <a:pPr marL="684530" lvl="1" indent="-227965">
              <a:buFont typeface="Wingdings" panose="05000000000000000000" pitchFamily="2" charset="2"/>
              <a:buChar char="q"/>
            </a:pPr>
            <a:r>
              <a:rPr lang="en-US" sz="1400" b="1">
                <a:latin typeface="Arial"/>
                <a:ea typeface="+mn-lt"/>
                <a:cs typeface="Arial"/>
              </a:rPr>
              <a:t>Power BI deployment automation</a:t>
            </a:r>
          </a:p>
          <a:p>
            <a:pPr marL="684530" lvl="1" indent="-227965">
              <a:buFont typeface="Wingdings" panose="05000000000000000000" pitchFamily="2" charset="2"/>
              <a:buChar char="q"/>
            </a:pPr>
            <a:r>
              <a:rPr lang="en-US" sz="1400" b="1">
                <a:latin typeface="Arial"/>
                <a:ea typeface="+mn-lt"/>
                <a:cs typeface="Arial"/>
              </a:rPr>
              <a:t>Automate post deployment validation through pipelines</a:t>
            </a:r>
          </a:p>
          <a:p>
            <a:pPr marL="684530" lvl="1" indent="-227965">
              <a:buFont typeface="Wingdings" panose="05000000000000000000" pitchFamily="2" charset="2"/>
              <a:buChar char="q"/>
            </a:pPr>
            <a:r>
              <a:rPr lang="en-US" sz="1400" b="1" err="1">
                <a:latin typeface="Arial"/>
                <a:ea typeface="+mn-lt"/>
                <a:cs typeface="Arial"/>
              </a:rPr>
              <a:t>Gitflow</a:t>
            </a:r>
            <a:r>
              <a:rPr lang="en-US" sz="1400" b="1">
                <a:latin typeface="Arial"/>
                <a:ea typeface="+mn-lt"/>
                <a:cs typeface="Arial"/>
              </a:rPr>
              <a:t> for infrastructure repository</a:t>
            </a:r>
          </a:p>
          <a:p>
            <a:pPr marL="456565" lvl="1" indent="0">
              <a:buNone/>
            </a:pPr>
            <a:endParaRPr lang="en-US" sz="1400" b="1">
              <a:latin typeface="Arial"/>
              <a:ea typeface="+mn-lt"/>
              <a:cs typeface="Arial"/>
            </a:endParaRPr>
          </a:p>
          <a:p>
            <a:pPr marL="456565" lvl="1" indent="0">
              <a:buNone/>
            </a:pPr>
            <a:endParaRPr lang="en-US" sz="1400" b="1">
              <a:latin typeface="Arial"/>
              <a:ea typeface="+mn-lt"/>
              <a:cs typeface="Arial"/>
            </a:endParaRPr>
          </a:p>
          <a:p>
            <a:pPr marL="456565" lvl="1" indent="0">
              <a:buNone/>
            </a:pPr>
            <a:endParaRPr lang="en-US" sz="1400" b="1">
              <a:latin typeface="Arial"/>
              <a:ea typeface="+mn-lt"/>
              <a:cs typeface="Arial"/>
            </a:endParaRPr>
          </a:p>
          <a:p>
            <a:pPr marL="456565" lvl="1" indent="0">
              <a:buNone/>
            </a:pPr>
            <a:endParaRPr lang="en-US" sz="1400" b="1">
              <a:latin typeface="Arial"/>
              <a:ea typeface="+mn-lt"/>
              <a:cs typeface="Arial"/>
            </a:endParaRPr>
          </a:p>
        </p:txBody>
      </p:sp>
      <p:sp>
        <p:nvSpPr>
          <p:cNvPr id="4" name="Title 1">
            <a:extLst>
              <a:ext uri="{FF2B5EF4-FFF2-40B4-BE49-F238E27FC236}">
                <a16:creationId xmlns:a16="http://schemas.microsoft.com/office/drawing/2014/main" id="{EBA8AB06-B69C-4C37-B16F-3F19D5E17C1F}"/>
              </a:ext>
            </a:extLst>
          </p:cNvPr>
          <p:cNvSpPr txBox="1">
            <a:spLocks/>
          </p:cNvSpPr>
          <p:nvPr/>
        </p:nvSpPr>
        <p:spPr>
          <a:xfrm>
            <a:off x="362494" y="165013"/>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panose="020B0606030504020204" pitchFamily="34" charset="0"/>
                <a:ea typeface="Open Sans" panose="020B0606030504020204" pitchFamily="34" charset="0"/>
                <a:cs typeface="Open Sans" panose="020B0606030504020204" pitchFamily="34" charset="0"/>
              </a:rPr>
              <a:t>DevOps –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The Way of Working</a:t>
            </a:r>
          </a:p>
        </p:txBody>
      </p:sp>
      <p:sp>
        <p:nvSpPr>
          <p:cNvPr id="5" name="Content Placeholder 2">
            <a:extLst>
              <a:ext uri="{FF2B5EF4-FFF2-40B4-BE49-F238E27FC236}">
                <a16:creationId xmlns:a16="http://schemas.microsoft.com/office/drawing/2014/main" id="{E871C069-F182-436C-87A6-454DE9CDC4F0}"/>
              </a:ext>
            </a:extLst>
          </p:cNvPr>
          <p:cNvSpPr txBox="1">
            <a:spLocks/>
          </p:cNvSpPr>
          <p:nvPr/>
        </p:nvSpPr>
        <p:spPr>
          <a:xfrm>
            <a:off x="6392562" y="719363"/>
            <a:ext cx="5727898" cy="5953065"/>
          </a:xfrm>
          <a:prstGeom prst="rect">
            <a:avLst/>
          </a:prstGeom>
        </p:spPr>
        <p:txBody>
          <a:bodyPr vert="horz" lIns="91440" tIns="45720" rIns="91440" bIns="45720" numCol="1" rtlCol="0" anchor="t">
            <a:normAutofit/>
          </a:bodyPr>
          <a:lstStyle>
            <a:lvl1pPr marL="228597" indent="-228597" algn="l" defTabSz="914388"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792" indent="-228597" algn="l" defTabSz="9143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5" indent="-228597" algn="l" defTabSz="9143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0"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375"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568"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63"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57"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52"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457195" lvl="1" indent="0">
              <a:buNone/>
            </a:pPr>
            <a:endParaRPr lang="en-US" sz="1400" b="1">
              <a:latin typeface="Arial"/>
              <a:ea typeface="Open Sans" panose="020B0606030504020204" pitchFamily="34" charset="0"/>
              <a:cs typeface="Open Sans" panose="020B0606030504020204" pitchFamily="34" charset="0"/>
            </a:endParaRPr>
          </a:p>
          <a:p>
            <a:pPr marL="0" indent="0">
              <a:buFont typeface="Arial" panose="020B0604020202020204" pitchFamily="34" charset="0"/>
              <a:buNone/>
            </a:pPr>
            <a:endParaRPr lang="en-US" sz="1800" b="1">
              <a:latin typeface="Arial"/>
              <a:ea typeface="Open Sans" panose="020B0606030504020204" pitchFamily="34" charset="0"/>
              <a:cs typeface="Open Sans" panose="020B0606030504020204" pitchFamily="34" charset="0"/>
            </a:endParaRPr>
          </a:p>
        </p:txBody>
      </p:sp>
      <p:sp>
        <p:nvSpPr>
          <p:cNvPr id="8" name="Content Placeholder 2">
            <a:extLst>
              <a:ext uri="{FF2B5EF4-FFF2-40B4-BE49-F238E27FC236}">
                <a16:creationId xmlns:a16="http://schemas.microsoft.com/office/drawing/2014/main" id="{71212121-086E-4BFC-AAF6-26CCEC0960A9}"/>
              </a:ext>
            </a:extLst>
          </p:cNvPr>
          <p:cNvSpPr txBox="1">
            <a:spLocks/>
          </p:cNvSpPr>
          <p:nvPr/>
        </p:nvSpPr>
        <p:spPr>
          <a:xfrm>
            <a:off x="6779740" y="636625"/>
            <a:ext cx="5340719" cy="4973344"/>
          </a:xfrm>
          <a:prstGeom prst="rect">
            <a:avLst/>
          </a:prstGeom>
        </p:spPr>
        <p:txBody>
          <a:bodyPr vert="horz" lIns="91440" tIns="45720" rIns="91440" bIns="45720" numCol="1" rtlCol="0" anchor="t">
            <a:normAutofit lnSpcReduction="10000"/>
          </a:bodyPr>
          <a:lstStyle>
            <a:lvl1pPr marL="228597" indent="-228597" algn="l" defTabSz="914388"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792" indent="-228597" algn="l" defTabSz="91438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5" indent="-228597" algn="l" defTabSz="91438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0"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375"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568"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63"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57"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52" indent="-228597" algn="l" defTabSz="914388"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227965" indent="-227965">
              <a:buFont typeface="Wingdings,Sans-Serif" panose="05000000000000000000" pitchFamily="2" charset="2"/>
              <a:buChar char="q"/>
            </a:pPr>
            <a:r>
              <a:rPr lang="en-US" sz="1800" b="1">
                <a:latin typeface="Arial"/>
                <a:ea typeface="+mn-lt"/>
                <a:cs typeface="Arial"/>
              </a:rPr>
              <a:t>Audit Online</a:t>
            </a:r>
          </a:p>
          <a:p>
            <a:pPr marL="684530" lvl="1" indent="-227965">
              <a:buFont typeface="Wingdings,Sans-Serif" panose="05000000000000000000" pitchFamily="2" charset="2"/>
              <a:buChar char="q"/>
            </a:pPr>
            <a:r>
              <a:rPr lang="en-US" sz="1400" b="1">
                <a:latin typeface="Arial"/>
                <a:ea typeface="+mn-lt"/>
                <a:cs typeface="Arial"/>
              </a:rPr>
              <a:t>BCP setup using YAML</a:t>
            </a:r>
          </a:p>
          <a:p>
            <a:pPr marL="684530" lvl="1" indent="-227965">
              <a:buFont typeface="Wingdings,Sans-Serif" panose="05000000000000000000" pitchFamily="2" charset="2"/>
              <a:buChar char="q"/>
            </a:pPr>
            <a:r>
              <a:rPr lang="en-US" sz="1400" b="1">
                <a:latin typeface="Arial"/>
                <a:ea typeface="+mn-lt"/>
                <a:cs typeface="Arial"/>
              </a:rPr>
              <a:t>Perform test on Non-Production</a:t>
            </a:r>
          </a:p>
          <a:p>
            <a:pPr marL="684530" lvl="1" indent="-227965">
              <a:buFont typeface="Wingdings,Sans-Serif" panose="05000000000000000000" pitchFamily="2" charset="2"/>
              <a:buChar char="q"/>
            </a:pPr>
            <a:r>
              <a:rPr lang="en-US" sz="1400" b="1">
                <a:latin typeface="Arial"/>
                <a:ea typeface="+mn-lt"/>
                <a:cs typeface="Arial"/>
              </a:rPr>
              <a:t>Perform BCP test</a:t>
            </a:r>
          </a:p>
          <a:p>
            <a:pPr marL="684530" lvl="1" indent="-227965">
              <a:buFont typeface="Wingdings,Sans-Serif" panose="05000000000000000000" pitchFamily="2" charset="2"/>
              <a:buChar char="q"/>
            </a:pPr>
            <a:r>
              <a:rPr lang="en-US" sz="1400" b="1">
                <a:latin typeface="Arial"/>
                <a:ea typeface="+mn-lt"/>
                <a:cs typeface="Arial"/>
              </a:rPr>
              <a:t>SQL MSI – China and Power BI</a:t>
            </a:r>
          </a:p>
          <a:p>
            <a:pPr marL="684530" lvl="1" indent="-227965">
              <a:buFont typeface="Wingdings,Sans-Serif" panose="05000000000000000000" pitchFamily="2" charset="2"/>
              <a:buChar char="q"/>
            </a:pPr>
            <a:r>
              <a:rPr lang="en-US" sz="1400" b="1">
                <a:latin typeface="Arial"/>
                <a:ea typeface="+mn-lt"/>
                <a:cs typeface="Arial"/>
              </a:rPr>
              <a:t>Remove certificate dependency for </a:t>
            </a:r>
            <a:r>
              <a:rPr lang="en-US" sz="1400" b="1" err="1">
                <a:latin typeface="Arial"/>
                <a:ea typeface="+mn-lt"/>
                <a:cs typeface="Arial"/>
              </a:rPr>
              <a:t>iConfirm</a:t>
            </a:r>
            <a:r>
              <a:rPr lang="en-US" sz="1400" b="1">
                <a:latin typeface="Arial"/>
                <a:ea typeface="+mn-lt"/>
                <a:cs typeface="Arial"/>
              </a:rPr>
              <a:t> and use SPN authentication</a:t>
            </a:r>
          </a:p>
          <a:p>
            <a:pPr marL="684530" lvl="1" indent="-227965">
              <a:buFont typeface="Wingdings,Sans-Serif" panose="05000000000000000000" pitchFamily="2" charset="2"/>
              <a:buChar char="q"/>
            </a:pPr>
            <a:r>
              <a:rPr lang="en-US" sz="1400" b="1">
                <a:latin typeface="Arial"/>
                <a:ea typeface="+mn-lt"/>
                <a:cs typeface="Arial"/>
              </a:rPr>
              <a:t>Revisit schedules for </a:t>
            </a:r>
            <a:r>
              <a:rPr lang="en-US" sz="1400" b="1" err="1">
                <a:latin typeface="Arial"/>
                <a:ea typeface="+mn-lt"/>
                <a:cs typeface="Arial"/>
              </a:rPr>
              <a:t>iConfirm</a:t>
            </a:r>
            <a:r>
              <a:rPr lang="en-US" sz="1400" b="1">
                <a:latin typeface="Arial"/>
                <a:ea typeface="+mn-lt"/>
                <a:cs typeface="Arial"/>
              </a:rPr>
              <a:t> </a:t>
            </a:r>
            <a:r>
              <a:rPr lang="en-US" sz="1400" b="1" err="1">
                <a:latin typeface="Arial"/>
                <a:ea typeface="+mn-lt"/>
                <a:cs typeface="Arial"/>
              </a:rPr>
              <a:t>webjobs</a:t>
            </a:r>
            <a:endParaRPr lang="en-US" sz="1400" b="1">
              <a:latin typeface="Arial"/>
              <a:ea typeface="+mn-lt"/>
              <a:cs typeface="Arial"/>
            </a:endParaRPr>
          </a:p>
          <a:p>
            <a:pPr marL="684530" lvl="1" indent="-227965">
              <a:buFont typeface="Wingdings,Sans-Serif" panose="05000000000000000000" pitchFamily="2" charset="2"/>
              <a:buChar char="q"/>
            </a:pPr>
            <a:r>
              <a:rPr lang="en-US" sz="1400" b="1">
                <a:latin typeface="Arial"/>
                <a:ea typeface="+mn-lt"/>
                <a:cs typeface="Arial"/>
              </a:rPr>
              <a:t>Handling archive folder for China Central</a:t>
            </a:r>
          </a:p>
          <a:p>
            <a:pPr marL="684530" lvl="1" indent="-227965">
              <a:buFont typeface="Wingdings,Sans-Serif" panose="05000000000000000000" pitchFamily="2" charset="2"/>
              <a:buChar char="q"/>
            </a:pPr>
            <a:r>
              <a:rPr lang="en-US" sz="1400" b="1">
                <a:latin typeface="Arial"/>
                <a:ea typeface="+mn-lt"/>
                <a:cs typeface="Arial"/>
              </a:rPr>
              <a:t>Moving OnPrem to Cloud</a:t>
            </a:r>
          </a:p>
          <a:p>
            <a:pPr marL="684530" lvl="1" indent="-227965">
              <a:buFont typeface="Wingdings,Sans-Serif" panose="05000000000000000000" pitchFamily="2" charset="2"/>
              <a:buChar char="q"/>
            </a:pPr>
            <a:r>
              <a:rPr lang="en-US" sz="1400" b="1">
                <a:latin typeface="Arial"/>
                <a:ea typeface="+mn-lt"/>
                <a:cs typeface="Arial"/>
              </a:rPr>
              <a:t>Automating contrast upgrade</a:t>
            </a:r>
          </a:p>
          <a:p>
            <a:pPr marL="684530" lvl="1" indent="-227965">
              <a:buFont typeface="Wingdings,Sans-Serif" panose="05000000000000000000" pitchFamily="2" charset="2"/>
              <a:buChar char="q"/>
            </a:pPr>
            <a:r>
              <a:rPr lang="en-US" sz="1400" b="1">
                <a:latin typeface="Arial"/>
                <a:cs typeface="Arial"/>
              </a:rPr>
              <a:t>Health check</a:t>
            </a:r>
          </a:p>
          <a:p>
            <a:pPr marL="227965" indent="-227965">
              <a:buFont typeface="Wingdings" panose="05000000000000000000" pitchFamily="2" charset="2"/>
              <a:buChar char="q"/>
            </a:pPr>
            <a:r>
              <a:rPr lang="en-US" sz="1800" b="1">
                <a:latin typeface="Arial"/>
                <a:cs typeface="Arial"/>
              </a:rPr>
              <a:t>AQMM</a:t>
            </a:r>
          </a:p>
          <a:p>
            <a:pPr marL="684530" lvl="1" indent="-227965">
              <a:buFont typeface="Wingdings" panose="05000000000000000000" pitchFamily="2" charset="2"/>
              <a:buChar char="q"/>
            </a:pPr>
            <a:r>
              <a:rPr lang="en-US" sz="1400" b="1">
                <a:latin typeface="Arial"/>
                <a:ea typeface="+mn-lt"/>
                <a:cs typeface="Arial"/>
              </a:rPr>
              <a:t>BCP setup using YAML</a:t>
            </a:r>
          </a:p>
          <a:p>
            <a:pPr marL="684530" lvl="1" indent="-227965">
              <a:buFont typeface="Wingdings" panose="05000000000000000000" pitchFamily="2" charset="2"/>
              <a:buChar char="q"/>
            </a:pPr>
            <a:r>
              <a:rPr lang="en-US" sz="1400" b="1">
                <a:latin typeface="Arial"/>
                <a:ea typeface="+mn-lt"/>
                <a:cs typeface="Arial"/>
              </a:rPr>
              <a:t>Perform test on Non-Production</a:t>
            </a:r>
          </a:p>
          <a:p>
            <a:pPr marL="684530" lvl="1" indent="-227965">
              <a:buFont typeface="Wingdings" panose="05000000000000000000" pitchFamily="2" charset="2"/>
              <a:buChar char="q"/>
            </a:pPr>
            <a:r>
              <a:rPr lang="en-US" sz="1400" b="1">
                <a:latin typeface="Arial"/>
                <a:ea typeface="+mn-lt"/>
                <a:cs typeface="Arial"/>
              </a:rPr>
              <a:t>Password rotation [MANDATORY]</a:t>
            </a:r>
          </a:p>
          <a:p>
            <a:pPr marL="684530" lvl="1" indent="-227965">
              <a:buFont typeface="Wingdings" panose="05000000000000000000" pitchFamily="2" charset="2"/>
              <a:buChar char="q"/>
            </a:pPr>
            <a:r>
              <a:rPr lang="en-US" sz="1400" b="1">
                <a:latin typeface="Arial"/>
                <a:ea typeface="+mn-lt"/>
                <a:cs typeface="Arial"/>
              </a:rPr>
              <a:t>Organize build and release pipelines using YAML</a:t>
            </a:r>
          </a:p>
          <a:p>
            <a:pPr marL="684530" lvl="1" indent="-227965">
              <a:buFont typeface="Wingdings" panose="05000000000000000000" pitchFamily="2" charset="2"/>
              <a:buChar char="q"/>
            </a:pPr>
            <a:r>
              <a:rPr lang="en-US" sz="1400" b="1">
                <a:latin typeface="Arial"/>
                <a:ea typeface="+mn-lt"/>
                <a:cs typeface="Arial"/>
              </a:rPr>
              <a:t>SAST scan automation</a:t>
            </a:r>
          </a:p>
          <a:p>
            <a:pPr marL="684530" lvl="1" indent="-227965">
              <a:buFont typeface="Wingdings" panose="05000000000000000000" pitchFamily="2" charset="2"/>
              <a:buChar char="q"/>
            </a:pPr>
            <a:r>
              <a:rPr lang="en-US" sz="1400" b="1">
                <a:latin typeface="Arial"/>
                <a:ea typeface="+mn-lt"/>
                <a:cs typeface="Arial"/>
              </a:rPr>
              <a:t>ADF pipeline fix</a:t>
            </a:r>
            <a:endParaRPr lang="en-US" sz="1400" b="1">
              <a:latin typeface="Arial"/>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216C39D2-8C6A-49A9-B1CB-50DC4A5CF567}"/>
              </a:ext>
            </a:extLst>
          </p:cNvPr>
          <p:cNvSpPr txBox="1"/>
          <p:nvPr/>
        </p:nvSpPr>
        <p:spPr>
          <a:xfrm>
            <a:off x="563892" y="5719921"/>
            <a:ext cx="11224985" cy="707886"/>
          </a:xfrm>
          <a:prstGeom prst="rect">
            <a:avLst/>
          </a:prstGeom>
          <a:noFill/>
        </p:spPr>
        <p:txBody>
          <a:bodyPr wrap="square" lIns="91440" tIns="45720" rIns="91440" bIns="45720" anchor="t">
            <a:spAutoFit/>
          </a:bodyPr>
          <a:lstStyle/>
          <a:p>
            <a:pPr algn="ctr"/>
            <a:r>
              <a:rPr lang="en-US" sz="2000" b="1">
                <a:latin typeface="Arial"/>
                <a:ea typeface="+mn-lt"/>
                <a:cs typeface="Arial"/>
              </a:rPr>
              <a:t>NO MANUAL CHANGES ON PRODUCTION</a:t>
            </a:r>
          </a:p>
          <a:p>
            <a:pPr algn="ctr"/>
            <a:r>
              <a:rPr lang="en-US" sz="2000" b="1">
                <a:latin typeface="Arial"/>
                <a:cs typeface="Arial"/>
              </a:rPr>
              <a:t>AZURE POLICY COMPLIANCE ON RESOURCES AND DENY POLICIES</a:t>
            </a:r>
          </a:p>
        </p:txBody>
      </p:sp>
    </p:spTree>
    <p:extLst>
      <p:ext uri="{BB962C8B-B14F-4D97-AF65-F5344CB8AC3E}">
        <p14:creationId xmlns:p14="http://schemas.microsoft.com/office/powerpoint/2010/main" val="4169581344"/>
      </p:ext>
    </p:extLst>
  </p:cSld>
  <p:clrMapOvr>
    <a:overrideClrMapping bg1="lt1" tx1="dk1" bg2="lt2" tx2="dk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8096" y="916946"/>
            <a:ext cx="5278632" cy="5278632"/>
          </a:xfrm>
          <a:prstGeom prst="rect">
            <a:avLst/>
          </a:prstGeom>
        </p:spPr>
      </p:pic>
      <p:sp>
        <p:nvSpPr>
          <p:cNvPr id="4" name="TextBox 3">
            <a:extLst>
              <a:ext uri="{FF2B5EF4-FFF2-40B4-BE49-F238E27FC236}">
                <a16:creationId xmlns:a16="http://schemas.microsoft.com/office/drawing/2014/main" id="{7A9DFF01-0B03-48E4-B42D-F011C5ECF119}"/>
              </a:ext>
            </a:extLst>
          </p:cNvPr>
          <p:cNvSpPr txBox="1"/>
          <p:nvPr/>
        </p:nvSpPr>
        <p:spPr>
          <a:xfrm>
            <a:off x="6861362" y="2890391"/>
            <a:ext cx="3611115" cy="1384995"/>
          </a:xfrm>
          <a:prstGeom prst="rect">
            <a:avLst/>
          </a:prstGeom>
          <a:noFill/>
        </p:spPr>
        <p:txBody>
          <a:bodyPr wrap="square" lIns="91440" tIns="45720" rIns="91440" bIns="45720" rtlCol="0" anchor="t">
            <a:spAutoFit/>
          </a:bodyPr>
          <a:lstStyle/>
          <a:p>
            <a:r>
              <a:rPr lang="en-US" sz="2000" b="1">
                <a:latin typeface="Open Sans"/>
                <a:ea typeface="Open Sans" panose="020B0606030504020204" pitchFamily="34" charset="0"/>
                <a:cs typeface="Open Sans" panose="020B0606030504020204" pitchFamily="34" charset="0"/>
              </a:rPr>
              <a:t>Security Compliance Testing</a:t>
            </a:r>
          </a:p>
          <a:p>
            <a:endParaRPr lang="en-US">
              <a:cs typeface="Calibri"/>
            </a:endParaRPr>
          </a:p>
          <a:p>
            <a:r>
              <a:rPr lang="en-US" sz="2000" b="1">
                <a:solidFill>
                  <a:schemeClr val="bg1">
                    <a:lumMod val="50000"/>
                  </a:schemeClr>
                </a:solidFill>
                <a:latin typeface="Open Sans"/>
                <a:ea typeface="Open Sans" panose="020B0606030504020204" pitchFamily="34" charset="0"/>
                <a:cs typeface="Open Sans" panose="020B0606030504020204" pitchFamily="34" charset="0"/>
              </a:rPr>
              <a:t> Janine Kutas-Hille</a:t>
            </a:r>
          </a:p>
        </p:txBody>
      </p:sp>
    </p:spTree>
    <p:extLst>
      <p:ext uri="{BB962C8B-B14F-4D97-AF65-F5344CB8AC3E}">
        <p14:creationId xmlns:p14="http://schemas.microsoft.com/office/powerpoint/2010/main" val="16614187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865637122"/>
              </p:ext>
            </p:extLst>
          </p:nvPr>
        </p:nvGraphicFramePr>
        <p:xfrm>
          <a:off x="1898650" y="1952212"/>
          <a:ext cx="8393112" cy="3032609"/>
        </p:xfrm>
        <a:graphic>
          <a:graphicData uri="http://schemas.openxmlformats.org/drawingml/2006/table">
            <a:tbl>
              <a:tblPr firstRow="1" bandRow="1">
                <a:tableStyleId>{5C22544A-7EE6-4342-B048-85BDC9FD1C3A}</a:tableStyleId>
              </a:tblPr>
              <a:tblGrid>
                <a:gridCol w="1260316">
                  <a:extLst>
                    <a:ext uri="{9D8B030D-6E8A-4147-A177-3AD203B41FA5}">
                      <a16:colId xmlns:a16="http://schemas.microsoft.com/office/drawing/2014/main" val="20000"/>
                    </a:ext>
                  </a:extLst>
                </a:gridCol>
                <a:gridCol w="4866195">
                  <a:extLst>
                    <a:ext uri="{9D8B030D-6E8A-4147-A177-3AD203B41FA5}">
                      <a16:colId xmlns:a16="http://schemas.microsoft.com/office/drawing/2014/main" val="20001"/>
                    </a:ext>
                  </a:extLst>
                </a:gridCol>
                <a:gridCol w="2266601">
                  <a:extLst>
                    <a:ext uri="{9D8B030D-6E8A-4147-A177-3AD203B41FA5}">
                      <a16:colId xmlns:a16="http://schemas.microsoft.com/office/drawing/2014/main" val="3859012305"/>
                    </a:ext>
                  </a:extLst>
                </a:gridCol>
              </a:tblGrid>
              <a:tr h="375300">
                <a:tc>
                  <a:txBody>
                    <a:bodyPr/>
                    <a:lstStyle/>
                    <a:p>
                      <a:pPr marL="0" indent="0">
                        <a:lnSpc>
                          <a:spcPct val="110000"/>
                        </a:lnSpc>
                        <a:buFont typeface="Arial" panose="020B0604020202020204" pitchFamily="34" charset="0"/>
                        <a:buNone/>
                      </a:pPr>
                      <a:r>
                        <a:rPr lang="en-US" sz="1000" b="1">
                          <a:solidFill>
                            <a:schemeClr val="accent1"/>
                          </a:solidFill>
                          <a:latin typeface="+mj-lt"/>
                        </a:rPr>
                        <a:t>Assessment Type</a:t>
                      </a:r>
                    </a:p>
                  </a:txBody>
                  <a:tcPr marL="68932" marR="68932" marT="68580" marB="68580"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a:solidFill>
                            <a:schemeClr val="accent1"/>
                          </a:solidFill>
                          <a:latin typeface="+mj-lt"/>
                        </a:rPr>
                        <a:t>Definition</a:t>
                      </a:r>
                      <a:endParaRPr lang="en-GB" sz="1000" b="1">
                        <a:solidFill>
                          <a:schemeClr val="accent1"/>
                        </a:solidFill>
                        <a:latin typeface="+mj-lt"/>
                      </a:endParaRPr>
                    </a:p>
                  </a:txBody>
                  <a:tcPr marL="68932" marR="68932" marT="68580" marB="685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000" b="1">
                          <a:solidFill>
                            <a:schemeClr val="accent1"/>
                          </a:solidFill>
                          <a:latin typeface="+mj-lt"/>
                        </a:rPr>
                        <a:t>Tool/team used</a:t>
                      </a:r>
                    </a:p>
                  </a:txBody>
                  <a:tcPr marL="68932" marR="68932" marT="68580" marB="68580" anchor="ctr">
                    <a:lnL w="63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618197">
                <a:tc>
                  <a:txBody>
                    <a:bodyPr/>
                    <a:lstStyle/>
                    <a:p>
                      <a:pPr marL="0" indent="0" algn="l">
                        <a:lnSpc>
                          <a:spcPct val="110000"/>
                        </a:lnSpc>
                        <a:spcBef>
                          <a:spcPts val="300"/>
                        </a:spcBef>
                        <a:spcAft>
                          <a:spcPts val="600"/>
                        </a:spcAft>
                        <a:buFont typeface="Arial" panose="020B0604020202020204" pitchFamily="34" charset="0"/>
                        <a:buNone/>
                      </a:pPr>
                      <a:r>
                        <a:rPr lang="en-US" sz="1000" b="1">
                          <a:solidFill>
                            <a:schemeClr val="tx1"/>
                          </a:solidFill>
                          <a:latin typeface="+mn-lt"/>
                        </a:rPr>
                        <a:t>Static Application Security Test (SAST)</a:t>
                      </a:r>
                    </a:p>
                  </a:txBody>
                  <a:tcPr marL="68932" marR="68932" marT="68580" marB="68580">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fontAlgn="base">
                        <a:spcAft>
                          <a:spcPct val="0"/>
                        </a:spcAft>
                      </a:pPr>
                      <a:r>
                        <a:rPr lang="en-US" sz="1050">
                          <a:latin typeface="Verdana" panose="020B0604030504040204" pitchFamily="34" charset="0"/>
                          <a:ea typeface="Verdana" panose="020B0604030504040204" pitchFamily="34" charset="0"/>
                          <a:cs typeface="Verdana" panose="020B0604030504040204" pitchFamily="34" charset="0"/>
                        </a:rPr>
                        <a:t>A static code analysis tool to review codes against known code-level security flaws.</a:t>
                      </a:r>
                    </a:p>
                  </a:txBody>
                  <a:tcPr marL="68932" marR="68932" marT="68580" marB="68580">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2" indent="-171450" fontAlgn="base">
                        <a:spcAft>
                          <a:spcPct val="0"/>
                        </a:spcAft>
                        <a:buFont typeface="Arial" panose="020B0604020202020204" pitchFamily="34" charset="0"/>
                        <a:buChar char="•"/>
                      </a:pPr>
                      <a:r>
                        <a:rPr lang="en-US" sz="1050">
                          <a:highlight>
                            <a:srgbClr val="FFFF00"/>
                          </a:highlight>
                          <a:latin typeface="Verdana" panose="020B0604030504040204" pitchFamily="34" charset="0"/>
                          <a:ea typeface="Verdana" panose="020B0604030504040204" pitchFamily="34" charset="0"/>
                          <a:cs typeface="Verdana" panose="020B0604030504040204" pitchFamily="34" charset="0"/>
                        </a:rPr>
                        <a:t>Veracode</a:t>
                      </a:r>
                    </a:p>
                    <a:p>
                      <a:pPr marL="171450" lvl="2" indent="-171450" fontAlgn="base">
                        <a:spcAft>
                          <a:spcPct val="0"/>
                        </a:spcAft>
                        <a:buFont typeface="Arial" panose="020B0604020202020204" pitchFamily="34" charset="0"/>
                        <a:buChar char="•"/>
                      </a:pPr>
                      <a:r>
                        <a:rPr lang="en-US" sz="1050">
                          <a:latin typeface="Verdana" panose="020B0604030504040204" pitchFamily="34" charset="0"/>
                          <a:ea typeface="Verdana" panose="020B0604030504040204" pitchFamily="34" charset="0"/>
                          <a:cs typeface="Verdana" panose="020B0604030504040204" pitchFamily="34" charset="0"/>
                        </a:rPr>
                        <a:t>Global AAT – Fortify* (Vigilant Shield)</a:t>
                      </a:r>
                    </a:p>
                  </a:txBody>
                  <a:tcPr marL="68932" marR="68932" marT="68580" marB="68580">
                    <a:lnL w="12700" cap="flat" cmpd="sng" algn="ctr">
                      <a:solidFill>
                        <a:schemeClr val="accent6">
                          <a:lumMod val="20000"/>
                          <a:lumOff val="80000"/>
                        </a:schemeClr>
                      </a:solid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18197">
                <a:tc>
                  <a:txBody>
                    <a:bodyPr/>
                    <a:lstStyle/>
                    <a:p>
                      <a:pPr marL="0" indent="0" algn="l">
                        <a:lnSpc>
                          <a:spcPct val="110000"/>
                        </a:lnSpc>
                        <a:spcBef>
                          <a:spcPts val="300"/>
                        </a:spcBef>
                        <a:spcAft>
                          <a:spcPts val="600"/>
                        </a:spcAft>
                        <a:buFont typeface="Arial" panose="020B0604020202020204" pitchFamily="34" charset="0"/>
                        <a:buNone/>
                      </a:pPr>
                      <a:r>
                        <a:rPr lang="en-US" sz="1000" b="1">
                          <a:solidFill>
                            <a:schemeClr val="tx1"/>
                          </a:solidFill>
                          <a:latin typeface="+mn-lt"/>
                        </a:rPr>
                        <a:t>Dynamic Application Security Test (DAST)</a:t>
                      </a:r>
                    </a:p>
                  </a:txBody>
                  <a:tcPr marL="68932" marR="68932" marT="68580" marB="68580">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fontAlgn="base">
                        <a:spcAft>
                          <a:spcPct val="0"/>
                        </a:spcAft>
                      </a:pPr>
                      <a:r>
                        <a:rPr lang="en-US" sz="1050">
                          <a:latin typeface="Verdana" panose="020B0604030504040204" pitchFamily="34" charset="0"/>
                          <a:ea typeface="Verdana" panose="020B0604030504040204" pitchFamily="34" charset="0"/>
                          <a:cs typeface="Verdana" panose="020B0604030504040204" pitchFamily="34" charset="0"/>
                        </a:rPr>
                        <a:t>An automated dynamic code analysis tool to detect faults in a running application. </a:t>
                      </a:r>
                    </a:p>
                  </a:txBody>
                  <a:tcPr marL="68932" marR="68932" marT="68580" marB="68580">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2" indent="-171450" fontAlgn="base">
                        <a:spcAft>
                          <a:spcPct val="0"/>
                        </a:spcAft>
                        <a:buFont typeface="Arial" panose="020B0604020202020204" pitchFamily="34" charset="0"/>
                        <a:buChar char="•"/>
                      </a:pPr>
                      <a:r>
                        <a:rPr lang="en-US" sz="1050">
                          <a:latin typeface="Verdana" panose="020B0604030504040204" pitchFamily="34" charset="0"/>
                          <a:ea typeface="Verdana" panose="020B0604030504040204" pitchFamily="34" charset="0"/>
                          <a:cs typeface="Verdana" panose="020B0604030504040204" pitchFamily="34" charset="0"/>
                        </a:rPr>
                        <a:t>Global AAT – </a:t>
                      </a:r>
                      <a:r>
                        <a:rPr lang="en-US" sz="1050" err="1">
                          <a:latin typeface="Verdana" panose="020B0604030504040204" pitchFamily="34" charset="0"/>
                          <a:ea typeface="Verdana" panose="020B0604030504040204" pitchFamily="34" charset="0"/>
                          <a:cs typeface="Verdana" panose="020B0604030504040204" pitchFamily="34" charset="0"/>
                        </a:rPr>
                        <a:t>WebInspect</a:t>
                      </a:r>
                      <a:endParaRPr lang="en-US" sz="1050">
                        <a:latin typeface="Verdana" panose="020B0604030504040204" pitchFamily="34" charset="0"/>
                        <a:ea typeface="Verdana" panose="020B0604030504040204" pitchFamily="34" charset="0"/>
                        <a:cs typeface="Verdana" panose="020B0604030504040204" pitchFamily="34" charset="0"/>
                      </a:endParaRPr>
                    </a:p>
                    <a:p>
                      <a:pPr marL="171450" lvl="2" indent="-171450" fontAlgn="base">
                        <a:spcAft>
                          <a:spcPct val="0"/>
                        </a:spcAft>
                        <a:buFont typeface="Arial" panose="020B0604020202020204" pitchFamily="34" charset="0"/>
                        <a:buChar char="•"/>
                      </a:pPr>
                      <a:r>
                        <a:rPr lang="en-US" sz="1050" err="1">
                          <a:latin typeface="Verdana" panose="020B0604030504040204" pitchFamily="34" charset="0"/>
                          <a:ea typeface="Verdana" panose="020B0604030504040204" pitchFamily="34" charset="0"/>
                          <a:cs typeface="Verdana" panose="020B0604030504040204" pitchFamily="34" charset="0"/>
                        </a:rPr>
                        <a:t>AppSpider</a:t>
                      </a:r>
                      <a:endParaRPr lang="en-US" sz="1050">
                        <a:latin typeface="Verdana" panose="020B0604030504040204" pitchFamily="34" charset="0"/>
                        <a:ea typeface="Verdana" panose="020B0604030504040204" pitchFamily="34" charset="0"/>
                        <a:cs typeface="Verdana" panose="020B0604030504040204" pitchFamily="34" charset="0"/>
                      </a:endParaRPr>
                    </a:p>
                    <a:p>
                      <a:pPr marL="171450" lvl="2" indent="-171450" fontAlgn="base">
                        <a:spcAft>
                          <a:spcPct val="0"/>
                        </a:spcAft>
                        <a:buFont typeface="Arial" panose="020B0604020202020204" pitchFamily="34" charset="0"/>
                        <a:buChar char="•"/>
                      </a:pPr>
                      <a:r>
                        <a:rPr lang="en-US" sz="1050">
                          <a:highlight>
                            <a:srgbClr val="FFFF00"/>
                          </a:highlight>
                          <a:latin typeface="Verdana" panose="020B0604030504040204" pitchFamily="34" charset="0"/>
                          <a:ea typeface="Verdana" panose="020B0604030504040204" pitchFamily="34" charset="0"/>
                          <a:cs typeface="Verdana" panose="020B0604030504040204" pitchFamily="34" charset="0"/>
                        </a:rPr>
                        <a:t>Contrast</a:t>
                      </a:r>
                    </a:p>
                    <a:p>
                      <a:pPr marL="171450" lvl="2" indent="-171450" fontAlgn="base">
                        <a:spcAft>
                          <a:spcPct val="0"/>
                        </a:spcAft>
                        <a:buFont typeface="Arial" panose="020B0604020202020204" pitchFamily="34" charset="0"/>
                        <a:buChar char="•"/>
                      </a:pPr>
                      <a:r>
                        <a:rPr lang="en-US" sz="1050">
                          <a:latin typeface="Verdana" panose="020B0604030504040204" pitchFamily="34" charset="0"/>
                          <a:ea typeface="Verdana" panose="020B0604030504040204" pitchFamily="34" charset="0"/>
                          <a:cs typeface="Verdana" panose="020B0604030504040204" pitchFamily="34" charset="0"/>
                        </a:rPr>
                        <a:t>Synopsys (External)</a:t>
                      </a:r>
                    </a:p>
                  </a:txBody>
                  <a:tcPr marL="68932" marR="68932" marT="68580" marB="68580">
                    <a:lnL w="12700" cap="flat" cmpd="sng" algn="ctr">
                      <a:solidFill>
                        <a:schemeClr val="accent6">
                          <a:lumMod val="20000"/>
                          <a:lumOff val="80000"/>
                        </a:schemeClr>
                      </a:solid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18197">
                <a:tc>
                  <a:txBody>
                    <a:bodyPr/>
                    <a:lstStyle/>
                    <a:p>
                      <a:pPr marL="0" indent="0" algn="l">
                        <a:lnSpc>
                          <a:spcPct val="110000"/>
                        </a:lnSpc>
                        <a:spcBef>
                          <a:spcPts val="300"/>
                        </a:spcBef>
                        <a:spcAft>
                          <a:spcPts val="600"/>
                        </a:spcAft>
                        <a:buFont typeface="Arial" panose="020B0604020202020204" pitchFamily="34" charset="0"/>
                        <a:buNone/>
                      </a:pPr>
                      <a:r>
                        <a:rPr lang="en-US" sz="1000" b="1">
                          <a:latin typeface="Verdana" panose="020B0604030504040204" pitchFamily="34" charset="0"/>
                          <a:ea typeface="Verdana" panose="020B0604030504040204" pitchFamily="34" charset="0"/>
                          <a:cs typeface="Verdana" panose="020B0604030504040204" pitchFamily="34" charset="0"/>
                        </a:rPr>
                        <a:t>Penetration Application Security Test</a:t>
                      </a:r>
                      <a:endParaRPr lang="en-US" sz="1000" b="1">
                        <a:solidFill>
                          <a:schemeClr val="tx1"/>
                        </a:solidFill>
                        <a:latin typeface="+mn-lt"/>
                      </a:endParaRPr>
                    </a:p>
                  </a:txBody>
                  <a:tcPr marL="68932" marR="68932" marT="68580" marB="68580">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fontAlgn="base">
                        <a:spcAft>
                          <a:spcPct val="0"/>
                        </a:spcAft>
                      </a:pPr>
                      <a:r>
                        <a:rPr lang="en-US" sz="1050">
                          <a:latin typeface="Verdana" panose="020B0604030504040204" pitchFamily="34" charset="0"/>
                          <a:ea typeface="Verdana" panose="020B0604030504040204" pitchFamily="34" charset="0"/>
                          <a:cs typeface="Verdana" panose="020B0604030504040204" pitchFamily="34" charset="0"/>
                        </a:rPr>
                        <a:t>Simulated cyber attacks, both automated and manual, against applications to assess the ability to uncover vulnerabilities, such as code injection attacks or escalated access privileges.</a:t>
                      </a:r>
                    </a:p>
                  </a:txBody>
                  <a:tcPr marL="68932" marR="68932" marT="68580" marB="68580">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2" indent="-171450" fontAlgn="base">
                        <a:spcAft>
                          <a:spcPct val="0"/>
                        </a:spcAft>
                        <a:buFont typeface="Arial" panose="020B0604020202020204" pitchFamily="34" charset="0"/>
                        <a:buChar char="•"/>
                      </a:pPr>
                      <a:r>
                        <a:rPr lang="en-US" sz="1050">
                          <a:highlight>
                            <a:srgbClr val="FFFF00"/>
                          </a:highlight>
                          <a:latin typeface="Verdana" panose="020B0604030504040204" pitchFamily="34" charset="0"/>
                          <a:ea typeface="Verdana" panose="020B0604030504040204" pitchFamily="34" charset="0"/>
                          <a:cs typeface="Verdana" panose="020B0604030504040204" pitchFamily="34" charset="0"/>
                        </a:rPr>
                        <a:t>VMS</a:t>
                      </a:r>
                      <a:r>
                        <a:rPr lang="en-US" sz="1050">
                          <a:latin typeface="Verdana" panose="020B0604030504040204" pitchFamily="34" charset="0"/>
                          <a:ea typeface="Verdana" panose="020B0604030504040204" pitchFamily="34" charset="0"/>
                          <a:cs typeface="Verdana" panose="020B0604030504040204" pitchFamily="34" charset="0"/>
                        </a:rPr>
                        <a:t> (Internal)</a:t>
                      </a:r>
                    </a:p>
                    <a:p>
                      <a:pPr marL="171450" lvl="2" indent="-171450" fontAlgn="base">
                        <a:spcAft>
                          <a:spcPct val="0"/>
                        </a:spcAft>
                        <a:buFont typeface="Arial" panose="020B0604020202020204" pitchFamily="34" charset="0"/>
                        <a:buChar char="•"/>
                      </a:pPr>
                      <a:r>
                        <a:rPr lang="en-US" sz="1050">
                          <a:latin typeface="Verdana" panose="020B0604030504040204" pitchFamily="34" charset="0"/>
                          <a:ea typeface="Verdana" panose="020B0604030504040204" pitchFamily="34" charset="0"/>
                          <a:cs typeface="Verdana" panose="020B0604030504040204" pitchFamily="34" charset="0"/>
                        </a:rPr>
                        <a:t>Synopsys (External)</a:t>
                      </a:r>
                    </a:p>
                  </a:txBody>
                  <a:tcPr marL="68932" marR="68932" marT="68580" marB="68580">
                    <a:lnL w="12700" cap="flat" cmpd="sng" algn="ctr">
                      <a:solidFill>
                        <a:schemeClr val="accent6">
                          <a:lumMod val="20000"/>
                          <a:lumOff val="80000"/>
                        </a:schemeClr>
                      </a:solid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18197">
                <a:tc>
                  <a:txBody>
                    <a:bodyPr/>
                    <a:lstStyle/>
                    <a:p>
                      <a:pPr marL="0" indent="0" algn="l">
                        <a:lnSpc>
                          <a:spcPct val="110000"/>
                        </a:lnSpc>
                        <a:spcBef>
                          <a:spcPts val="300"/>
                        </a:spcBef>
                        <a:spcAft>
                          <a:spcPts val="600"/>
                        </a:spcAft>
                        <a:buFont typeface="Arial" panose="020B0604020202020204" pitchFamily="34" charset="0"/>
                        <a:buNone/>
                      </a:pPr>
                      <a:r>
                        <a:rPr lang="en-US" sz="1000" b="1">
                          <a:solidFill>
                            <a:schemeClr val="tx1"/>
                          </a:solidFill>
                          <a:latin typeface="+mn-lt"/>
                        </a:rPr>
                        <a:t>Network Vulnerability and SSL Test</a:t>
                      </a:r>
                    </a:p>
                  </a:txBody>
                  <a:tcPr marL="68932" marR="68932" marT="68580" marB="68580">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fontAlgn="base">
                        <a:spcAft>
                          <a:spcPct val="0"/>
                        </a:spcAft>
                      </a:pPr>
                      <a:r>
                        <a:rPr lang="en-US" sz="1050">
                          <a:latin typeface="Verdana" panose="020B0604030504040204" pitchFamily="34" charset="0"/>
                          <a:ea typeface="Verdana" panose="020B0604030504040204" pitchFamily="34" charset="0"/>
                          <a:cs typeface="Verdana" panose="020B0604030504040204" pitchFamily="34" charset="0"/>
                        </a:rPr>
                        <a:t>The process of reviewing and analyzing a network servers and SSL certificates for possible security vulnerabilities and loopholes.</a:t>
                      </a:r>
                    </a:p>
                  </a:txBody>
                  <a:tcPr marL="68932" marR="68932" marT="68580" marB="68580">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2" indent="-171450" fontAlgn="base">
                        <a:spcAft>
                          <a:spcPct val="0"/>
                        </a:spcAft>
                        <a:buFont typeface="Arial" panose="020B0604020202020204" pitchFamily="34" charset="0"/>
                        <a:buChar char="•"/>
                      </a:pPr>
                      <a:r>
                        <a:rPr lang="en-US" sz="1050">
                          <a:latin typeface="Verdana" panose="020B0604030504040204" pitchFamily="34" charset="0"/>
                          <a:ea typeface="Verdana" panose="020B0604030504040204" pitchFamily="34" charset="0"/>
                          <a:cs typeface="Verdana" panose="020B0604030504040204" pitchFamily="34" charset="0"/>
                        </a:rPr>
                        <a:t>Kenna / Qualys</a:t>
                      </a:r>
                    </a:p>
                  </a:txBody>
                  <a:tcPr marL="68932" marR="68932" marT="68580" marB="68580">
                    <a:lnL w="12700" cap="flat" cmpd="sng" algn="ctr">
                      <a:solidFill>
                        <a:schemeClr val="accent6">
                          <a:lumMod val="20000"/>
                          <a:lumOff val="80000"/>
                        </a:schemeClr>
                      </a:solid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3" name="Title 2"/>
          <p:cNvSpPr>
            <a:spLocks noGrp="1"/>
          </p:cNvSpPr>
          <p:nvPr>
            <p:ph type="title"/>
          </p:nvPr>
        </p:nvSpPr>
        <p:spPr/>
        <p:txBody>
          <a:bodyPr/>
          <a:lstStyle/>
          <a:p>
            <a:r>
              <a:rPr lang="en-US" sz="2400"/>
              <a:t>Security Assessments</a:t>
            </a:r>
          </a:p>
        </p:txBody>
      </p:sp>
      <p:sp>
        <p:nvSpPr>
          <p:cNvPr id="5" name="Text Placeholder 8">
            <a:extLst>
              <a:ext uri="{FF2B5EF4-FFF2-40B4-BE49-F238E27FC236}">
                <a16:creationId xmlns:a16="http://schemas.microsoft.com/office/drawing/2014/main" id="{53E75D1A-62BA-440E-8320-63C591FEB1AE}"/>
              </a:ext>
            </a:extLst>
          </p:cNvPr>
          <p:cNvSpPr txBox="1">
            <a:spLocks/>
          </p:cNvSpPr>
          <p:nvPr/>
        </p:nvSpPr>
        <p:spPr>
          <a:xfrm>
            <a:off x="1900238" y="1073663"/>
            <a:ext cx="8391524" cy="357187"/>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000" b="0" kern="1200">
                <a:solidFill>
                  <a:schemeClr val="tx1"/>
                </a:solidFill>
                <a:latin typeface="+mn-lt"/>
                <a:ea typeface="+mn-ea"/>
                <a:cs typeface="+mn-cs"/>
              </a:defRPr>
            </a:lvl1pPr>
            <a:lvl2pPr marL="101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3pPr>
            <a:lvl4pPr marL="355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baseline="0" dirty="0" smtClean="0">
                <a:solidFill>
                  <a:schemeClr val="tx1"/>
                </a:solidFill>
                <a:latin typeface="+mn-lt"/>
                <a:ea typeface="+mn-ea"/>
                <a:cs typeface="+mn-cs"/>
              </a:defRPr>
            </a:lvl4pPr>
            <a:lvl5pPr marL="482600" indent="-101600" algn="l" defTabSz="798513" rtl="0" eaLnBrk="1" latinLnBrk="0" hangingPunct="1">
              <a:spcBef>
                <a:spcPts val="0"/>
              </a:spcBef>
              <a:spcAft>
                <a:spcPts val="1000"/>
              </a:spcAft>
              <a:buClrTx/>
              <a:buSzPct val="100000"/>
              <a:buFont typeface="Arial" panose="020B0604020202020204" pitchFamily="34" charset="0"/>
              <a:buChar char="−"/>
              <a:tabLst/>
              <a:defRPr lang="en-US" sz="1000" b="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To support quality control objectives in accordance with U.S. AAM 22852, </a:t>
            </a:r>
            <a:r>
              <a:rPr lang="en-US" i="1"/>
              <a:t>Controls over Audit Tools</a:t>
            </a:r>
            <a:r>
              <a:rPr lang="en-US"/>
              <a:t>, or U.S. PCAOB AAM 22852, </a:t>
            </a:r>
            <a:r>
              <a:rPr lang="en-US" i="1"/>
              <a:t>Controls over Audit Tools, </a:t>
            </a:r>
            <a:r>
              <a:rPr lang="en-US"/>
              <a:t>the audit and assurance tool technology environment (i.e., application, database, operating system) needs to be evaluated prior to initial production deployment, major releases, or version upgrades.</a:t>
            </a:r>
          </a:p>
          <a:p>
            <a:endParaRPr lang="en-US"/>
          </a:p>
        </p:txBody>
      </p:sp>
      <p:sp>
        <p:nvSpPr>
          <p:cNvPr id="6" name="Text Placeholder 3">
            <a:extLst>
              <a:ext uri="{FF2B5EF4-FFF2-40B4-BE49-F238E27FC236}">
                <a16:creationId xmlns:a16="http://schemas.microsoft.com/office/drawing/2014/main" id="{304A980F-D01B-4D0A-B2C6-21F26683B76B}"/>
              </a:ext>
            </a:extLst>
          </p:cNvPr>
          <p:cNvSpPr txBox="1">
            <a:spLocks/>
          </p:cNvSpPr>
          <p:nvPr/>
        </p:nvSpPr>
        <p:spPr>
          <a:xfrm>
            <a:off x="2012205" y="5421004"/>
            <a:ext cx="8391525" cy="260737"/>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Tx/>
              <a:buNone/>
              <a:defRPr sz="675" b="0" kern="1200">
                <a:solidFill>
                  <a:schemeClr val="tx1"/>
                </a:solidFill>
                <a:latin typeface="+mn-lt"/>
                <a:ea typeface="+mn-ea"/>
                <a:cs typeface="+mn-cs"/>
              </a:defRPr>
            </a:lvl1pPr>
            <a:lvl2pPr marL="101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3pPr>
            <a:lvl4pPr marL="355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baseline="0" dirty="0" smtClean="0">
                <a:solidFill>
                  <a:schemeClr val="tx1"/>
                </a:solidFill>
                <a:latin typeface="+mn-lt"/>
                <a:ea typeface="+mn-ea"/>
                <a:cs typeface="+mn-cs"/>
              </a:defRPr>
            </a:lvl4pPr>
            <a:lvl5pPr marL="482600" indent="-101600" algn="l" defTabSz="798513" rtl="0" eaLnBrk="1" latinLnBrk="0" hangingPunct="1">
              <a:spcBef>
                <a:spcPts val="0"/>
              </a:spcBef>
              <a:spcAft>
                <a:spcPts val="1000"/>
              </a:spcAft>
              <a:buClrTx/>
              <a:buSzPct val="100000"/>
              <a:buFont typeface="Arial" panose="020B0604020202020204" pitchFamily="34" charset="0"/>
              <a:buChar char="−"/>
              <a:tabLst/>
              <a:defRPr lang="en-US" sz="1000" b="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900"/>
              <a:t>*Fortify and Contrast are preferred SAST tools as of November 2020</a:t>
            </a:r>
          </a:p>
        </p:txBody>
      </p:sp>
    </p:spTree>
    <p:extLst>
      <p:ext uri="{BB962C8B-B14F-4D97-AF65-F5344CB8AC3E}">
        <p14:creationId xmlns:p14="http://schemas.microsoft.com/office/powerpoint/2010/main" val="300760130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4220700429"/>
              </p:ext>
            </p:extLst>
          </p:nvPr>
        </p:nvGraphicFramePr>
        <p:xfrm>
          <a:off x="2012207" y="1112457"/>
          <a:ext cx="7500031" cy="4136300"/>
        </p:xfrm>
        <a:graphic>
          <a:graphicData uri="http://schemas.openxmlformats.org/drawingml/2006/table">
            <a:tbl>
              <a:tblPr firstRow="1" bandRow="1">
                <a:tableStyleId>{5C22544A-7EE6-4342-B048-85BDC9FD1C3A}</a:tableStyleId>
              </a:tblPr>
              <a:tblGrid>
                <a:gridCol w="1144651">
                  <a:extLst>
                    <a:ext uri="{9D8B030D-6E8A-4147-A177-3AD203B41FA5}">
                      <a16:colId xmlns:a16="http://schemas.microsoft.com/office/drawing/2014/main" val="20000"/>
                    </a:ext>
                  </a:extLst>
                </a:gridCol>
                <a:gridCol w="1446245">
                  <a:extLst>
                    <a:ext uri="{9D8B030D-6E8A-4147-A177-3AD203B41FA5}">
                      <a16:colId xmlns:a16="http://schemas.microsoft.com/office/drawing/2014/main" val="20001"/>
                    </a:ext>
                  </a:extLst>
                </a:gridCol>
                <a:gridCol w="1586204">
                  <a:extLst>
                    <a:ext uri="{9D8B030D-6E8A-4147-A177-3AD203B41FA5}">
                      <a16:colId xmlns:a16="http://schemas.microsoft.com/office/drawing/2014/main" val="2750703446"/>
                    </a:ext>
                  </a:extLst>
                </a:gridCol>
                <a:gridCol w="1555943">
                  <a:extLst>
                    <a:ext uri="{9D8B030D-6E8A-4147-A177-3AD203B41FA5}">
                      <a16:colId xmlns:a16="http://schemas.microsoft.com/office/drawing/2014/main" val="2779279302"/>
                    </a:ext>
                  </a:extLst>
                </a:gridCol>
                <a:gridCol w="1766988">
                  <a:extLst>
                    <a:ext uri="{9D8B030D-6E8A-4147-A177-3AD203B41FA5}">
                      <a16:colId xmlns:a16="http://schemas.microsoft.com/office/drawing/2014/main" val="2348992399"/>
                    </a:ext>
                  </a:extLst>
                </a:gridCol>
              </a:tblGrid>
              <a:tr h="446778">
                <a:tc>
                  <a:txBody>
                    <a:bodyPr/>
                    <a:lstStyle/>
                    <a:p>
                      <a:pPr marL="0" indent="0">
                        <a:lnSpc>
                          <a:spcPct val="110000"/>
                        </a:lnSpc>
                        <a:buFont typeface="Arial" panose="020B0604020202020204" pitchFamily="34" charset="0"/>
                        <a:buNone/>
                      </a:pPr>
                      <a:r>
                        <a:rPr lang="en-US" sz="1000" b="1">
                          <a:solidFill>
                            <a:schemeClr val="accent1"/>
                          </a:solidFill>
                          <a:latin typeface="+mj-lt"/>
                        </a:rPr>
                        <a:t>Release Type</a:t>
                      </a:r>
                    </a:p>
                  </a:txBody>
                  <a:tcPr marL="68932" marR="68932" marT="68580" marB="68580"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a:solidFill>
                            <a:schemeClr val="accent1"/>
                          </a:solidFill>
                          <a:latin typeface="+mj-lt"/>
                        </a:rPr>
                        <a:t>Major Release</a:t>
                      </a:r>
                      <a:endParaRPr lang="en-GB" sz="1000" b="1">
                        <a:solidFill>
                          <a:schemeClr val="accent1"/>
                        </a:solidFill>
                        <a:latin typeface="+mj-lt"/>
                      </a:endParaRPr>
                    </a:p>
                  </a:txBody>
                  <a:tcPr marL="68932" marR="68932" marT="68580" marB="685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a:solidFill>
                            <a:schemeClr val="accent1"/>
                          </a:solidFill>
                          <a:latin typeface="+mj-lt"/>
                        </a:rPr>
                        <a:t>Semi-Major Release</a:t>
                      </a:r>
                    </a:p>
                  </a:txBody>
                  <a:tcPr marL="68932" marR="68932" marT="68580" marB="685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a:solidFill>
                            <a:schemeClr val="accent1"/>
                          </a:solidFill>
                          <a:latin typeface="+mj-lt"/>
                        </a:rPr>
                        <a:t>Minor Release</a:t>
                      </a:r>
                    </a:p>
                  </a:txBody>
                  <a:tcPr marL="68932" marR="68932" marT="68580" marB="685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a:solidFill>
                            <a:schemeClr val="accent1"/>
                          </a:solidFill>
                          <a:latin typeface="+mj-lt"/>
                        </a:rPr>
                        <a:t>“Frequent” Releases</a:t>
                      </a:r>
                    </a:p>
                    <a:p>
                      <a:pPr algn="ctr"/>
                      <a:r>
                        <a:rPr lang="en-GB" sz="1000" b="1">
                          <a:solidFill>
                            <a:schemeClr val="accent1"/>
                          </a:solidFill>
                          <a:latin typeface="+mj-lt"/>
                        </a:rPr>
                        <a:t>(AGILE development)</a:t>
                      </a:r>
                    </a:p>
                  </a:txBody>
                  <a:tcPr marL="68932" marR="68932" marT="68580" marB="685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662961">
                <a:tc>
                  <a:txBody>
                    <a:bodyPr/>
                    <a:lstStyle/>
                    <a:p>
                      <a:pPr marL="0" indent="0" algn="l">
                        <a:lnSpc>
                          <a:spcPct val="110000"/>
                        </a:lnSpc>
                        <a:spcBef>
                          <a:spcPts val="300"/>
                        </a:spcBef>
                        <a:spcAft>
                          <a:spcPts val="600"/>
                        </a:spcAft>
                        <a:buFont typeface="Arial" panose="020B0604020202020204" pitchFamily="34" charset="0"/>
                        <a:buNone/>
                      </a:pPr>
                      <a:r>
                        <a:rPr lang="en-US" sz="1000" b="1">
                          <a:solidFill>
                            <a:schemeClr val="tx1"/>
                          </a:solidFill>
                          <a:latin typeface="+mn-lt"/>
                        </a:rPr>
                        <a:t>Static Application Security Test (SAST)</a:t>
                      </a:r>
                    </a:p>
                  </a:txBody>
                  <a:tcPr marL="68932" marR="68932" marT="68580" marB="68580">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51205">
                <a:tc>
                  <a:txBody>
                    <a:bodyPr/>
                    <a:lstStyle/>
                    <a:p>
                      <a:pPr marL="0" indent="0" algn="l">
                        <a:lnSpc>
                          <a:spcPct val="110000"/>
                        </a:lnSpc>
                        <a:spcBef>
                          <a:spcPts val="300"/>
                        </a:spcBef>
                        <a:spcAft>
                          <a:spcPts val="600"/>
                        </a:spcAft>
                        <a:buFont typeface="Arial" panose="020B0604020202020204" pitchFamily="34" charset="0"/>
                        <a:buNone/>
                      </a:pPr>
                      <a:r>
                        <a:rPr lang="en-US" sz="1000" b="1">
                          <a:solidFill>
                            <a:schemeClr val="tx1"/>
                          </a:solidFill>
                          <a:latin typeface="+mn-lt"/>
                        </a:rPr>
                        <a:t>Dynamic Application Security Test (DAST)</a:t>
                      </a:r>
                    </a:p>
                  </a:txBody>
                  <a:tcPr marL="68932" marR="68932" marT="68580" marB="68580">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50">
                          <a:latin typeface="Verdana" panose="020B0604030504040204" pitchFamily="34" charset="0"/>
                          <a:ea typeface="Verdana" panose="020B0604030504040204" pitchFamily="34" charset="0"/>
                          <a:cs typeface="Verdana" panose="020B0604030504040204" pitchFamily="34" charset="0"/>
                        </a:rPr>
                        <a:t>Included in Pen Test</a:t>
                      </a: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lvl="2" algn="ctr" fontAlgn="base">
                        <a:spcAft>
                          <a:spcPct val="0"/>
                        </a:spcAft>
                      </a:pPr>
                      <a:r>
                        <a:rPr lang="en-US" sz="1050">
                          <a:latin typeface="Verdana" panose="020B0604030504040204" pitchFamily="34" charset="0"/>
                          <a:ea typeface="Verdana" panose="020B0604030504040204" pitchFamily="34" charset="0"/>
                          <a:cs typeface="Verdana" panose="020B0604030504040204" pitchFamily="34" charset="0"/>
                        </a:rPr>
                        <a:t>OR</a:t>
                      </a: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lvl="2" algn="ctr" fontAlgn="base">
                        <a:spcAft>
                          <a:spcPct val="0"/>
                        </a:spcAft>
                      </a:pPr>
                      <a:r>
                        <a:rPr lang="en-US" sz="1050">
                          <a:latin typeface="Verdana" panose="020B0604030504040204" pitchFamily="34" charset="0"/>
                          <a:ea typeface="Verdana" panose="020B0604030504040204" pitchFamily="34" charset="0"/>
                          <a:cs typeface="Verdana" panose="020B0604030504040204" pitchFamily="34" charset="0"/>
                        </a:rPr>
                        <a:t>At least once every 6 months</a:t>
                      </a: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3846">
                <a:tc>
                  <a:txBody>
                    <a:bodyPr/>
                    <a:lstStyle/>
                    <a:p>
                      <a:r>
                        <a:rPr lang="en-US" sz="1000" b="1">
                          <a:latin typeface="Verdana" panose="020B0604030504040204" pitchFamily="34" charset="0"/>
                          <a:ea typeface="Verdana" panose="020B0604030504040204" pitchFamily="34" charset="0"/>
                          <a:cs typeface="Verdana" panose="020B0604030504040204" pitchFamily="34" charset="0"/>
                        </a:rPr>
                        <a:t>Penetration Application Security Test</a:t>
                      </a:r>
                      <a:endParaRPr lang="en-US"/>
                    </a:p>
                  </a:txBody>
                  <a:tcPr marL="68932" marR="68932" marT="68580" marB="68580">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lvl="2" algn="ctr" fontAlgn="base">
                        <a:spcAft>
                          <a:spcPct val="0"/>
                        </a:spcAft>
                      </a:pPr>
                      <a:r>
                        <a:rPr lang="en-US" sz="1050">
                          <a:latin typeface="Verdana" panose="020B0604030504040204" pitchFamily="34" charset="0"/>
                          <a:ea typeface="Verdana" panose="020B0604030504040204" pitchFamily="34" charset="0"/>
                          <a:cs typeface="Verdana" panose="020B0604030504040204" pitchFamily="34" charset="0"/>
                        </a:rPr>
                        <a:t>At least annually</a:t>
                      </a: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6923141"/>
                  </a:ext>
                </a:extLst>
              </a:tr>
              <a:tr h="662961">
                <a:tc>
                  <a:txBody>
                    <a:bodyPr/>
                    <a:lstStyle/>
                    <a:p>
                      <a:pPr marL="0" indent="0" algn="l">
                        <a:lnSpc>
                          <a:spcPct val="110000"/>
                        </a:lnSpc>
                        <a:spcBef>
                          <a:spcPts val="300"/>
                        </a:spcBef>
                        <a:spcAft>
                          <a:spcPts val="600"/>
                        </a:spcAft>
                        <a:buFont typeface="Arial" panose="020B0604020202020204" pitchFamily="34" charset="0"/>
                        <a:buNone/>
                      </a:pPr>
                      <a:r>
                        <a:rPr lang="en-US" sz="1000" b="1">
                          <a:solidFill>
                            <a:schemeClr val="tx1"/>
                          </a:solidFill>
                          <a:latin typeface="+mn-lt"/>
                        </a:rPr>
                        <a:t>Network Vulnerability and SSL Test</a:t>
                      </a:r>
                    </a:p>
                  </a:txBody>
                  <a:tcPr marL="68932" marR="68932" marT="68580" marB="68580">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lvl="2" algn="ctr" fontAlgn="base">
                        <a:spcAft>
                          <a:spcPct val="0"/>
                        </a:spcAft>
                      </a:pPr>
                      <a:r>
                        <a:rPr lang="en-US" sz="1050">
                          <a:latin typeface="Verdana" panose="020B0604030504040204" pitchFamily="34" charset="0"/>
                          <a:ea typeface="Verdana" panose="020B0604030504040204" pitchFamily="34" charset="0"/>
                          <a:cs typeface="Verdana" panose="020B0604030504040204" pitchFamily="34" charset="0"/>
                        </a:rPr>
                        <a:t>At least annually</a:t>
                      </a: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48549">
                <a:tc>
                  <a:txBody>
                    <a:bodyPr/>
                    <a:lstStyle/>
                    <a:p>
                      <a:pPr marL="0" indent="0" algn="l">
                        <a:lnSpc>
                          <a:spcPct val="110000"/>
                        </a:lnSpc>
                        <a:spcBef>
                          <a:spcPts val="300"/>
                        </a:spcBef>
                        <a:spcAft>
                          <a:spcPts val="600"/>
                        </a:spcAft>
                        <a:buFont typeface="Arial" panose="020B0604020202020204" pitchFamily="34" charset="0"/>
                        <a:buNone/>
                      </a:pPr>
                      <a:r>
                        <a:rPr lang="en-US" sz="1000" b="1" err="1">
                          <a:solidFill>
                            <a:schemeClr val="tx1"/>
                          </a:solidFill>
                          <a:latin typeface="+mn-lt"/>
                        </a:rPr>
                        <a:t>WhiteSource</a:t>
                      </a:r>
                      <a:r>
                        <a:rPr lang="en-US" sz="1000" b="1">
                          <a:solidFill>
                            <a:schemeClr val="tx1"/>
                          </a:solidFill>
                          <a:latin typeface="+mn-lt"/>
                        </a:rPr>
                        <a:t> Compliance Scan</a:t>
                      </a:r>
                    </a:p>
                  </a:txBody>
                  <a:tcPr marL="68932" marR="68932" marT="68580" marB="68580" anchor="ctr">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lvl="2" algn="ctr" fontAlgn="base">
                        <a:spcAft>
                          <a:spcPct val="0"/>
                        </a:spcAft>
                      </a:pPr>
                      <a:r>
                        <a:rPr lang="en-US" sz="1050">
                          <a:latin typeface="Verdana" panose="020B0604030504040204" pitchFamily="34" charset="0"/>
                          <a:ea typeface="Verdana" panose="020B0604030504040204" pitchFamily="34" charset="0"/>
                          <a:cs typeface="Verdana" panose="020B0604030504040204" pitchFamily="34" charset="0"/>
                        </a:rPr>
                        <a:t>At least annually</a:t>
                      </a: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2" algn="ctr" fontAlgn="base">
                        <a:spcAft>
                          <a:spcPct val="0"/>
                        </a:spcAft>
                      </a:pPr>
                      <a:endParaRPr lang="en-US" sz="1050">
                        <a:latin typeface="Verdana" panose="020B0604030504040204" pitchFamily="34" charset="0"/>
                        <a:ea typeface="Verdana" panose="020B0604030504040204" pitchFamily="34" charset="0"/>
                        <a:cs typeface="Verdana" panose="020B0604030504040204" pitchFamily="34" charset="0"/>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255580"/>
                  </a:ext>
                </a:extLst>
              </a:tr>
            </a:tbl>
          </a:graphicData>
        </a:graphic>
      </p:graphicFrame>
      <p:sp>
        <p:nvSpPr>
          <p:cNvPr id="37" name="Text Placeholder 36"/>
          <p:cNvSpPr>
            <a:spLocks noGrp="1"/>
          </p:cNvSpPr>
          <p:nvPr>
            <p:ph type="body" sz="quarter" idx="23"/>
          </p:nvPr>
        </p:nvSpPr>
        <p:spPr>
          <a:xfrm>
            <a:off x="2012207" y="5260655"/>
            <a:ext cx="7629427" cy="964536"/>
          </a:xfrm>
        </p:spPr>
        <p:txBody>
          <a:bodyPr>
            <a:normAutofit fontScale="77500" lnSpcReduction="20000"/>
          </a:bodyPr>
          <a:lstStyle/>
          <a:p>
            <a:endParaRPr lang="en-GB" sz="1000"/>
          </a:p>
          <a:p>
            <a:r>
              <a:rPr lang="en-GB" sz="1000"/>
              <a:t>    Required for release type</a:t>
            </a:r>
          </a:p>
          <a:p>
            <a:endParaRPr lang="en-GB" sz="1000"/>
          </a:p>
          <a:p>
            <a:r>
              <a:rPr lang="en-GB" sz="1000"/>
              <a:t>Note: Tests should be performed based on the applicability of the system codes and configurations, as well as timing and results of prior tests, including limited-scope retest to confirm remediations.  In some cases, certain tests may not be available due to the design of the application (e.g., cannot bypass MFA, on-prem applications, etc.).</a:t>
            </a:r>
          </a:p>
          <a:p>
            <a:endParaRPr lang="en-GB" sz="1000"/>
          </a:p>
        </p:txBody>
      </p:sp>
      <p:sp>
        <p:nvSpPr>
          <p:cNvPr id="3" name="Title 2"/>
          <p:cNvSpPr>
            <a:spLocks noGrp="1"/>
          </p:cNvSpPr>
          <p:nvPr>
            <p:ph type="title"/>
          </p:nvPr>
        </p:nvSpPr>
        <p:spPr/>
        <p:txBody>
          <a:bodyPr/>
          <a:lstStyle/>
          <a:p>
            <a:r>
              <a:rPr lang="en-US" sz="2400"/>
              <a:t>Security Assessment Requirements</a:t>
            </a:r>
          </a:p>
        </p:txBody>
      </p:sp>
      <p:grpSp>
        <p:nvGrpSpPr>
          <p:cNvPr id="6" name="Group 902">
            <a:extLst>
              <a:ext uri="{FF2B5EF4-FFF2-40B4-BE49-F238E27FC236}">
                <a16:creationId xmlns:a16="http://schemas.microsoft.com/office/drawing/2014/main" id="{9A9F9D9A-AC51-4C9B-AF75-9B361185E803}"/>
              </a:ext>
            </a:extLst>
          </p:cNvPr>
          <p:cNvGrpSpPr>
            <a:grpSpLocks noChangeAspect="1"/>
          </p:cNvGrpSpPr>
          <p:nvPr/>
        </p:nvGrpSpPr>
        <p:grpSpPr bwMode="auto">
          <a:xfrm>
            <a:off x="3669606" y="1821783"/>
            <a:ext cx="367982" cy="367982"/>
            <a:chOff x="4880" y="3759"/>
            <a:chExt cx="340" cy="340"/>
          </a:xfrm>
          <a:solidFill>
            <a:schemeClr val="accent4"/>
          </a:solidFill>
        </p:grpSpPr>
        <p:sp>
          <p:nvSpPr>
            <p:cNvPr id="7" name="Freeform 903">
              <a:extLst>
                <a:ext uri="{FF2B5EF4-FFF2-40B4-BE49-F238E27FC236}">
                  <a16:creationId xmlns:a16="http://schemas.microsoft.com/office/drawing/2014/main" id="{FAB57FE7-24C0-4806-8189-BF18B2CDE61B}"/>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904">
              <a:extLst>
                <a:ext uri="{FF2B5EF4-FFF2-40B4-BE49-F238E27FC236}">
                  <a16:creationId xmlns:a16="http://schemas.microsoft.com/office/drawing/2014/main" id="{46B8CE48-7313-412D-B66E-5C8AB0703B70}"/>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 name="Group 902">
            <a:extLst>
              <a:ext uri="{FF2B5EF4-FFF2-40B4-BE49-F238E27FC236}">
                <a16:creationId xmlns:a16="http://schemas.microsoft.com/office/drawing/2014/main" id="{B3BBDCD5-C298-4FC9-BC28-03CF39F6BC6D}"/>
              </a:ext>
            </a:extLst>
          </p:cNvPr>
          <p:cNvGrpSpPr>
            <a:grpSpLocks noChangeAspect="1"/>
          </p:cNvGrpSpPr>
          <p:nvPr/>
        </p:nvGrpSpPr>
        <p:grpSpPr bwMode="auto">
          <a:xfrm>
            <a:off x="3667767" y="3425916"/>
            <a:ext cx="367982" cy="367982"/>
            <a:chOff x="4880" y="3759"/>
            <a:chExt cx="340" cy="340"/>
          </a:xfrm>
          <a:solidFill>
            <a:schemeClr val="accent4"/>
          </a:solidFill>
        </p:grpSpPr>
        <p:sp>
          <p:nvSpPr>
            <p:cNvPr id="10" name="Freeform 903">
              <a:extLst>
                <a:ext uri="{FF2B5EF4-FFF2-40B4-BE49-F238E27FC236}">
                  <a16:creationId xmlns:a16="http://schemas.microsoft.com/office/drawing/2014/main" id="{B64DF3CE-7E8C-42C9-9BE9-0378C642D4B1}"/>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04">
              <a:extLst>
                <a:ext uri="{FF2B5EF4-FFF2-40B4-BE49-F238E27FC236}">
                  <a16:creationId xmlns:a16="http://schemas.microsoft.com/office/drawing/2014/main" id="{39B27EB2-A2B9-4BB6-8310-B2BE240AC8E7}"/>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 name="Group 902">
            <a:extLst>
              <a:ext uri="{FF2B5EF4-FFF2-40B4-BE49-F238E27FC236}">
                <a16:creationId xmlns:a16="http://schemas.microsoft.com/office/drawing/2014/main" id="{5141D5FD-3EC7-4571-A2B4-AAF964CCA148}"/>
              </a:ext>
            </a:extLst>
          </p:cNvPr>
          <p:cNvGrpSpPr>
            <a:grpSpLocks noChangeAspect="1"/>
          </p:cNvGrpSpPr>
          <p:nvPr/>
        </p:nvGrpSpPr>
        <p:grpSpPr bwMode="auto">
          <a:xfrm>
            <a:off x="3665928" y="4114643"/>
            <a:ext cx="367982" cy="367982"/>
            <a:chOff x="4880" y="3759"/>
            <a:chExt cx="340" cy="340"/>
          </a:xfrm>
          <a:solidFill>
            <a:schemeClr val="accent4"/>
          </a:solidFill>
        </p:grpSpPr>
        <p:sp>
          <p:nvSpPr>
            <p:cNvPr id="13" name="Freeform 903">
              <a:extLst>
                <a:ext uri="{FF2B5EF4-FFF2-40B4-BE49-F238E27FC236}">
                  <a16:creationId xmlns:a16="http://schemas.microsoft.com/office/drawing/2014/main" id="{7053B3EF-CF92-4648-BCF6-C26958B44F5D}"/>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04">
              <a:extLst>
                <a:ext uri="{FF2B5EF4-FFF2-40B4-BE49-F238E27FC236}">
                  <a16:creationId xmlns:a16="http://schemas.microsoft.com/office/drawing/2014/main" id="{2C61FD1D-BA9B-49AF-8DF2-4A7971771DBF}"/>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 name="Group 902">
            <a:extLst>
              <a:ext uri="{FF2B5EF4-FFF2-40B4-BE49-F238E27FC236}">
                <a16:creationId xmlns:a16="http://schemas.microsoft.com/office/drawing/2014/main" id="{BB934055-F27A-4397-A06A-81091A176A11}"/>
              </a:ext>
            </a:extLst>
          </p:cNvPr>
          <p:cNvGrpSpPr>
            <a:grpSpLocks noChangeAspect="1"/>
          </p:cNvGrpSpPr>
          <p:nvPr/>
        </p:nvGrpSpPr>
        <p:grpSpPr bwMode="auto">
          <a:xfrm>
            <a:off x="3674045" y="4713053"/>
            <a:ext cx="367982" cy="367982"/>
            <a:chOff x="4880" y="3759"/>
            <a:chExt cx="340" cy="340"/>
          </a:xfrm>
          <a:solidFill>
            <a:schemeClr val="accent4"/>
          </a:solidFill>
        </p:grpSpPr>
        <p:sp>
          <p:nvSpPr>
            <p:cNvPr id="16" name="Freeform 903">
              <a:extLst>
                <a:ext uri="{FF2B5EF4-FFF2-40B4-BE49-F238E27FC236}">
                  <a16:creationId xmlns:a16="http://schemas.microsoft.com/office/drawing/2014/main" id="{200DAB2A-C4BC-47EB-9251-D80F1CF4DAF8}"/>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904">
              <a:extLst>
                <a:ext uri="{FF2B5EF4-FFF2-40B4-BE49-F238E27FC236}">
                  <a16:creationId xmlns:a16="http://schemas.microsoft.com/office/drawing/2014/main" id="{09351A0B-B570-4D74-9826-419A12CD8A52}"/>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Group 902">
            <a:extLst>
              <a:ext uri="{FF2B5EF4-FFF2-40B4-BE49-F238E27FC236}">
                <a16:creationId xmlns:a16="http://schemas.microsoft.com/office/drawing/2014/main" id="{EEC69B2B-B37E-4F9A-8A7D-CCC060D999B2}"/>
              </a:ext>
            </a:extLst>
          </p:cNvPr>
          <p:cNvGrpSpPr>
            <a:grpSpLocks noChangeAspect="1"/>
          </p:cNvGrpSpPr>
          <p:nvPr/>
        </p:nvGrpSpPr>
        <p:grpSpPr bwMode="auto">
          <a:xfrm>
            <a:off x="5190087" y="1810835"/>
            <a:ext cx="367982" cy="367982"/>
            <a:chOff x="4880" y="3759"/>
            <a:chExt cx="340" cy="340"/>
          </a:xfrm>
          <a:solidFill>
            <a:schemeClr val="accent4"/>
          </a:solidFill>
        </p:grpSpPr>
        <p:sp>
          <p:nvSpPr>
            <p:cNvPr id="20" name="Freeform 903">
              <a:extLst>
                <a:ext uri="{FF2B5EF4-FFF2-40B4-BE49-F238E27FC236}">
                  <a16:creationId xmlns:a16="http://schemas.microsoft.com/office/drawing/2014/main" id="{9ADC302A-0A05-4779-97E9-520CB5DB3045}"/>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904">
              <a:extLst>
                <a:ext uri="{FF2B5EF4-FFF2-40B4-BE49-F238E27FC236}">
                  <a16:creationId xmlns:a16="http://schemas.microsoft.com/office/drawing/2014/main" id="{302C1271-0508-4E71-A9A5-16242CFFCE8C}"/>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 name="Group 902">
            <a:extLst>
              <a:ext uri="{FF2B5EF4-FFF2-40B4-BE49-F238E27FC236}">
                <a16:creationId xmlns:a16="http://schemas.microsoft.com/office/drawing/2014/main" id="{BEE098C8-28E7-4F82-97CC-B3F95CE8003C}"/>
              </a:ext>
            </a:extLst>
          </p:cNvPr>
          <p:cNvGrpSpPr>
            <a:grpSpLocks noChangeAspect="1"/>
          </p:cNvGrpSpPr>
          <p:nvPr/>
        </p:nvGrpSpPr>
        <p:grpSpPr bwMode="auto">
          <a:xfrm>
            <a:off x="5190087" y="3425916"/>
            <a:ext cx="367982" cy="367982"/>
            <a:chOff x="4880" y="3759"/>
            <a:chExt cx="340" cy="340"/>
          </a:xfrm>
          <a:solidFill>
            <a:schemeClr val="accent4"/>
          </a:solidFill>
        </p:grpSpPr>
        <p:sp>
          <p:nvSpPr>
            <p:cNvPr id="23" name="Freeform 903">
              <a:extLst>
                <a:ext uri="{FF2B5EF4-FFF2-40B4-BE49-F238E27FC236}">
                  <a16:creationId xmlns:a16="http://schemas.microsoft.com/office/drawing/2014/main" id="{372978AD-B7EA-4342-8C67-60FEF8F3B908}"/>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904">
              <a:extLst>
                <a:ext uri="{FF2B5EF4-FFF2-40B4-BE49-F238E27FC236}">
                  <a16:creationId xmlns:a16="http://schemas.microsoft.com/office/drawing/2014/main" id="{B66EDC97-FBB2-4A82-B6A5-37CBD1452A61}"/>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 name="Group 902">
            <a:extLst>
              <a:ext uri="{FF2B5EF4-FFF2-40B4-BE49-F238E27FC236}">
                <a16:creationId xmlns:a16="http://schemas.microsoft.com/office/drawing/2014/main" id="{3868FAB9-6A60-40CA-92EB-A01EE08CFA48}"/>
              </a:ext>
            </a:extLst>
          </p:cNvPr>
          <p:cNvGrpSpPr>
            <a:grpSpLocks noChangeAspect="1"/>
          </p:cNvGrpSpPr>
          <p:nvPr/>
        </p:nvGrpSpPr>
        <p:grpSpPr bwMode="auto">
          <a:xfrm>
            <a:off x="5198204" y="4098331"/>
            <a:ext cx="367982" cy="367982"/>
            <a:chOff x="4880" y="3759"/>
            <a:chExt cx="340" cy="340"/>
          </a:xfrm>
          <a:solidFill>
            <a:schemeClr val="accent4"/>
          </a:solidFill>
        </p:grpSpPr>
        <p:sp>
          <p:nvSpPr>
            <p:cNvPr id="26" name="Freeform 903">
              <a:extLst>
                <a:ext uri="{FF2B5EF4-FFF2-40B4-BE49-F238E27FC236}">
                  <a16:creationId xmlns:a16="http://schemas.microsoft.com/office/drawing/2014/main" id="{799EB172-3407-449A-A535-535763AAADAD}"/>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04">
              <a:extLst>
                <a:ext uri="{FF2B5EF4-FFF2-40B4-BE49-F238E27FC236}">
                  <a16:creationId xmlns:a16="http://schemas.microsoft.com/office/drawing/2014/main" id="{59F7ABFC-FCDD-429E-9AE3-0BD8E8C3AEF8}"/>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Group 902">
            <a:extLst>
              <a:ext uri="{FF2B5EF4-FFF2-40B4-BE49-F238E27FC236}">
                <a16:creationId xmlns:a16="http://schemas.microsoft.com/office/drawing/2014/main" id="{1396AE57-964F-4096-9815-5CE7BCEB50E8}"/>
              </a:ext>
            </a:extLst>
          </p:cNvPr>
          <p:cNvGrpSpPr>
            <a:grpSpLocks noChangeAspect="1"/>
          </p:cNvGrpSpPr>
          <p:nvPr/>
        </p:nvGrpSpPr>
        <p:grpSpPr bwMode="auto">
          <a:xfrm>
            <a:off x="5198204" y="4713053"/>
            <a:ext cx="367982" cy="367982"/>
            <a:chOff x="4880" y="3759"/>
            <a:chExt cx="340" cy="340"/>
          </a:xfrm>
          <a:solidFill>
            <a:schemeClr val="accent4"/>
          </a:solidFill>
        </p:grpSpPr>
        <p:sp>
          <p:nvSpPr>
            <p:cNvPr id="29" name="Freeform 903">
              <a:extLst>
                <a:ext uri="{FF2B5EF4-FFF2-40B4-BE49-F238E27FC236}">
                  <a16:creationId xmlns:a16="http://schemas.microsoft.com/office/drawing/2014/main" id="{7033EC78-7D42-4631-A57C-2A21EADB60A6}"/>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904">
              <a:extLst>
                <a:ext uri="{FF2B5EF4-FFF2-40B4-BE49-F238E27FC236}">
                  <a16:creationId xmlns:a16="http://schemas.microsoft.com/office/drawing/2014/main" id="{791B25CC-3ABF-4432-A420-1A62E4030F10}"/>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902">
            <a:extLst>
              <a:ext uri="{FF2B5EF4-FFF2-40B4-BE49-F238E27FC236}">
                <a16:creationId xmlns:a16="http://schemas.microsoft.com/office/drawing/2014/main" id="{68585677-9A24-48B0-BEDD-CEC78010EE12}"/>
              </a:ext>
            </a:extLst>
          </p:cNvPr>
          <p:cNvGrpSpPr>
            <a:grpSpLocks noChangeAspect="1"/>
          </p:cNvGrpSpPr>
          <p:nvPr/>
        </p:nvGrpSpPr>
        <p:grpSpPr bwMode="auto">
          <a:xfrm>
            <a:off x="6817922" y="1810835"/>
            <a:ext cx="367982" cy="367982"/>
            <a:chOff x="4880" y="3759"/>
            <a:chExt cx="340" cy="340"/>
          </a:xfrm>
          <a:solidFill>
            <a:schemeClr val="accent4"/>
          </a:solidFill>
        </p:grpSpPr>
        <p:sp>
          <p:nvSpPr>
            <p:cNvPr id="32" name="Freeform 903">
              <a:extLst>
                <a:ext uri="{FF2B5EF4-FFF2-40B4-BE49-F238E27FC236}">
                  <a16:creationId xmlns:a16="http://schemas.microsoft.com/office/drawing/2014/main" id="{F1AC7776-9E9B-4211-AB99-F9E205375D2D}"/>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904">
              <a:extLst>
                <a:ext uri="{FF2B5EF4-FFF2-40B4-BE49-F238E27FC236}">
                  <a16:creationId xmlns:a16="http://schemas.microsoft.com/office/drawing/2014/main" id="{3EE7F9BD-4647-4FC0-9358-F7547527A550}"/>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7" name="Group 902">
            <a:extLst>
              <a:ext uri="{FF2B5EF4-FFF2-40B4-BE49-F238E27FC236}">
                <a16:creationId xmlns:a16="http://schemas.microsoft.com/office/drawing/2014/main" id="{E9F8348C-B688-4AFE-A3B1-212E9741E3A5}"/>
              </a:ext>
            </a:extLst>
          </p:cNvPr>
          <p:cNvGrpSpPr>
            <a:grpSpLocks noChangeAspect="1"/>
          </p:cNvGrpSpPr>
          <p:nvPr/>
        </p:nvGrpSpPr>
        <p:grpSpPr bwMode="auto">
          <a:xfrm>
            <a:off x="8522394" y="1821783"/>
            <a:ext cx="367982" cy="367982"/>
            <a:chOff x="4880" y="3759"/>
            <a:chExt cx="340" cy="340"/>
          </a:xfrm>
          <a:solidFill>
            <a:schemeClr val="accent4"/>
          </a:solidFill>
        </p:grpSpPr>
        <p:sp>
          <p:nvSpPr>
            <p:cNvPr id="48" name="Freeform 903">
              <a:extLst>
                <a:ext uri="{FF2B5EF4-FFF2-40B4-BE49-F238E27FC236}">
                  <a16:creationId xmlns:a16="http://schemas.microsoft.com/office/drawing/2014/main" id="{A7508C1F-38F7-4316-935E-2CDF80BEF052}"/>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904">
              <a:extLst>
                <a:ext uri="{FF2B5EF4-FFF2-40B4-BE49-F238E27FC236}">
                  <a16:creationId xmlns:a16="http://schemas.microsoft.com/office/drawing/2014/main" id="{E347C781-EFBA-4247-900B-53AE26899516}"/>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0" name="Group 902">
            <a:extLst>
              <a:ext uri="{FF2B5EF4-FFF2-40B4-BE49-F238E27FC236}">
                <a16:creationId xmlns:a16="http://schemas.microsoft.com/office/drawing/2014/main" id="{9A0AEE38-4078-4A96-88DA-1B46CEB78048}"/>
              </a:ext>
            </a:extLst>
          </p:cNvPr>
          <p:cNvGrpSpPr>
            <a:grpSpLocks noChangeAspect="1"/>
          </p:cNvGrpSpPr>
          <p:nvPr/>
        </p:nvGrpSpPr>
        <p:grpSpPr bwMode="auto">
          <a:xfrm>
            <a:off x="5198204" y="2588145"/>
            <a:ext cx="367982" cy="367982"/>
            <a:chOff x="4880" y="3759"/>
            <a:chExt cx="340" cy="340"/>
          </a:xfrm>
          <a:solidFill>
            <a:schemeClr val="accent4"/>
          </a:solidFill>
        </p:grpSpPr>
        <p:sp>
          <p:nvSpPr>
            <p:cNvPr id="51" name="Freeform 903">
              <a:extLst>
                <a:ext uri="{FF2B5EF4-FFF2-40B4-BE49-F238E27FC236}">
                  <a16:creationId xmlns:a16="http://schemas.microsoft.com/office/drawing/2014/main" id="{0D91CB1B-E989-4E30-9357-CF1F370EA205}"/>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904">
              <a:extLst>
                <a:ext uri="{FF2B5EF4-FFF2-40B4-BE49-F238E27FC236}">
                  <a16:creationId xmlns:a16="http://schemas.microsoft.com/office/drawing/2014/main" id="{27A78133-739D-4801-BC54-380E3C94EEF4}"/>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3" name="Group 902">
            <a:extLst>
              <a:ext uri="{FF2B5EF4-FFF2-40B4-BE49-F238E27FC236}">
                <a16:creationId xmlns:a16="http://schemas.microsoft.com/office/drawing/2014/main" id="{0658CE7A-675A-440B-8A39-70BAB3E664D4}"/>
              </a:ext>
            </a:extLst>
          </p:cNvPr>
          <p:cNvGrpSpPr>
            <a:grpSpLocks noChangeAspect="1"/>
          </p:cNvGrpSpPr>
          <p:nvPr/>
        </p:nvGrpSpPr>
        <p:grpSpPr bwMode="auto">
          <a:xfrm>
            <a:off x="1904936" y="5412100"/>
            <a:ext cx="214540" cy="214540"/>
            <a:chOff x="4880" y="3759"/>
            <a:chExt cx="340" cy="340"/>
          </a:xfrm>
          <a:solidFill>
            <a:schemeClr val="accent4"/>
          </a:solidFill>
        </p:grpSpPr>
        <p:sp>
          <p:nvSpPr>
            <p:cNvPr id="54" name="Freeform 903">
              <a:extLst>
                <a:ext uri="{FF2B5EF4-FFF2-40B4-BE49-F238E27FC236}">
                  <a16:creationId xmlns:a16="http://schemas.microsoft.com/office/drawing/2014/main" id="{35F8B3CA-8FBB-4E2E-8A17-A157FC994DD1}"/>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904">
              <a:extLst>
                <a:ext uri="{FF2B5EF4-FFF2-40B4-BE49-F238E27FC236}">
                  <a16:creationId xmlns:a16="http://schemas.microsoft.com/office/drawing/2014/main" id="{A4218E20-29F3-4D3B-B843-B4AB61FC5968}"/>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8670949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1657768011"/>
              </p:ext>
            </p:extLst>
          </p:nvPr>
        </p:nvGraphicFramePr>
        <p:xfrm>
          <a:off x="2105511" y="798709"/>
          <a:ext cx="8049305" cy="5170268"/>
        </p:xfrm>
        <a:graphic>
          <a:graphicData uri="http://schemas.openxmlformats.org/drawingml/2006/table">
            <a:tbl>
              <a:tblPr firstRow="1" bandRow="1">
                <a:tableStyleId>{5C22544A-7EE6-4342-B048-85BDC9FD1C3A}</a:tableStyleId>
              </a:tblPr>
              <a:tblGrid>
                <a:gridCol w="1182878">
                  <a:extLst>
                    <a:ext uri="{9D8B030D-6E8A-4147-A177-3AD203B41FA5}">
                      <a16:colId xmlns:a16="http://schemas.microsoft.com/office/drawing/2014/main" val="20000"/>
                    </a:ext>
                  </a:extLst>
                </a:gridCol>
                <a:gridCol w="1595923">
                  <a:extLst>
                    <a:ext uri="{9D8B030D-6E8A-4147-A177-3AD203B41FA5}">
                      <a16:colId xmlns:a16="http://schemas.microsoft.com/office/drawing/2014/main" val="20001"/>
                    </a:ext>
                  </a:extLst>
                </a:gridCol>
                <a:gridCol w="1035753">
                  <a:extLst>
                    <a:ext uri="{9D8B030D-6E8A-4147-A177-3AD203B41FA5}">
                      <a16:colId xmlns:a16="http://schemas.microsoft.com/office/drawing/2014/main" val="2750703446"/>
                    </a:ext>
                  </a:extLst>
                </a:gridCol>
                <a:gridCol w="839921">
                  <a:extLst>
                    <a:ext uri="{9D8B030D-6E8A-4147-A177-3AD203B41FA5}">
                      <a16:colId xmlns:a16="http://schemas.microsoft.com/office/drawing/2014/main" val="2473322689"/>
                    </a:ext>
                  </a:extLst>
                </a:gridCol>
                <a:gridCol w="1125924">
                  <a:extLst>
                    <a:ext uri="{9D8B030D-6E8A-4147-A177-3AD203B41FA5}">
                      <a16:colId xmlns:a16="http://schemas.microsoft.com/office/drawing/2014/main" val="2568772486"/>
                    </a:ext>
                  </a:extLst>
                </a:gridCol>
                <a:gridCol w="1134453">
                  <a:extLst>
                    <a:ext uri="{9D8B030D-6E8A-4147-A177-3AD203B41FA5}">
                      <a16:colId xmlns:a16="http://schemas.microsoft.com/office/drawing/2014/main" val="2779279302"/>
                    </a:ext>
                  </a:extLst>
                </a:gridCol>
                <a:gridCol w="1134453">
                  <a:extLst>
                    <a:ext uri="{9D8B030D-6E8A-4147-A177-3AD203B41FA5}">
                      <a16:colId xmlns:a16="http://schemas.microsoft.com/office/drawing/2014/main" val="797261390"/>
                    </a:ext>
                  </a:extLst>
                </a:gridCol>
              </a:tblGrid>
              <a:tr h="357526">
                <a:tc>
                  <a:txBody>
                    <a:bodyPr/>
                    <a:lstStyle/>
                    <a:p>
                      <a:pPr marL="0" indent="0">
                        <a:lnSpc>
                          <a:spcPct val="110000"/>
                        </a:lnSpc>
                        <a:buFont typeface="Arial" panose="020B0604020202020204" pitchFamily="34" charset="0"/>
                        <a:buNone/>
                      </a:pPr>
                      <a:r>
                        <a:rPr lang="en-US" sz="1000" b="1">
                          <a:solidFill>
                            <a:schemeClr val="accent1"/>
                          </a:solidFill>
                          <a:latin typeface="+mj-lt"/>
                        </a:rPr>
                        <a:t>Assessment Type</a:t>
                      </a:r>
                    </a:p>
                  </a:txBody>
                  <a:tcPr marL="68932" marR="68932" marT="68580" marB="68580" anchor="ctr">
                    <a:lnL w="571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a:solidFill>
                            <a:schemeClr val="accent1"/>
                          </a:solidFill>
                          <a:latin typeface="+mj-lt"/>
                        </a:rPr>
                        <a:t>Requirements prior to deployment*</a:t>
                      </a:r>
                      <a:endParaRPr lang="en-GB" sz="1000" b="1">
                        <a:solidFill>
                          <a:schemeClr val="accent1"/>
                        </a:solidFill>
                        <a:latin typeface="+mj-lt"/>
                      </a:endParaRPr>
                    </a:p>
                  </a:txBody>
                  <a:tcPr marL="68932" marR="68932" marT="68580" marB="68580" anchor="ctr">
                    <a:lnL w="12700" cap="flat" cmpd="sng" algn="ctr">
                      <a:solidFill>
                        <a:schemeClr val="bg2"/>
                      </a:solidFill>
                      <a:prstDash val="solid"/>
                      <a:round/>
                      <a:headEnd type="none" w="med" len="med"/>
                      <a:tailEnd type="none" w="med" len="med"/>
                    </a:lnL>
                    <a:lnR w="38100" cap="flat" cmpd="sng" algn="ctr">
                      <a:solidFill>
                        <a:schemeClr val="accent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a:solidFill>
                            <a:schemeClr val="accent1"/>
                          </a:solidFill>
                          <a:latin typeface="+mj-lt"/>
                        </a:rPr>
                        <a:t>Critical / Very High</a:t>
                      </a:r>
                    </a:p>
                  </a:txBody>
                  <a:tcPr marL="68932" marR="68932" marT="68580" marB="68580" anchor="ctr">
                    <a:lnL w="381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a:solidFill>
                            <a:schemeClr val="accent1"/>
                          </a:solidFill>
                          <a:latin typeface="+mj-lt"/>
                        </a:rPr>
                        <a:t>High</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tabLst/>
                      </a:pPr>
                      <a:r>
                        <a:rPr lang="en-GB" sz="1000" b="1">
                          <a:solidFill>
                            <a:schemeClr val="accent1"/>
                          </a:solidFill>
                          <a:latin typeface="+mj-lt"/>
                        </a:rPr>
                        <a:t>Medium/ Moderate</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a:solidFill>
                            <a:schemeClr val="accent1"/>
                          </a:solidFill>
                          <a:latin typeface="+mj-lt"/>
                        </a:rPr>
                        <a:t>Low</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000" b="1" kern="1200">
                          <a:solidFill>
                            <a:schemeClr val="accent1"/>
                          </a:solidFill>
                          <a:latin typeface="+mn-lt"/>
                          <a:ea typeface="+mn-ea"/>
                          <a:cs typeface="+mn-cs"/>
                        </a:rPr>
                        <a:t>Minimal / Informational</a:t>
                      </a:r>
                      <a:endParaRPr lang="en-GB" sz="1000" b="1">
                        <a:solidFill>
                          <a:schemeClr val="accent1"/>
                        </a:solidFill>
                        <a:latin typeface="+mj-lt"/>
                      </a:endParaRP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618197">
                <a:tc>
                  <a:txBody>
                    <a:bodyPr/>
                    <a:lstStyle/>
                    <a:p>
                      <a:pPr marL="0" indent="0" algn="l">
                        <a:lnSpc>
                          <a:spcPct val="110000"/>
                        </a:lnSpc>
                        <a:spcBef>
                          <a:spcPts val="300"/>
                        </a:spcBef>
                        <a:spcAft>
                          <a:spcPts val="600"/>
                        </a:spcAft>
                        <a:buFont typeface="Arial" panose="020B0604020202020204" pitchFamily="34" charset="0"/>
                        <a:buNone/>
                      </a:pPr>
                      <a:r>
                        <a:rPr lang="en-US" sz="900" b="1">
                          <a:solidFill>
                            <a:schemeClr val="tx1"/>
                          </a:solidFill>
                          <a:latin typeface="+mn-lt"/>
                        </a:rPr>
                        <a:t>Static Application Security Test (SAST)</a:t>
                      </a:r>
                    </a:p>
                  </a:txBody>
                  <a:tcPr marL="68932" marR="68932" marT="68580" marB="68580" anchor="ctr">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914400" rtl="0" eaLnBrk="1" fontAlgn="base" latinLnBrk="0" hangingPunct="1">
                        <a:lnSpc>
                          <a:spcPct val="100000"/>
                        </a:lnSpc>
                        <a:spcBef>
                          <a:spcPts val="0"/>
                        </a:spcBef>
                        <a:spcAft>
                          <a:spcPct val="0"/>
                        </a:spcAft>
                        <a:buClrTx/>
                        <a:buSzTx/>
                        <a:buFontTx/>
                        <a:buNone/>
                        <a:tabLst/>
                        <a:defRPr/>
                      </a:pPr>
                      <a:r>
                        <a:rPr lang="en-US" sz="1000">
                          <a:latin typeface="Verdana" panose="020B0604030504040204" pitchFamily="34" charset="0"/>
                          <a:ea typeface="Verdana" panose="020B0604030504040204" pitchFamily="34" charset="0"/>
                          <a:cs typeface="Verdana" panose="020B0604030504040204" pitchFamily="34" charset="0"/>
                        </a:rPr>
                        <a:t>Cannot contain </a:t>
                      </a:r>
                      <a:r>
                        <a:rPr lang="en-US" sz="1000" err="1">
                          <a:latin typeface="Verdana" panose="020B0604030504040204" pitchFamily="34" charset="0"/>
                          <a:ea typeface="Verdana" panose="020B0604030504040204" pitchFamily="34" charset="0"/>
                          <a:cs typeface="Verdana" panose="020B0604030504040204" pitchFamily="34" charset="0"/>
                        </a:rPr>
                        <a:t>unremediated</a:t>
                      </a:r>
                      <a:r>
                        <a:rPr lang="en-US" sz="1000">
                          <a:latin typeface="Verdana" panose="020B0604030504040204" pitchFamily="34" charset="0"/>
                          <a:ea typeface="Verdana" panose="020B0604030504040204" pitchFamily="34" charset="0"/>
                          <a:cs typeface="Verdana" panose="020B0604030504040204" pitchFamily="34" charset="0"/>
                        </a:rPr>
                        <a:t> critical or high vulnerabilities</a:t>
                      </a:r>
                    </a:p>
                    <a:p>
                      <a:pPr marL="0" lvl="2" algn="ctr" fontAlgn="base">
                        <a:spcAft>
                          <a:spcPct val="0"/>
                        </a:spcAft>
                      </a:pPr>
                      <a:endParaRPr lang="en-US" sz="1000">
                        <a:latin typeface="Verdana" panose="020B0604030504040204" pitchFamily="34" charset="0"/>
                        <a:ea typeface="Verdana" panose="020B0604030504040204" pitchFamily="34" charset="0"/>
                        <a:cs typeface="Verdana" panose="020B0604030504040204" pitchFamily="34" charset="0"/>
                      </a:endParaRPr>
                    </a:p>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gt;90 (</a:t>
                      </a:r>
                      <a:r>
                        <a:rPr lang="en-US" sz="1000">
                          <a:highlight>
                            <a:srgbClr val="FFFF00"/>
                          </a:highlight>
                          <a:latin typeface="Verdana" panose="020B0604030504040204" pitchFamily="34" charset="0"/>
                          <a:ea typeface="Verdana" panose="020B0604030504040204" pitchFamily="34" charset="0"/>
                          <a:cs typeface="Verdana" panose="020B0604030504040204" pitchFamily="34" charset="0"/>
                        </a:rPr>
                        <a:t>Veracode</a:t>
                      </a:r>
                      <a:r>
                        <a:rPr lang="en-US" sz="1000">
                          <a:latin typeface="Verdana" panose="020B0604030504040204" pitchFamily="34" charset="0"/>
                          <a:ea typeface="Verdana" panose="020B0604030504040204" pitchFamily="34" charset="0"/>
                          <a:cs typeface="Verdana" panose="020B0604030504040204" pitchFamily="34" charset="0"/>
                        </a:rPr>
                        <a:t>)</a:t>
                      </a:r>
                    </a:p>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gt;80 (Fortify)</a:t>
                      </a: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38100" cap="flat" cmpd="sng" algn="ctr">
                      <a:solidFill>
                        <a:schemeClr val="accent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Critical</a:t>
                      </a:r>
                    </a:p>
                  </a:txBody>
                  <a:tcPr marL="68932" marR="68932" marT="68580" marB="68580" anchor="ctr">
                    <a:lnL w="381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High</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Medium</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Low</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Informational / Bad Practice</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18197">
                <a:tc>
                  <a:txBody>
                    <a:bodyPr/>
                    <a:lstStyle/>
                    <a:p>
                      <a:pPr marL="0" indent="0" algn="l">
                        <a:lnSpc>
                          <a:spcPct val="110000"/>
                        </a:lnSpc>
                        <a:spcBef>
                          <a:spcPts val="300"/>
                        </a:spcBef>
                        <a:spcAft>
                          <a:spcPts val="600"/>
                        </a:spcAft>
                        <a:buFont typeface="Arial" panose="020B0604020202020204" pitchFamily="34" charset="0"/>
                        <a:buNone/>
                      </a:pPr>
                      <a:r>
                        <a:rPr lang="en-US" sz="900" b="1">
                          <a:solidFill>
                            <a:schemeClr val="tx1"/>
                          </a:solidFill>
                          <a:latin typeface="+mn-lt"/>
                        </a:rPr>
                        <a:t>Dynamic Application Security Test (DAST)</a:t>
                      </a:r>
                    </a:p>
                  </a:txBody>
                  <a:tcPr marL="68932" marR="68932" marT="68580" marB="68580" anchor="ctr">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Cannot contain </a:t>
                      </a:r>
                      <a:r>
                        <a:rPr lang="en-US" sz="1000" err="1">
                          <a:latin typeface="Verdana" panose="020B0604030504040204" pitchFamily="34" charset="0"/>
                          <a:ea typeface="Verdana" panose="020B0604030504040204" pitchFamily="34" charset="0"/>
                          <a:cs typeface="Verdana" panose="020B0604030504040204" pitchFamily="34" charset="0"/>
                        </a:rPr>
                        <a:t>unremediated</a:t>
                      </a:r>
                      <a:r>
                        <a:rPr lang="en-US" sz="1000">
                          <a:latin typeface="Verdana" panose="020B0604030504040204" pitchFamily="34" charset="0"/>
                          <a:ea typeface="Verdana" panose="020B0604030504040204" pitchFamily="34" charset="0"/>
                          <a:cs typeface="Verdana" panose="020B0604030504040204" pitchFamily="34" charset="0"/>
                        </a:rPr>
                        <a:t> critical or high vulnerabilities</a:t>
                      </a:r>
                    </a:p>
                    <a:p>
                      <a:pPr marL="0" lvl="2" algn="ctr" fontAlgn="base">
                        <a:spcAft>
                          <a:spcPct val="0"/>
                        </a:spcAft>
                      </a:pPr>
                      <a:endParaRPr lang="en-US" sz="1000">
                        <a:latin typeface="Verdana" panose="020B0604030504040204" pitchFamily="34" charset="0"/>
                        <a:ea typeface="Verdana" panose="020B0604030504040204" pitchFamily="34" charset="0"/>
                        <a:cs typeface="Verdana" panose="020B0604030504040204" pitchFamily="34" charset="0"/>
                      </a:endParaRPr>
                    </a:p>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gt;80 (Fortify)</a:t>
                      </a:r>
                    </a:p>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gt;60% route coverage (</a:t>
                      </a:r>
                      <a:r>
                        <a:rPr lang="en-US" sz="1000">
                          <a:highlight>
                            <a:srgbClr val="FFFF00"/>
                          </a:highlight>
                          <a:latin typeface="Verdana" panose="020B0604030504040204" pitchFamily="34" charset="0"/>
                          <a:ea typeface="Verdana" panose="020B0604030504040204" pitchFamily="34" charset="0"/>
                          <a:cs typeface="Verdana" panose="020B0604030504040204" pitchFamily="34" charset="0"/>
                        </a:rPr>
                        <a:t>Contrast</a:t>
                      </a:r>
                      <a:r>
                        <a:rPr lang="en-US" sz="1000">
                          <a:latin typeface="Verdana" panose="020B0604030504040204" pitchFamily="34" charset="0"/>
                          <a:ea typeface="Verdana" panose="020B0604030504040204" pitchFamily="34" charset="0"/>
                          <a:cs typeface="Verdana" panose="020B0604030504040204" pitchFamily="34" charset="0"/>
                        </a:rPr>
                        <a:t>)</a:t>
                      </a: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38100" cap="flat" cmpd="sng" algn="ctr">
                      <a:solidFill>
                        <a:schemeClr val="accent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Critical</a:t>
                      </a:r>
                    </a:p>
                  </a:txBody>
                  <a:tcPr marL="68932" marR="68932" marT="68580" marB="68580" anchor="ctr">
                    <a:lnL w="381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High</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Medium</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Low</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Informational / Note / Bad Practice</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18197">
                <a:tc>
                  <a:txBody>
                    <a:bodyPr/>
                    <a:lstStyle/>
                    <a:p>
                      <a:pPr marL="0" indent="0" algn="l">
                        <a:lnSpc>
                          <a:spcPct val="110000"/>
                        </a:lnSpc>
                        <a:spcBef>
                          <a:spcPts val="300"/>
                        </a:spcBef>
                        <a:spcAft>
                          <a:spcPts val="600"/>
                        </a:spcAft>
                        <a:buFont typeface="Arial" panose="020B0604020202020204" pitchFamily="34" charset="0"/>
                        <a:buNone/>
                      </a:pPr>
                      <a:r>
                        <a:rPr lang="en-US" sz="900" b="1">
                          <a:latin typeface="Verdana" panose="020B0604030504040204" pitchFamily="34" charset="0"/>
                          <a:ea typeface="Verdana" panose="020B0604030504040204" pitchFamily="34" charset="0"/>
                          <a:cs typeface="Verdana" panose="020B0604030504040204" pitchFamily="34" charset="0"/>
                        </a:rPr>
                        <a:t>Penetration Application Security Test</a:t>
                      </a:r>
                      <a:endParaRPr lang="en-US" sz="900" b="1">
                        <a:solidFill>
                          <a:schemeClr val="tx1"/>
                        </a:solidFill>
                        <a:latin typeface="+mn-lt"/>
                      </a:endParaRPr>
                    </a:p>
                  </a:txBody>
                  <a:tcPr marL="68932" marR="68932" marT="68580" marB="68580" anchor="ctr">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914400" rtl="0" eaLnBrk="1" fontAlgn="base" latinLnBrk="0" hangingPunct="1">
                        <a:lnSpc>
                          <a:spcPct val="100000"/>
                        </a:lnSpc>
                        <a:spcBef>
                          <a:spcPts val="0"/>
                        </a:spcBef>
                        <a:spcAft>
                          <a:spcPct val="0"/>
                        </a:spcAft>
                        <a:buClrTx/>
                        <a:buSzTx/>
                        <a:buFontTx/>
                        <a:buNone/>
                        <a:tabLst/>
                        <a:defRPr/>
                      </a:pPr>
                      <a:r>
                        <a:rPr lang="en-US" sz="1000">
                          <a:latin typeface="Verdana" panose="020B0604030504040204" pitchFamily="34" charset="0"/>
                          <a:ea typeface="Verdana" panose="020B0604030504040204" pitchFamily="34" charset="0"/>
                          <a:cs typeface="Verdana" panose="020B0604030504040204" pitchFamily="34" charset="0"/>
                        </a:rPr>
                        <a:t>Cannot contain unremediated critical or high vulnerabilities</a:t>
                      </a: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38100" cap="flat" cmpd="sng" algn="ctr">
                      <a:solidFill>
                        <a:schemeClr val="accent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Very High / Critical</a:t>
                      </a:r>
                    </a:p>
                  </a:txBody>
                  <a:tcPr marL="68932" marR="68932" marT="68580" marB="68580" anchor="ctr">
                    <a:lnL w="381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High</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Medium</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Low</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Informational</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18197">
                <a:tc>
                  <a:txBody>
                    <a:bodyPr/>
                    <a:lstStyle/>
                    <a:p>
                      <a:pPr marL="0" indent="0" algn="l">
                        <a:lnSpc>
                          <a:spcPct val="110000"/>
                        </a:lnSpc>
                        <a:spcBef>
                          <a:spcPts val="300"/>
                        </a:spcBef>
                        <a:spcAft>
                          <a:spcPts val="600"/>
                        </a:spcAft>
                        <a:buFont typeface="Arial" panose="020B0604020202020204" pitchFamily="34" charset="0"/>
                        <a:buNone/>
                      </a:pPr>
                      <a:r>
                        <a:rPr lang="en-US" sz="900" b="1">
                          <a:solidFill>
                            <a:schemeClr val="tx1"/>
                          </a:solidFill>
                          <a:latin typeface="+mn-lt"/>
                        </a:rPr>
                        <a:t>Network Vulnerability Test</a:t>
                      </a:r>
                    </a:p>
                  </a:txBody>
                  <a:tcPr marL="68932" marR="68932" marT="68580" marB="68580" anchor="ctr">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Cannot contain vulnerabilities with score of 5 or 4</a:t>
                      </a: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38100" cap="flat" cmpd="sng" algn="ctr">
                      <a:solidFill>
                        <a:schemeClr val="accent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5 Rating</a:t>
                      </a:r>
                    </a:p>
                  </a:txBody>
                  <a:tcPr marL="68932" marR="68932" marT="68580" marB="68580" anchor="ctr">
                    <a:lnL w="381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4 Rating</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3 Rating</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2 Rating</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1 Rating</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9648965"/>
                  </a:ext>
                </a:extLst>
              </a:tr>
              <a:tr h="618197">
                <a:tc>
                  <a:txBody>
                    <a:bodyPr/>
                    <a:lstStyle/>
                    <a:p>
                      <a:pPr marL="0" indent="0" algn="l">
                        <a:lnSpc>
                          <a:spcPct val="110000"/>
                        </a:lnSpc>
                        <a:spcBef>
                          <a:spcPts val="300"/>
                        </a:spcBef>
                        <a:spcAft>
                          <a:spcPts val="600"/>
                        </a:spcAft>
                        <a:buFont typeface="Arial" panose="020B0604020202020204" pitchFamily="34" charset="0"/>
                        <a:buNone/>
                      </a:pPr>
                      <a:r>
                        <a:rPr lang="en-US" sz="900" b="1">
                          <a:solidFill>
                            <a:schemeClr val="tx1"/>
                          </a:solidFill>
                          <a:latin typeface="+mn-lt"/>
                        </a:rPr>
                        <a:t>SSL Test</a:t>
                      </a:r>
                    </a:p>
                  </a:txBody>
                  <a:tcPr marL="68932" marR="68932" marT="68580" marB="68580" anchor="ctr">
                    <a:lnL w="57150" cap="flat" cmpd="sng" algn="ctr">
                      <a:no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6350" cap="flat" cmpd="sng" algn="ctr">
                      <a:solidFill>
                        <a:srgbClr val="BBBCBC"/>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Score of A or above</a:t>
                      </a: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38100" cap="flat" cmpd="sng" algn="ctr">
                      <a:solidFill>
                        <a:schemeClr val="accent1"/>
                      </a:solidFill>
                      <a:prstDash val="solid"/>
                      <a:round/>
                      <a:headEnd type="none" w="med" len="med"/>
                      <a:tailEnd type="none" w="med" len="med"/>
                    </a:lnR>
                    <a:lnT w="6350" cap="flat" cmpd="sng" algn="ctr">
                      <a:solidFill>
                        <a:srgbClr val="BBBCBC"/>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N/A</a:t>
                      </a:r>
                    </a:p>
                  </a:txBody>
                  <a:tcPr marL="68932" marR="68932" marT="68580" marB="68580" anchor="ctr">
                    <a:lnL w="381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N/A</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N/A</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N/A</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00">
                          <a:latin typeface="Verdana" panose="020B0604030504040204" pitchFamily="34" charset="0"/>
                          <a:ea typeface="Verdana" panose="020B0604030504040204" pitchFamily="34" charset="0"/>
                          <a:cs typeface="Verdana" panose="020B0604030504040204" pitchFamily="34" charset="0"/>
                        </a:rPr>
                        <a:t>N/A</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BBBCBC"/>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18197">
                <a:tc gridSpan="2">
                  <a:txBody>
                    <a:bodyPr/>
                    <a:lstStyle/>
                    <a:p>
                      <a:pPr algn="ctr"/>
                      <a:r>
                        <a:rPr lang="en-GB" sz="1000" b="1" kern="1200">
                          <a:solidFill>
                            <a:schemeClr val="accent1"/>
                          </a:solidFill>
                          <a:latin typeface="+mn-lt"/>
                          <a:ea typeface="+mn-ea"/>
                          <a:cs typeface="+mn-cs"/>
                        </a:rPr>
                        <a:t>Remediation Timing (Calendar Days)</a:t>
                      </a:r>
                    </a:p>
                  </a:txBody>
                  <a:tcPr marL="68932" marR="68932" marT="68580" marB="68580" anchor="ctr">
                    <a:lnL w="57150" cap="flat" cmpd="sng" algn="ctr">
                      <a:noFill/>
                      <a:prstDash val="solid"/>
                      <a:round/>
                      <a:headEnd type="none" w="med" len="med"/>
                      <a:tailEnd type="none" w="med" len="med"/>
                    </a:lnL>
                    <a:lnR w="38100" cap="flat" cmpd="sng" algn="ctr">
                      <a:solidFill>
                        <a:schemeClr val="accent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000" b="1">
                        <a:solidFill>
                          <a:schemeClr val="accent1"/>
                        </a:solidFill>
                        <a:latin typeface="+mj-lt"/>
                      </a:endParaRPr>
                    </a:p>
                  </a:txBody>
                  <a:tcPr marL="68932" marR="68932" marT="68580" marB="68580" anchor="ctr">
                    <a:lnL w="12700" cap="flat" cmpd="sng" algn="ctr">
                      <a:solidFill>
                        <a:schemeClr val="accent6">
                          <a:lumMod val="20000"/>
                          <a:lumOff val="80000"/>
                        </a:schemeClr>
                      </a:solidFill>
                      <a:prstDash val="solid"/>
                      <a:round/>
                      <a:headEnd type="none" w="med" len="med"/>
                      <a:tailEnd type="none" w="med" len="med"/>
                    </a:lnL>
                    <a:lnR w="38100" cap="flat" cmpd="sng" algn="ctr">
                      <a:solidFill>
                        <a:schemeClr val="accent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50">
                          <a:solidFill>
                            <a:schemeClr val="accent3"/>
                          </a:solidFill>
                          <a:latin typeface="Verdana" panose="020B0604030504040204" pitchFamily="34" charset="0"/>
                          <a:ea typeface="Verdana" panose="020B0604030504040204" pitchFamily="34" charset="0"/>
                          <a:cs typeface="Verdana" panose="020B0604030504040204" pitchFamily="34" charset="0"/>
                        </a:rPr>
                        <a:t>5 (US)^</a:t>
                      </a:r>
                    </a:p>
                    <a:p>
                      <a:pPr marL="0" lvl="2" algn="ctr" fontAlgn="base">
                        <a:spcAft>
                          <a:spcPct val="0"/>
                        </a:spcAft>
                      </a:pPr>
                      <a:r>
                        <a:rPr lang="en-US" sz="1050">
                          <a:solidFill>
                            <a:schemeClr val="accent3"/>
                          </a:solidFill>
                          <a:latin typeface="Verdana" panose="020B0604030504040204" pitchFamily="34" charset="0"/>
                          <a:ea typeface="Verdana" panose="020B0604030504040204" pitchFamily="34" charset="0"/>
                          <a:cs typeface="Verdana" panose="020B0604030504040204" pitchFamily="34" charset="0"/>
                        </a:rPr>
                        <a:t>9 (Global)^^</a:t>
                      </a:r>
                    </a:p>
                  </a:txBody>
                  <a:tcPr marL="68932" marR="68932" marT="68580" marB="68580" anchor="ctr">
                    <a:lnL w="381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50">
                          <a:solidFill>
                            <a:schemeClr val="accent3"/>
                          </a:solidFill>
                          <a:latin typeface="Verdana" panose="020B0604030504040204" pitchFamily="34" charset="0"/>
                          <a:ea typeface="Verdana" panose="020B0604030504040204" pitchFamily="34" charset="0"/>
                          <a:cs typeface="Verdana" panose="020B0604030504040204" pitchFamily="34" charset="0"/>
                        </a:rPr>
                        <a:t>10 (US)</a:t>
                      </a:r>
                    </a:p>
                    <a:p>
                      <a:pPr marL="0" lvl="2" algn="ctr" fontAlgn="base">
                        <a:spcAft>
                          <a:spcPct val="0"/>
                        </a:spcAft>
                      </a:pPr>
                      <a:r>
                        <a:rPr lang="en-US" sz="1050">
                          <a:solidFill>
                            <a:schemeClr val="accent3"/>
                          </a:solidFill>
                          <a:latin typeface="Verdana" panose="020B0604030504040204" pitchFamily="34" charset="0"/>
                          <a:ea typeface="Verdana" panose="020B0604030504040204" pitchFamily="34" charset="0"/>
                          <a:cs typeface="Verdana" panose="020B0604030504040204" pitchFamily="34" charset="0"/>
                        </a:rPr>
                        <a:t>29 (Global)</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50">
                          <a:solidFill>
                            <a:schemeClr val="accent3"/>
                          </a:solidFill>
                          <a:latin typeface="Verdana" panose="020B0604030504040204" pitchFamily="34" charset="0"/>
                          <a:ea typeface="Verdana" panose="020B0604030504040204" pitchFamily="34" charset="0"/>
                          <a:cs typeface="Verdana" panose="020B0604030504040204" pitchFamily="34" charset="0"/>
                        </a:rPr>
                        <a:t>30 (US)</a:t>
                      </a:r>
                    </a:p>
                    <a:p>
                      <a:pPr marL="0" lvl="2" algn="ctr" fontAlgn="base">
                        <a:spcAft>
                          <a:spcPct val="0"/>
                        </a:spcAft>
                      </a:pPr>
                      <a:r>
                        <a:rPr lang="en-US" sz="1050">
                          <a:solidFill>
                            <a:schemeClr val="accent3"/>
                          </a:solidFill>
                          <a:latin typeface="Verdana" panose="020B0604030504040204" pitchFamily="34" charset="0"/>
                          <a:ea typeface="Verdana" panose="020B0604030504040204" pitchFamily="34" charset="0"/>
                          <a:cs typeface="Verdana" panose="020B0604030504040204" pitchFamily="34" charset="0"/>
                        </a:rPr>
                        <a:t>53 (Global)</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50">
                          <a:solidFill>
                            <a:schemeClr val="accent3"/>
                          </a:solidFill>
                          <a:latin typeface="Verdana" panose="020B0604030504040204" pitchFamily="34" charset="0"/>
                          <a:ea typeface="Verdana" panose="020B0604030504040204" pitchFamily="34" charset="0"/>
                          <a:cs typeface="Verdana" panose="020B0604030504040204" pitchFamily="34" charset="0"/>
                        </a:rPr>
                        <a:t>60 (US)</a:t>
                      </a:r>
                    </a:p>
                    <a:p>
                      <a:pPr marL="0" lvl="2" algn="ctr" fontAlgn="base">
                        <a:spcAft>
                          <a:spcPct val="0"/>
                        </a:spcAft>
                      </a:pPr>
                      <a:r>
                        <a:rPr lang="en-US" sz="1050">
                          <a:solidFill>
                            <a:schemeClr val="accent3"/>
                          </a:solidFill>
                          <a:latin typeface="Verdana" panose="020B0604030504040204" pitchFamily="34" charset="0"/>
                          <a:ea typeface="Verdana" panose="020B0604030504040204" pitchFamily="34" charset="0"/>
                          <a:cs typeface="Verdana" panose="020B0604030504040204" pitchFamily="34" charset="0"/>
                        </a:rPr>
                        <a:t>83 (Global)</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2" algn="ctr" fontAlgn="base">
                        <a:spcAft>
                          <a:spcPct val="0"/>
                        </a:spcAft>
                      </a:pPr>
                      <a:r>
                        <a:rPr lang="en-US" sz="1050">
                          <a:solidFill>
                            <a:schemeClr val="accent3"/>
                          </a:solidFill>
                          <a:latin typeface="Verdana" panose="020B0604030504040204" pitchFamily="34" charset="0"/>
                          <a:ea typeface="Verdana" panose="020B0604030504040204" pitchFamily="34" charset="0"/>
                          <a:cs typeface="Verdana" panose="020B0604030504040204" pitchFamily="34" charset="0"/>
                        </a:rPr>
                        <a:t>N/A</a:t>
                      </a:r>
                    </a:p>
                  </a:txBody>
                  <a:tcPr marL="68932" marR="68932" marT="68580" marB="6858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2671125"/>
                  </a:ext>
                </a:extLst>
              </a:tr>
            </a:tbl>
          </a:graphicData>
        </a:graphic>
      </p:graphicFrame>
      <p:sp>
        <p:nvSpPr>
          <p:cNvPr id="3" name="Title 2"/>
          <p:cNvSpPr>
            <a:spLocks noGrp="1"/>
          </p:cNvSpPr>
          <p:nvPr>
            <p:ph type="title"/>
          </p:nvPr>
        </p:nvSpPr>
        <p:spPr/>
        <p:txBody>
          <a:bodyPr/>
          <a:lstStyle/>
          <a:p>
            <a:r>
              <a:rPr lang="en-US" sz="2400"/>
              <a:t>Security Assessments Results and Remediation</a:t>
            </a:r>
          </a:p>
        </p:txBody>
      </p:sp>
      <p:sp>
        <p:nvSpPr>
          <p:cNvPr id="4" name="Text Placeholder 3">
            <a:extLst>
              <a:ext uri="{FF2B5EF4-FFF2-40B4-BE49-F238E27FC236}">
                <a16:creationId xmlns:a16="http://schemas.microsoft.com/office/drawing/2014/main" id="{A47FAC5B-ABD6-44AA-924B-71A88DAC7D51}"/>
              </a:ext>
            </a:extLst>
          </p:cNvPr>
          <p:cNvSpPr>
            <a:spLocks noGrp="1"/>
          </p:cNvSpPr>
          <p:nvPr>
            <p:ph type="body" sz="quarter" idx="23"/>
          </p:nvPr>
        </p:nvSpPr>
        <p:spPr>
          <a:xfrm>
            <a:off x="2105511" y="6014913"/>
            <a:ext cx="8391525" cy="260737"/>
          </a:xfrm>
        </p:spPr>
        <p:txBody>
          <a:bodyPr/>
          <a:lstStyle/>
          <a:p>
            <a:r>
              <a:rPr lang="en-US" sz="900"/>
              <a:t>*Exceptions to the requirements must be approved by Audit &amp; Assurance BISO Leadership</a:t>
            </a:r>
          </a:p>
          <a:p>
            <a:r>
              <a:rPr lang="en-US" sz="900"/>
              <a:t>^ US applications are defined as hosted within the US infrastructure</a:t>
            </a:r>
          </a:p>
          <a:p>
            <a:r>
              <a:rPr lang="en-US" sz="900"/>
              <a:t>^^ Global applications are defined as systems hosted outside of the US infrastructure</a:t>
            </a:r>
          </a:p>
        </p:txBody>
      </p:sp>
    </p:spTree>
    <p:extLst>
      <p:ext uri="{BB962C8B-B14F-4D97-AF65-F5344CB8AC3E}">
        <p14:creationId xmlns:p14="http://schemas.microsoft.com/office/powerpoint/2010/main" val="79312042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8096" y="916946"/>
            <a:ext cx="5278632" cy="5278632"/>
          </a:xfrm>
          <a:prstGeom prst="rect">
            <a:avLst/>
          </a:prstGeom>
        </p:spPr>
      </p:pic>
      <p:sp>
        <p:nvSpPr>
          <p:cNvPr id="4" name="TextBox 3">
            <a:extLst>
              <a:ext uri="{FF2B5EF4-FFF2-40B4-BE49-F238E27FC236}">
                <a16:creationId xmlns:a16="http://schemas.microsoft.com/office/drawing/2014/main" id="{7A9DFF01-0B03-48E4-B42D-F011C5ECF119}"/>
              </a:ext>
            </a:extLst>
          </p:cNvPr>
          <p:cNvSpPr txBox="1"/>
          <p:nvPr/>
        </p:nvSpPr>
        <p:spPr>
          <a:xfrm>
            <a:off x="5883128" y="2783290"/>
            <a:ext cx="4592522" cy="400110"/>
          </a:xfrm>
          <a:prstGeom prst="rect">
            <a:avLst/>
          </a:prstGeom>
          <a:noFill/>
        </p:spPr>
        <p:txBody>
          <a:bodyPr wrap="square" rtlCol="0" anchor="t">
            <a:spAutoFit/>
          </a:bodyPr>
          <a:lstStyle/>
          <a:p>
            <a:r>
              <a:rPr lang="en-US" sz="2000" b="1">
                <a:latin typeface="Open Sans"/>
                <a:ea typeface="Open Sans" panose="020B0606030504020204" pitchFamily="34" charset="0"/>
                <a:cs typeface="Open Sans" panose="020B0606030504020204" pitchFamily="34" charset="0"/>
              </a:rPr>
              <a:t>PI5 Retro Items</a:t>
            </a:r>
            <a:endParaRPr lang="en-US" sz="2000" b="1">
              <a:solidFill>
                <a:schemeClr val="bg1">
                  <a:lumMod val="50000"/>
                </a:schemeClr>
              </a:solidFill>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8962169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2AAAC88F-F4B4-4FE3-956E-C3F806D71324}"/>
              </a:ext>
            </a:extLst>
          </p:cNvPr>
          <p:cNvGraphicFramePr>
            <a:graphicFrameLocks noGrp="1"/>
          </p:cNvGraphicFramePr>
          <p:nvPr>
            <p:ph idx="1"/>
            <p:extLst>
              <p:ext uri="{D42A27DB-BD31-4B8C-83A1-F6EECF244321}">
                <p14:modId xmlns:p14="http://schemas.microsoft.com/office/powerpoint/2010/main" val="1313838800"/>
              </p:ext>
            </p:extLst>
          </p:nvPr>
        </p:nvGraphicFramePr>
        <p:xfrm>
          <a:off x="381413" y="750950"/>
          <a:ext cx="11430000" cy="4716342"/>
        </p:xfrm>
        <a:graphic>
          <a:graphicData uri="http://schemas.openxmlformats.org/drawingml/2006/table">
            <a:tbl>
              <a:tblPr firstRow="1" bandRow="1">
                <a:tableStyleId>{5C22544A-7EE6-4342-B048-85BDC9FD1C3A}</a:tableStyleId>
              </a:tblPr>
              <a:tblGrid>
                <a:gridCol w="1125204">
                  <a:extLst>
                    <a:ext uri="{9D8B030D-6E8A-4147-A177-3AD203B41FA5}">
                      <a16:colId xmlns:a16="http://schemas.microsoft.com/office/drawing/2014/main" val="861965633"/>
                    </a:ext>
                  </a:extLst>
                </a:gridCol>
                <a:gridCol w="1089932">
                  <a:extLst>
                    <a:ext uri="{9D8B030D-6E8A-4147-A177-3AD203B41FA5}">
                      <a16:colId xmlns:a16="http://schemas.microsoft.com/office/drawing/2014/main" val="3567108516"/>
                    </a:ext>
                  </a:extLst>
                </a:gridCol>
                <a:gridCol w="1181457">
                  <a:extLst>
                    <a:ext uri="{9D8B030D-6E8A-4147-A177-3AD203B41FA5}">
                      <a16:colId xmlns:a16="http://schemas.microsoft.com/office/drawing/2014/main" val="1013084987"/>
                    </a:ext>
                  </a:extLst>
                </a:gridCol>
                <a:gridCol w="1034480">
                  <a:extLst>
                    <a:ext uri="{9D8B030D-6E8A-4147-A177-3AD203B41FA5}">
                      <a16:colId xmlns:a16="http://schemas.microsoft.com/office/drawing/2014/main" val="2846602792"/>
                    </a:ext>
                  </a:extLst>
                </a:gridCol>
                <a:gridCol w="3785245">
                  <a:extLst>
                    <a:ext uri="{9D8B030D-6E8A-4147-A177-3AD203B41FA5}">
                      <a16:colId xmlns:a16="http://schemas.microsoft.com/office/drawing/2014/main" val="2777513450"/>
                    </a:ext>
                  </a:extLst>
                </a:gridCol>
                <a:gridCol w="1477433">
                  <a:extLst>
                    <a:ext uri="{9D8B030D-6E8A-4147-A177-3AD203B41FA5}">
                      <a16:colId xmlns:a16="http://schemas.microsoft.com/office/drawing/2014/main" val="2140803698"/>
                    </a:ext>
                  </a:extLst>
                </a:gridCol>
                <a:gridCol w="1736249">
                  <a:extLst>
                    <a:ext uri="{9D8B030D-6E8A-4147-A177-3AD203B41FA5}">
                      <a16:colId xmlns:a16="http://schemas.microsoft.com/office/drawing/2014/main" val="2356713016"/>
                    </a:ext>
                  </a:extLst>
                </a:gridCol>
              </a:tblGrid>
              <a:tr h="600922">
                <a:tc>
                  <a:txBody>
                    <a:bodyPr/>
                    <a:lstStyle/>
                    <a:p>
                      <a:pPr algn="ctr" fontAlgn="b"/>
                      <a:r>
                        <a:rPr lang="en-US" sz="1400" u="none" strike="noStrike">
                          <a:solidFill>
                            <a:schemeClr val="tx1">
                              <a:lumMod val="85000"/>
                              <a:lumOff val="15000"/>
                            </a:schemeClr>
                          </a:solidFill>
                          <a:effectLst/>
                          <a:latin typeface="Open Sans"/>
                          <a:ea typeface="Open Sans"/>
                          <a:cs typeface="Open Sans"/>
                        </a:rPr>
                        <a:t>Start</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Finish</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USI Start</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USI Finish</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l" fontAlgn="b"/>
                      <a:r>
                        <a:rPr lang="en-US" sz="1400" u="none" strike="noStrike">
                          <a:solidFill>
                            <a:schemeClr val="tx1">
                              <a:lumMod val="85000"/>
                              <a:lumOff val="15000"/>
                            </a:schemeClr>
                          </a:solidFill>
                          <a:effectLst/>
                          <a:latin typeface="Open Sans"/>
                          <a:ea typeface="Open Sans"/>
                          <a:cs typeface="Open Sans"/>
                        </a:rPr>
                        <a:t>Agenda Item</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u="none" strike="noStrike">
                          <a:solidFill>
                            <a:schemeClr val="tx1">
                              <a:lumMod val="85000"/>
                              <a:lumOff val="15000"/>
                            </a:schemeClr>
                          </a:solidFill>
                          <a:effectLst/>
                          <a:latin typeface="Open Sans"/>
                          <a:ea typeface="Open Sans"/>
                          <a:cs typeface="Open Sans"/>
                        </a:rPr>
                        <a:t>Duration</a:t>
                      </a:r>
                      <a:endParaRPr lang="en-US" sz="1400" b="1" i="0" u="none" strike="noStrike">
                        <a:solidFill>
                          <a:schemeClr val="tx1">
                            <a:lumMod val="85000"/>
                            <a:lumOff val="15000"/>
                          </a:schemeClr>
                        </a:solidFill>
                        <a:effectLst/>
                        <a:latin typeface="Open Sans"/>
                        <a:ea typeface="Open Sans"/>
                        <a:cs typeface="Open Sans"/>
                      </a:endParaRPr>
                    </a:p>
                  </a:txBody>
                  <a:tcPr marL="125783" marR="75470" marT="75470" marB="75470" anchor="b">
                    <a:solidFill>
                      <a:schemeClr val="accent1"/>
                    </a:solidFill>
                  </a:tcPr>
                </a:tc>
                <a:tc>
                  <a:txBody>
                    <a:bodyPr/>
                    <a:lstStyle/>
                    <a:p>
                      <a:pPr algn="ctr" fontAlgn="b"/>
                      <a:r>
                        <a:rPr lang="en-US" sz="1400" b="1" i="0" u="none" strike="noStrike">
                          <a:solidFill>
                            <a:schemeClr val="tx1">
                              <a:lumMod val="85000"/>
                              <a:lumOff val="15000"/>
                            </a:schemeClr>
                          </a:solidFill>
                          <a:effectLst/>
                          <a:latin typeface="Open Sans"/>
                          <a:ea typeface="Open Sans"/>
                          <a:cs typeface="Open Sans"/>
                        </a:rPr>
                        <a:t>Owner</a:t>
                      </a:r>
                    </a:p>
                  </a:txBody>
                  <a:tcPr marL="125783" marR="75470" marT="75470" marB="75470" anchor="b">
                    <a:solidFill>
                      <a:schemeClr val="accent1"/>
                    </a:solidFill>
                  </a:tcPr>
                </a:tc>
                <a:extLst>
                  <a:ext uri="{0D108BD9-81ED-4DB2-BD59-A6C34878D82A}">
                    <a16:rowId xmlns:a16="http://schemas.microsoft.com/office/drawing/2014/main" val="309002237"/>
                  </a:ext>
                </a:extLst>
              </a:tr>
              <a:tr h="340397">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2:00 AM</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2:10 PM</a:t>
                      </a:r>
                    </a:p>
                  </a:txBody>
                  <a:tcPr marL="147371" marR="88423" marT="88423" marB="88423" anchor="b">
                    <a:solidFill>
                      <a:schemeClr val="accent1">
                        <a:lumMod val="20000"/>
                        <a:lumOff val="80000"/>
                      </a:schemeClr>
                    </a:solidFill>
                  </a:tcPr>
                </a:tc>
                <a:tc>
                  <a:txBody>
                    <a:bodyPr/>
                    <a:lstStyle/>
                    <a:p>
                      <a:pPr algn="l" fontAlgn="b"/>
                      <a:r>
                        <a:rPr lang="en-US" sz="1100" b="0" i="0" u="none" strike="noStrike">
                          <a:solidFill>
                            <a:schemeClr val="tx1">
                              <a:lumMod val="85000"/>
                              <a:lumOff val="15000"/>
                            </a:schemeClr>
                          </a:solidFill>
                          <a:effectLst/>
                          <a:latin typeface="Open Sans"/>
                          <a:ea typeface="Open Sans"/>
                          <a:cs typeface="Open Sans"/>
                        </a:rPr>
                        <a:t>Planning Adjustments -USI</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0</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Padmini/Anubha</a:t>
                      </a:r>
                    </a:p>
                  </a:txBody>
                  <a:tcPr marL="147371" marR="88423" marT="88423" marB="88423" anchor="b">
                    <a:solidFill>
                      <a:schemeClr val="accent1">
                        <a:lumMod val="20000"/>
                        <a:lumOff val="80000"/>
                      </a:schemeClr>
                    </a:solidFill>
                  </a:tcPr>
                </a:tc>
                <a:extLst>
                  <a:ext uri="{0D108BD9-81ED-4DB2-BD59-A6C34878D82A}">
                    <a16:rowId xmlns:a16="http://schemas.microsoft.com/office/drawing/2014/main" val="3869885435"/>
                  </a:ext>
                </a:extLst>
              </a:tr>
              <a:tr h="357187">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2:10 PM</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30 PM</a:t>
                      </a:r>
                    </a:p>
                  </a:txBody>
                  <a:tcPr marL="147371" marR="88423" marT="88423" marB="88423" anchor="b">
                    <a:solidFill>
                      <a:schemeClr val="accent1">
                        <a:lumMod val="20000"/>
                        <a:lumOff val="80000"/>
                      </a:schemeClr>
                    </a:solidFill>
                  </a:tcPr>
                </a:tc>
                <a:tc>
                  <a:txBody>
                    <a:bodyPr/>
                    <a:lstStyle/>
                    <a:p>
                      <a:pPr algn="l" fontAlgn="b"/>
                      <a:r>
                        <a:rPr lang="en-US" sz="1100" b="0" i="0" u="none" strike="noStrike">
                          <a:solidFill>
                            <a:schemeClr val="tx1">
                              <a:lumMod val="85000"/>
                              <a:lumOff val="15000"/>
                            </a:schemeClr>
                          </a:solidFill>
                          <a:effectLst/>
                          <a:latin typeface="Open Sans"/>
                          <a:ea typeface="Open Sans"/>
                          <a:cs typeface="Open Sans"/>
                        </a:rPr>
                        <a:t>Team Breakouts </a:t>
                      </a:r>
                      <a:r>
                        <a:rPr lang="en-US" sz="1100" b="0" i="0" u="none" strike="noStrike" noProof="0">
                          <a:solidFill>
                            <a:schemeClr val="tx1">
                              <a:lumMod val="85000"/>
                              <a:lumOff val="15000"/>
                            </a:schemeClr>
                          </a:solidFill>
                          <a:effectLst/>
                          <a:latin typeface="Open Sans"/>
                          <a:ea typeface="Open Sans"/>
                          <a:cs typeface="Open Sans"/>
                        </a:rPr>
                        <a:t>– Day 2 for USI </a:t>
                      </a:r>
                      <a:r>
                        <a:rPr lang="en-US" sz="1100" b="0" i="0" u="none" strike="noStrike" noProof="0">
                          <a:solidFill>
                            <a:schemeClr val="tx1">
                              <a:lumMod val="85000"/>
                              <a:lumOff val="15000"/>
                            </a:schemeClr>
                          </a:solidFill>
                          <a:effectLst/>
                          <a:latin typeface="Open Sans"/>
                        </a:rPr>
                        <a:t>{Autocrats, Technokats, Data Dynamics, </a:t>
                      </a:r>
                      <a:r>
                        <a:rPr lang="en-US" sz="1100" b="0" i="0" u="none" strike="noStrike" noProof="0">
                          <a:effectLst/>
                          <a:latin typeface="Open Sans"/>
                        </a:rPr>
                        <a:t>Content Fosters</a:t>
                      </a:r>
                      <a:r>
                        <a:rPr lang="en-US" sz="1100" b="0" i="0" u="none" strike="noStrike" noProof="0">
                          <a:solidFill>
                            <a:schemeClr val="tx1">
                              <a:lumMod val="85000"/>
                              <a:lumOff val="15000"/>
                            </a:schemeClr>
                          </a:solidFill>
                          <a:effectLst/>
                          <a:latin typeface="Open Sans"/>
                        </a:rPr>
                        <a:t>, Bahamas, Jamaica, Amigos, Falcon Heavy, Saturn V)</a:t>
                      </a:r>
                      <a:endParaRPr lang="en-US" sz="1100" b="0" i="0" u="none" strike="noStrike">
                        <a:solidFill>
                          <a:schemeClr val="tx1">
                            <a:lumMod val="85000"/>
                            <a:lumOff val="15000"/>
                          </a:schemeClr>
                        </a:solidFill>
                        <a:effectLst/>
                        <a:latin typeface="Open Sans"/>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80</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Teams</a:t>
                      </a:r>
                    </a:p>
                  </a:txBody>
                  <a:tcPr marL="147371" marR="88423" marT="88423" marB="88423" anchor="b">
                    <a:solidFill>
                      <a:schemeClr val="accent1">
                        <a:lumMod val="20000"/>
                        <a:lumOff val="80000"/>
                      </a:schemeClr>
                    </a:solidFill>
                  </a:tcPr>
                </a:tc>
                <a:extLst>
                  <a:ext uri="{0D108BD9-81ED-4DB2-BD59-A6C34878D82A}">
                    <a16:rowId xmlns:a16="http://schemas.microsoft.com/office/drawing/2014/main" val="2166726968"/>
                  </a:ext>
                </a:extLst>
              </a:tr>
              <a:tr h="340397">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30 PM</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2:30 PM</a:t>
                      </a:r>
                    </a:p>
                  </a:txBody>
                  <a:tcPr marL="147371" marR="88423" marT="88423" marB="88423" anchor="b">
                    <a:solidFill>
                      <a:schemeClr val="accent1">
                        <a:lumMod val="20000"/>
                        <a:lumOff val="80000"/>
                      </a:schemeClr>
                    </a:solidFill>
                  </a:tcPr>
                </a:tc>
                <a:tc>
                  <a:txBody>
                    <a:bodyPr/>
                    <a:lstStyle/>
                    <a:p>
                      <a:pPr algn="l" fontAlgn="b"/>
                      <a:r>
                        <a:rPr lang="en-US" sz="1100" b="0" i="0" u="none" strike="noStrike">
                          <a:solidFill>
                            <a:schemeClr val="tx1">
                              <a:lumMod val="85000"/>
                              <a:lumOff val="15000"/>
                            </a:schemeClr>
                          </a:solidFill>
                          <a:effectLst/>
                          <a:latin typeface="Open Sans"/>
                          <a:ea typeface="Open Sans"/>
                          <a:cs typeface="Open Sans"/>
                        </a:rPr>
                        <a:t>Lunch</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60</a:t>
                      </a:r>
                    </a:p>
                  </a:txBody>
                  <a:tcPr marL="147371" marR="88423" marT="88423" marB="88423" anchor="b">
                    <a:solidFill>
                      <a:schemeClr val="accent1">
                        <a:lumMod val="20000"/>
                        <a:lumOff val="80000"/>
                      </a:schemeClr>
                    </a:solidFill>
                  </a:tcPr>
                </a:tc>
                <a:tc>
                  <a:txBody>
                    <a:bodyPr/>
                    <a:lstStyle/>
                    <a:p>
                      <a:pPr lvl="0" algn="ctr">
                        <a:buNone/>
                      </a:pPr>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extLst>
                  <a:ext uri="{0D108BD9-81ED-4DB2-BD59-A6C34878D82A}">
                    <a16:rowId xmlns:a16="http://schemas.microsoft.com/office/drawing/2014/main" val="3076188913"/>
                  </a:ext>
                </a:extLst>
              </a:tr>
              <a:tr h="357187">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algn="ctr" fontAlgn="b"/>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2:30 PM</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4:30 PM</a:t>
                      </a:r>
                    </a:p>
                  </a:txBody>
                  <a:tcPr marL="147371" marR="88423" marT="88423" marB="88423" anchor="b">
                    <a:solidFill>
                      <a:schemeClr val="accent1">
                        <a:lumMod val="20000"/>
                        <a:lumOff val="80000"/>
                      </a:schemeClr>
                    </a:solidFill>
                  </a:tcPr>
                </a:tc>
                <a:tc>
                  <a:txBody>
                    <a:bodyPr/>
                    <a:lstStyle/>
                    <a:p>
                      <a:pPr algn="l" fontAlgn="b"/>
                      <a:r>
                        <a:rPr lang="en-US" sz="1100" b="0" i="0" u="none" strike="noStrike">
                          <a:solidFill>
                            <a:schemeClr val="tx1">
                              <a:lumMod val="85000"/>
                              <a:lumOff val="15000"/>
                            </a:schemeClr>
                          </a:solidFill>
                          <a:effectLst/>
                          <a:latin typeface="Open Sans"/>
                          <a:ea typeface="Open Sans"/>
                          <a:cs typeface="Open Sans"/>
                        </a:rPr>
                        <a:t>Team Breakouts – Day 2 for USI </a:t>
                      </a:r>
                      <a:r>
                        <a:rPr lang="en-US" sz="1100" b="0" i="0" u="none" strike="noStrike" noProof="0">
                          <a:solidFill>
                            <a:schemeClr val="tx1">
                              <a:lumMod val="85000"/>
                              <a:lumOff val="15000"/>
                            </a:schemeClr>
                          </a:solidFill>
                          <a:effectLst/>
                          <a:latin typeface="Open Sans"/>
                        </a:rPr>
                        <a:t>{Autocrats, Technokats, Data Dynamics, </a:t>
                      </a:r>
                      <a:r>
                        <a:rPr lang="en-US" sz="1100" b="0" i="0" u="none" strike="noStrike" noProof="0">
                          <a:effectLst/>
                          <a:latin typeface="Open Sans"/>
                        </a:rPr>
                        <a:t>Content Fosters</a:t>
                      </a:r>
                      <a:r>
                        <a:rPr lang="en-US" sz="1100" b="0" i="0" u="none" strike="noStrike" noProof="0">
                          <a:solidFill>
                            <a:schemeClr val="tx1">
                              <a:lumMod val="85000"/>
                              <a:lumOff val="15000"/>
                            </a:schemeClr>
                          </a:solidFill>
                          <a:effectLst/>
                          <a:latin typeface="Open Sans"/>
                        </a:rPr>
                        <a:t>, Bahamas, Jamaica, Amigos, Falcon Heavy, Saturn V)</a:t>
                      </a:r>
                      <a:endParaRPr lang="en-US" sz="1100" b="0" i="0" u="none" strike="noStrike">
                        <a:solidFill>
                          <a:schemeClr val="tx1">
                            <a:lumMod val="85000"/>
                            <a:lumOff val="15000"/>
                          </a:schemeClr>
                        </a:solidFill>
                        <a:effectLst/>
                        <a:latin typeface="Open Sans"/>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20</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Teams</a:t>
                      </a:r>
                    </a:p>
                  </a:txBody>
                  <a:tcPr marL="147371" marR="88423" marT="88423" marB="88423" anchor="b">
                    <a:solidFill>
                      <a:schemeClr val="accent1">
                        <a:lumMod val="20000"/>
                        <a:lumOff val="80000"/>
                      </a:schemeClr>
                    </a:solidFill>
                  </a:tcPr>
                </a:tc>
                <a:extLst>
                  <a:ext uri="{0D108BD9-81ED-4DB2-BD59-A6C34878D82A}">
                    <a16:rowId xmlns:a16="http://schemas.microsoft.com/office/drawing/2014/main" val="570105777"/>
                  </a:ext>
                </a:extLst>
              </a:tr>
              <a:tr h="340397">
                <a:tc>
                  <a:txBody>
                    <a:bodyPr/>
                    <a:lstStyle/>
                    <a:p>
                      <a:pPr lvl="0" algn="ctr">
                        <a:buNone/>
                      </a:pPr>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lvl="0" algn="ctr">
                        <a:buNone/>
                      </a:pPr>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4:30 PM</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5:00 PM</a:t>
                      </a:r>
                    </a:p>
                  </a:txBody>
                  <a:tcPr marL="147371" marR="88423" marT="88423" marB="88423" anchor="b">
                    <a:solidFill>
                      <a:schemeClr val="accent1">
                        <a:lumMod val="20000"/>
                        <a:lumOff val="80000"/>
                      </a:schemeClr>
                    </a:solidFill>
                  </a:tcPr>
                </a:tc>
                <a:tc>
                  <a:txBody>
                    <a:bodyPr/>
                    <a:lstStyle/>
                    <a:p>
                      <a:pPr lvl="0" algn="l">
                        <a:buNone/>
                      </a:pPr>
                      <a:r>
                        <a:rPr lang="en-US" sz="1100" b="0" i="0" u="none" strike="noStrike">
                          <a:solidFill>
                            <a:schemeClr val="tx1">
                              <a:lumMod val="85000"/>
                              <a:lumOff val="15000"/>
                            </a:schemeClr>
                          </a:solidFill>
                          <a:effectLst/>
                          <a:latin typeface="Open Sans"/>
                          <a:ea typeface="Open Sans"/>
                          <a:cs typeface="Open Sans"/>
                        </a:rPr>
                        <a:t>Coffee Break</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30</a:t>
                      </a:r>
                    </a:p>
                  </a:txBody>
                  <a:tcPr marL="147371" marR="88423" marT="88423" marB="88423" anchor="b">
                    <a:solidFill>
                      <a:schemeClr val="accent1">
                        <a:lumMod val="20000"/>
                        <a:lumOff val="80000"/>
                      </a:schemeClr>
                    </a:solidFill>
                  </a:tcPr>
                </a:tc>
                <a:tc>
                  <a:txBody>
                    <a:bodyPr/>
                    <a:lstStyle/>
                    <a:p>
                      <a:pPr lvl="0" algn="ctr">
                        <a:buNone/>
                      </a:pPr>
                      <a:endParaRPr lang="en-US" sz="1100" b="0" i="0" u="none" strike="noStrike">
                        <a:solidFill>
                          <a:schemeClr val="tx1">
                            <a:lumMod val="85000"/>
                            <a:lumOff val="1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extLst>
                  <a:ext uri="{0D108BD9-81ED-4DB2-BD59-A6C34878D82A}">
                    <a16:rowId xmlns:a16="http://schemas.microsoft.com/office/drawing/2014/main" val="3080332108"/>
                  </a:ext>
                </a:extLst>
              </a:tr>
              <a:tr h="340397">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7:30 AM</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9:00 AM</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5:00 PM</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6:30 PM</a:t>
                      </a:r>
                    </a:p>
                  </a:txBody>
                  <a:tcPr marL="147371" marR="88423" marT="88423" marB="88423" anchor="b">
                    <a:solidFill>
                      <a:schemeClr val="accent1">
                        <a:lumMod val="20000"/>
                        <a:lumOff val="80000"/>
                      </a:schemeClr>
                    </a:solidFill>
                  </a:tcPr>
                </a:tc>
                <a:tc>
                  <a:txBody>
                    <a:bodyPr/>
                    <a:lstStyle/>
                    <a:p>
                      <a:pPr algn="l" fontAlgn="b"/>
                      <a:r>
                        <a:rPr lang="en-US" sz="1100" b="0" i="0" u="none" strike="noStrike">
                          <a:solidFill>
                            <a:schemeClr val="tx1">
                              <a:lumMod val="85000"/>
                              <a:lumOff val="15000"/>
                            </a:schemeClr>
                          </a:solidFill>
                          <a:effectLst/>
                          <a:latin typeface="Open Sans"/>
                          <a:ea typeface="Open Sans"/>
                          <a:cs typeface="Open Sans"/>
                        </a:rPr>
                        <a:t>Final Plan Review</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90</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Teams</a:t>
                      </a:r>
                    </a:p>
                  </a:txBody>
                  <a:tcPr marL="147371" marR="88423" marT="88423" marB="88423" anchor="b">
                    <a:solidFill>
                      <a:schemeClr val="accent1">
                        <a:lumMod val="20000"/>
                        <a:lumOff val="80000"/>
                      </a:schemeClr>
                    </a:solidFill>
                  </a:tcPr>
                </a:tc>
                <a:extLst>
                  <a:ext uri="{0D108BD9-81ED-4DB2-BD59-A6C34878D82A}">
                    <a16:rowId xmlns:a16="http://schemas.microsoft.com/office/drawing/2014/main" val="3743042171"/>
                  </a:ext>
                </a:extLst>
              </a:tr>
              <a:tr h="340396">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9:00 AM</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9:15 AM</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6:30 PM</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6:45  PM</a:t>
                      </a:r>
                    </a:p>
                  </a:txBody>
                  <a:tcPr marL="147371" marR="88423" marT="88423" marB="88423" anchor="b">
                    <a:solidFill>
                      <a:schemeClr val="accent1">
                        <a:lumMod val="20000"/>
                        <a:lumOff val="80000"/>
                      </a:schemeClr>
                    </a:solidFill>
                  </a:tcPr>
                </a:tc>
                <a:tc>
                  <a:txBody>
                    <a:bodyPr/>
                    <a:lstStyle/>
                    <a:p>
                      <a:pPr lvl="0" algn="l">
                        <a:buNone/>
                      </a:pPr>
                      <a:r>
                        <a:rPr lang="en-US" sz="1100" b="0" i="0" u="none" strike="noStrike">
                          <a:solidFill>
                            <a:schemeClr val="tx1">
                              <a:lumMod val="85000"/>
                              <a:lumOff val="15000"/>
                            </a:schemeClr>
                          </a:solidFill>
                          <a:effectLst/>
                          <a:latin typeface="Open Sans"/>
                          <a:ea typeface="Open Sans"/>
                          <a:cs typeface="Open Sans"/>
                        </a:rPr>
                        <a:t>Coffee Break</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15</a:t>
                      </a:r>
                    </a:p>
                  </a:txBody>
                  <a:tcPr marL="147371" marR="88423" marT="88423" marB="88423" anchor="b">
                    <a:solidFill>
                      <a:schemeClr val="accent1">
                        <a:lumMod val="20000"/>
                        <a:lumOff val="80000"/>
                      </a:schemeClr>
                    </a:solidFill>
                  </a:tcPr>
                </a:tc>
                <a:tc>
                  <a:txBody>
                    <a:bodyPr/>
                    <a:lstStyle/>
                    <a:p>
                      <a:pPr lvl="0" algn="ctr">
                        <a:buNone/>
                      </a:pPr>
                      <a:endParaRPr lang="en-US" sz="1100" b="0" i="0" u="none" strike="noStrike">
                        <a:solidFill>
                          <a:schemeClr val="tx1">
                            <a:lumMod val="85000"/>
                            <a:lumOff val="15000"/>
                          </a:schemeClr>
                        </a:solidFill>
                        <a:effectLst/>
                        <a:latin typeface="Open Sans"/>
                        <a:ea typeface="Open Sans" panose="020B0606030504020204" pitchFamily="34" charset="0"/>
                        <a:cs typeface="Open Sans" panose="020B0606030504020204" pitchFamily="34" charset="0"/>
                      </a:endParaRPr>
                    </a:p>
                  </a:txBody>
                  <a:tcPr marL="147371" marR="88423" marT="88423" marB="88423" anchor="b">
                    <a:solidFill>
                      <a:schemeClr val="accent1">
                        <a:lumMod val="20000"/>
                        <a:lumOff val="80000"/>
                      </a:schemeClr>
                    </a:solidFill>
                  </a:tcPr>
                </a:tc>
                <a:extLst>
                  <a:ext uri="{0D108BD9-81ED-4DB2-BD59-A6C34878D82A}">
                    <a16:rowId xmlns:a16="http://schemas.microsoft.com/office/drawing/2014/main" val="147018297"/>
                  </a:ext>
                </a:extLst>
              </a:tr>
              <a:tr h="340397">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9:15 AM</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10:00 AM</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6:45 PM</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7:30 PM</a:t>
                      </a:r>
                    </a:p>
                  </a:txBody>
                  <a:tcPr marL="147371" marR="88423" marT="88423" marB="88423" anchor="b">
                    <a:solidFill>
                      <a:schemeClr val="accent1">
                        <a:lumMod val="20000"/>
                        <a:lumOff val="80000"/>
                      </a:schemeClr>
                    </a:solidFill>
                  </a:tcPr>
                </a:tc>
                <a:tc>
                  <a:txBody>
                    <a:bodyPr/>
                    <a:lstStyle/>
                    <a:p>
                      <a:pPr lvl="0" algn="l">
                        <a:buNone/>
                      </a:pPr>
                      <a:r>
                        <a:rPr lang="en-US" sz="1100" b="0" i="0" u="none" strike="noStrike">
                          <a:solidFill>
                            <a:schemeClr val="tx1">
                              <a:lumMod val="85000"/>
                              <a:lumOff val="15000"/>
                            </a:schemeClr>
                          </a:solidFill>
                          <a:effectLst/>
                          <a:latin typeface="Open Sans"/>
                          <a:ea typeface="Open Sans"/>
                          <a:cs typeface="Open Sans"/>
                        </a:rPr>
                        <a:t>PI Objectives &amp; Program Risk Review</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45</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BO/TA</a:t>
                      </a:r>
                    </a:p>
                  </a:txBody>
                  <a:tcPr marL="147371" marR="88423" marT="88423" marB="88423" anchor="b">
                    <a:solidFill>
                      <a:schemeClr val="accent1">
                        <a:lumMod val="20000"/>
                        <a:lumOff val="80000"/>
                      </a:schemeClr>
                    </a:solidFill>
                  </a:tcPr>
                </a:tc>
                <a:extLst>
                  <a:ext uri="{0D108BD9-81ED-4DB2-BD59-A6C34878D82A}">
                    <a16:rowId xmlns:a16="http://schemas.microsoft.com/office/drawing/2014/main" val="3653536053"/>
                  </a:ext>
                </a:extLst>
              </a:tr>
              <a:tr h="340397">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10:00 AM</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10:05 AM</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7:30 PM</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7:35 PM</a:t>
                      </a:r>
                    </a:p>
                  </a:txBody>
                  <a:tcPr marL="147371" marR="88423" marT="88423" marB="88423" anchor="b">
                    <a:solidFill>
                      <a:schemeClr val="accent1">
                        <a:lumMod val="20000"/>
                        <a:lumOff val="80000"/>
                      </a:schemeClr>
                    </a:solidFill>
                  </a:tcPr>
                </a:tc>
                <a:tc>
                  <a:txBody>
                    <a:bodyPr/>
                    <a:lstStyle/>
                    <a:p>
                      <a:pPr lvl="0" algn="l">
                        <a:buNone/>
                      </a:pPr>
                      <a:r>
                        <a:rPr lang="en-US" sz="1100" b="0" i="0" u="none" strike="noStrike">
                          <a:solidFill>
                            <a:schemeClr val="tx1">
                              <a:lumMod val="85000"/>
                              <a:lumOff val="15000"/>
                            </a:schemeClr>
                          </a:solidFill>
                          <a:effectLst/>
                          <a:latin typeface="Open Sans"/>
                          <a:ea typeface="Open Sans"/>
                          <a:cs typeface="Open Sans"/>
                        </a:rPr>
                        <a:t>Confidence vote</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5</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ALL</a:t>
                      </a:r>
                    </a:p>
                  </a:txBody>
                  <a:tcPr marL="147371" marR="88423" marT="88423" marB="88423" anchor="b">
                    <a:solidFill>
                      <a:schemeClr val="accent1">
                        <a:lumMod val="20000"/>
                        <a:lumOff val="80000"/>
                      </a:schemeClr>
                    </a:solidFill>
                  </a:tcPr>
                </a:tc>
                <a:extLst>
                  <a:ext uri="{0D108BD9-81ED-4DB2-BD59-A6C34878D82A}">
                    <a16:rowId xmlns:a16="http://schemas.microsoft.com/office/drawing/2014/main" val="1916768419"/>
                  </a:ext>
                </a:extLst>
              </a:tr>
              <a:tr h="340397">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0:05 AM</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10:30 AM</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7:35 PM</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8:00 PM</a:t>
                      </a:r>
                    </a:p>
                  </a:txBody>
                  <a:tcPr marL="147371" marR="88423" marT="88423" marB="88423" anchor="b">
                    <a:solidFill>
                      <a:schemeClr val="accent1">
                        <a:lumMod val="20000"/>
                        <a:lumOff val="80000"/>
                      </a:schemeClr>
                    </a:solidFill>
                  </a:tcPr>
                </a:tc>
                <a:tc>
                  <a:txBody>
                    <a:bodyPr/>
                    <a:lstStyle/>
                    <a:p>
                      <a:pPr algn="l" fontAlgn="b"/>
                      <a:r>
                        <a:rPr lang="en-US" sz="1100" b="0" i="0" u="none" strike="noStrike">
                          <a:solidFill>
                            <a:schemeClr val="tx1">
                              <a:lumMod val="85000"/>
                              <a:lumOff val="15000"/>
                            </a:schemeClr>
                          </a:solidFill>
                          <a:effectLst/>
                          <a:latin typeface="Open Sans"/>
                          <a:ea typeface="Open Sans"/>
                          <a:cs typeface="Open Sans"/>
                        </a:rPr>
                        <a:t>PI Retro</a:t>
                      </a:r>
                    </a:p>
                  </a:txBody>
                  <a:tcPr marL="147371" marR="88423" marT="88423" marB="88423" anchor="b">
                    <a:solidFill>
                      <a:schemeClr val="accent1">
                        <a:lumMod val="20000"/>
                        <a:lumOff val="80000"/>
                      </a:schemeClr>
                    </a:solidFill>
                  </a:tcPr>
                </a:tc>
                <a:tc>
                  <a:txBody>
                    <a:bodyPr/>
                    <a:lstStyle/>
                    <a:p>
                      <a:pPr algn="ctr" fontAlgn="b"/>
                      <a:r>
                        <a:rPr lang="en-US" sz="1100" b="0" i="0" u="none" strike="noStrike">
                          <a:solidFill>
                            <a:schemeClr val="tx1">
                              <a:lumMod val="85000"/>
                              <a:lumOff val="15000"/>
                            </a:schemeClr>
                          </a:solidFill>
                          <a:effectLst/>
                          <a:latin typeface="Open Sans"/>
                          <a:ea typeface="Open Sans"/>
                          <a:cs typeface="Open Sans"/>
                        </a:rPr>
                        <a:t>25</a:t>
                      </a:r>
                    </a:p>
                  </a:txBody>
                  <a:tcPr marL="147371" marR="88423" marT="88423" marB="88423" anchor="b">
                    <a:solidFill>
                      <a:schemeClr val="accent1">
                        <a:lumMod val="20000"/>
                        <a:lumOff val="80000"/>
                      </a:schemeClr>
                    </a:solidFill>
                  </a:tcPr>
                </a:tc>
                <a:tc>
                  <a:txBody>
                    <a:bodyPr/>
                    <a:lstStyle/>
                    <a:p>
                      <a:pPr lvl="0" algn="ctr">
                        <a:buNone/>
                      </a:pPr>
                      <a:r>
                        <a:rPr lang="en-US" sz="1100" b="0" i="0" u="none" strike="noStrike">
                          <a:solidFill>
                            <a:schemeClr val="tx1">
                              <a:lumMod val="85000"/>
                              <a:lumOff val="15000"/>
                            </a:schemeClr>
                          </a:solidFill>
                          <a:effectLst/>
                          <a:latin typeface="Open Sans"/>
                          <a:ea typeface="Open Sans"/>
                          <a:cs typeface="Open Sans"/>
                        </a:rPr>
                        <a:t>ALL</a:t>
                      </a:r>
                    </a:p>
                  </a:txBody>
                  <a:tcPr marL="147371" marR="88423" marT="88423" marB="88423" anchor="b">
                    <a:solidFill>
                      <a:schemeClr val="accent1">
                        <a:lumMod val="20000"/>
                        <a:lumOff val="80000"/>
                      </a:schemeClr>
                    </a:solidFill>
                  </a:tcPr>
                </a:tc>
                <a:extLst>
                  <a:ext uri="{0D108BD9-81ED-4DB2-BD59-A6C34878D82A}">
                    <a16:rowId xmlns:a16="http://schemas.microsoft.com/office/drawing/2014/main" val="4050916788"/>
                  </a:ext>
                </a:extLst>
              </a:tr>
            </a:tbl>
          </a:graphicData>
        </a:graphic>
      </p:graphicFrame>
      <p:sp>
        <p:nvSpPr>
          <p:cNvPr id="5" name="Title 1">
            <a:extLst>
              <a:ext uri="{FF2B5EF4-FFF2-40B4-BE49-F238E27FC236}">
                <a16:creationId xmlns:a16="http://schemas.microsoft.com/office/drawing/2014/main" id="{5BC0E948-6F66-4F47-BA40-6C553B9AB1E4}"/>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1500" kern="1200">
                <a:solidFill>
                  <a:schemeClr val="tx1"/>
                </a:solidFill>
                <a:latin typeface="+mj-lt"/>
                <a:ea typeface="+mj-ea"/>
                <a:cs typeface="+mj-cs"/>
              </a:defRPr>
            </a:lvl1pPr>
          </a:lstStyle>
          <a:p>
            <a:r>
              <a:rPr lang="en-US" sz="1800" b="1">
                <a:latin typeface="Open Sans"/>
                <a:ea typeface="Open Sans"/>
                <a:cs typeface="Open Sans"/>
              </a:rPr>
              <a:t>Agenda Day 3 – </a:t>
            </a:r>
            <a:r>
              <a:rPr lang="en-US" sz="1800" b="1">
                <a:solidFill>
                  <a:srgbClr val="000000"/>
                </a:solidFill>
                <a:latin typeface="Open Sans"/>
                <a:ea typeface="Open Sans"/>
                <a:cs typeface="Open Sans"/>
              </a:rPr>
              <a:t>July15</a:t>
            </a:r>
            <a:r>
              <a:rPr lang="en-US" sz="1800" b="1">
                <a:solidFill>
                  <a:schemeClr val="tx1">
                    <a:lumMod val="50000"/>
                    <a:lumOff val="50000"/>
                  </a:schemeClr>
                </a:solidFill>
                <a:latin typeface="Open Sans"/>
                <a:ea typeface="Open Sans"/>
                <a:cs typeface="Open Sans"/>
              </a:rPr>
              <a:t>, </a:t>
            </a:r>
            <a:r>
              <a:rPr lang="en-US" sz="1800" b="1">
                <a:solidFill>
                  <a:srgbClr val="000000"/>
                </a:solidFill>
                <a:latin typeface="Open Sans"/>
                <a:ea typeface="Open Sans"/>
                <a:cs typeface="Open Sans"/>
              </a:rPr>
              <a:t>2021</a:t>
            </a:r>
          </a:p>
        </p:txBody>
      </p:sp>
    </p:spTree>
    <p:extLst>
      <p:ext uri="{BB962C8B-B14F-4D97-AF65-F5344CB8AC3E}">
        <p14:creationId xmlns:p14="http://schemas.microsoft.com/office/powerpoint/2010/main" val="240768579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784B697-AB8A-478B-8CB0-D9562795C192}"/>
              </a:ext>
            </a:extLst>
          </p:cNvPr>
          <p:cNvSpPr txBox="1"/>
          <p:nvPr/>
        </p:nvSpPr>
        <p:spPr>
          <a:xfrm>
            <a:off x="425777" y="1084083"/>
            <a:ext cx="11340446" cy="2308324"/>
          </a:xfrm>
          <a:prstGeom prst="rect">
            <a:avLst/>
          </a:prstGeom>
          <a:noFill/>
        </p:spPr>
        <p:txBody>
          <a:bodyPr wrap="square" lIns="91440" tIns="45720" rIns="91440" bIns="45720" rtlCol="0" anchor="t">
            <a:spAutoFit/>
          </a:bodyPr>
          <a:lstStyle/>
          <a:p>
            <a:r>
              <a:rPr lang="en-US" b="1"/>
              <a:t>CONTINUE</a:t>
            </a:r>
          </a:p>
          <a:p>
            <a:pPr marL="342900" indent="-342900">
              <a:buFont typeface="Arial" panose="020B0604020202020204" pitchFamily="34" charset="0"/>
              <a:buChar char="•"/>
            </a:pPr>
            <a:r>
              <a:rPr lang="en-US"/>
              <a:t>Continue to </a:t>
            </a:r>
            <a:r>
              <a:rPr lang="en-US">
                <a:ea typeface="+mn-lt"/>
                <a:cs typeface="+mn-lt"/>
              </a:rPr>
              <a:t>have Integration packages delivered on time.</a:t>
            </a:r>
          </a:p>
          <a:p>
            <a:pPr marL="342900" indent="-342900">
              <a:buFont typeface="Arial" panose="020B0604020202020204" pitchFamily="34" charset="0"/>
              <a:buChar char="•"/>
            </a:pPr>
            <a:r>
              <a:rPr lang="en-US"/>
              <a:t>Continue collaboration between Diagnostics and AO teams.</a:t>
            </a:r>
            <a:endParaRPr lang="en-US">
              <a:cs typeface="Calibri"/>
            </a:endParaRPr>
          </a:p>
          <a:p>
            <a:pPr marL="342900" indent="-342900">
              <a:buFont typeface="Arial" panose="020B0604020202020204" pitchFamily="34" charset="0"/>
              <a:buChar char="•"/>
            </a:pPr>
            <a:r>
              <a:rPr lang="en-US">
                <a:ea typeface="+mn-lt"/>
                <a:cs typeface="+mn-lt"/>
              </a:rPr>
              <a:t>Continue to have co-ordination between TA's and data dynamics team that will result in improved performance on AO Dashboards</a:t>
            </a:r>
          </a:p>
          <a:p>
            <a:pPr marL="342900" indent="-342900">
              <a:buFont typeface="Arial" panose="020B0604020202020204" pitchFamily="34" charset="0"/>
              <a:buChar char="•"/>
            </a:pPr>
            <a:endParaRPr lang="en-US">
              <a:cs typeface="Calibri"/>
            </a:endParaRPr>
          </a:p>
        </p:txBody>
      </p:sp>
      <p:sp>
        <p:nvSpPr>
          <p:cNvPr id="4" name="TextBox 3">
            <a:extLst>
              <a:ext uri="{FF2B5EF4-FFF2-40B4-BE49-F238E27FC236}">
                <a16:creationId xmlns:a16="http://schemas.microsoft.com/office/drawing/2014/main" id="{2414D946-1652-4D8A-9BAA-018A4ACA57B3}"/>
              </a:ext>
            </a:extLst>
          </p:cNvPr>
          <p:cNvSpPr txBox="1"/>
          <p:nvPr/>
        </p:nvSpPr>
        <p:spPr>
          <a:xfrm>
            <a:off x="425777" y="3258419"/>
            <a:ext cx="11340446" cy="1938992"/>
          </a:xfrm>
          <a:prstGeom prst="rect">
            <a:avLst/>
          </a:prstGeom>
          <a:noFill/>
        </p:spPr>
        <p:txBody>
          <a:bodyPr wrap="square" lIns="91440" tIns="45720" rIns="91440" bIns="45720" rtlCol="0" anchor="t">
            <a:spAutoFit/>
          </a:bodyPr>
          <a:lstStyle/>
          <a:p>
            <a:r>
              <a:rPr lang="en-US" b="1"/>
              <a:t>STOP</a:t>
            </a:r>
          </a:p>
          <a:p>
            <a:pPr marL="342900" indent="-342900">
              <a:buFont typeface="Arial" panose="020B0604020202020204" pitchFamily="34" charset="0"/>
              <a:buChar char="•"/>
            </a:pPr>
            <a:r>
              <a:rPr lang="en-US"/>
              <a:t>STOP late evening meetings in USI. Solution: </a:t>
            </a:r>
            <a:r>
              <a:rPr lang="en-US">
                <a:ea typeface="+mn-lt"/>
                <a:cs typeface="+mn-lt"/>
              </a:rPr>
              <a:t>Have a Lead Dev in USI who can address issues during USI times. Build skillsets in USI to avoid dependencies on US Architects.</a:t>
            </a:r>
          </a:p>
          <a:p>
            <a:pPr marL="342900" indent="-342900">
              <a:buFont typeface="Arial" panose="020B0604020202020204" pitchFamily="34" charset="0"/>
              <a:buChar char="•"/>
            </a:pPr>
            <a:r>
              <a:rPr lang="en-US">
                <a:ea typeface="+mn-lt"/>
                <a:cs typeface="+mn-lt"/>
              </a:rPr>
              <a:t>STOP adding UPDATE/INSERTS etc.. in prod subscription including manual scripts.</a:t>
            </a:r>
            <a:endParaRPr lang="en-US">
              <a:cs typeface="Calibri"/>
            </a:endParaRPr>
          </a:p>
          <a:p>
            <a:endParaRPr lang="en-US">
              <a:cs typeface="Calibri"/>
            </a:endParaRPr>
          </a:p>
        </p:txBody>
      </p:sp>
    </p:spTree>
    <p:extLst>
      <p:ext uri="{BB962C8B-B14F-4D97-AF65-F5344CB8AC3E}">
        <p14:creationId xmlns:p14="http://schemas.microsoft.com/office/powerpoint/2010/main" val="422977878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A75897A-C604-461A-AEA3-93D3E8B3F628}"/>
              </a:ext>
            </a:extLst>
          </p:cNvPr>
          <p:cNvSpPr txBox="1"/>
          <p:nvPr/>
        </p:nvSpPr>
        <p:spPr>
          <a:xfrm>
            <a:off x="425777" y="725865"/>
            <a:ext cx="11340446" cy="6370975"/>
          </a:xfrm>
          <a:prstGeom prst="rect">
            <a:avLst/>
          </a:prstGeom>
          <a:noFill/>
        </p:spPr>
        <p:txBody>
          <a:bodyPr wrap="square" lIns="91440" tIns="45720" rIns="91440" bIns="45720" rtlCol="0" anchor="t">
            <a:spAutoFit/>
          </a:bodyPr>
          <a:lstStyle/>
          <a:p>
            <a:r>
              <a:rPr lang="en-US" b="1"/>
              <a:t>START</a:t>
            </a:r>
          </a:p>
          <a:p>
            <a:pPr marL="342900" indent="-342900">
              <a:buFont typeface="Arial" panose="020B0604020202020204" pitchFamily="34" charset="0"/>
              <a:buChar char="•"/>
            </a:pPr>
            <a:r>
              <a:rPr lang="en-US"/>
              <a:t>START </a:t>
            </a:r>
            <a:r>
              <a:rPr lang="en-US">
                <a:ea typeface="+mn-lt"/>
                <a:cs typeface="+mn-lt"/>
              </a:rPr>
              <a:t>fixing known defects during the PI and it should be planned. </a:t>
            </a:r>
          </a:p>
          <a:p>
            <a:pPr marL="342900" indent="-342900">
              <a:buFont typeface="Arial" panose="020B0604020202020204" pitchFamily="34" charset="0"/>
              <a:buChar char="•"/>
            </a:pPr>
            <a:r>
              <a:rPr lang="en-US"/>
              <a:t>START raising resource constraints in ART sync meetings.</a:t>
            </a:r>
          </a:p>
          <a:p>
            <a:pPr marL="342900" indent="-342900">
              <a:buFont typeface="Arial" panose="020B0604020202020204" pitchFamily="34" charset="0"/>
              <a:buChar char="•"/>
            </a:pPr>
            <a:r>
              <a:rPr lang="en-US">
                <a:cs typeface="Calibri"/>
              </a:rPr>
              <a:t>START </a:t>
            </a:r>
            <a:r>
              <a:rPr lang="en-US">
                <a:ea typeface="+mn-lt"/>
                <a:cs typeface="+mn-lt"/>
              </a:rPr>
              <a:t>adding RND Items for Prod Non Repro Instances in the Prior Sprint before committing to the actual item. Ensure the same in Sprint Planning.</a:t>
            </a:r>
          </a:p>
          <a:p>
            <a:pPr marL="342900" indent="-342900">
              <a:buFont typeface="Arial" panose="020B0604020202020204" pitchFamily="34" charset="0"/>
              <a:buChar char="•"/>
            </a:pPr>
            <a:r>
              <a:rPr lang="en-US">
                <a:cs typeface="Calibri" panose="020F0502020204030204"/>
              </a:rPr>
              <a:t>START having weekly grooming sessions with teams (Amigos)</a:t>
            </a:r>
          </a:p>
          <a:p>
            <a:pPr marL="342900" indent="-342900">
              <a:buFont typeface="Arial" panose="020B0604020202020204" pitchFamily="34" charset="0"/>
              <a:buChar char="•"/>
            </a:pPr>
            <a:r>
              <a:rPr lang="en-US">
                <a:ea typeface="+mn-lt"/>
                <a:cs typeface="+mn-lt"/>
              </a:rPr>
              <a:t>START adding some scope for code refactoring, as in along the lines of code maintainability. Architects to review this feedback.</a:t>
            </a:r>
          </a:p>
          <a:p>
            <a:pPr marL="342900" indent="-342900">
              <a:buFont typeface="Arial" panose="020B0604020202020204" pitchFamily="34" charset="0"/>
              <a:buChar char="•"/>
            </a:pPr>
            <a:r>
              <a:rPr lang="en-US">
                <a:cs typeface="Calibri" panose="020F0502020204030204"/>
              </a:rPr>
              <a:t>START identifying</a:t>
            </a:r>
            <a:r>
              <a:rPr lang="en-US">
                <a:ea typeface="+mn-lt"/>
                <a:cs typeface="+mn-lt"/>
              </a:rPr>
              <a:t> architecture/Implementation when designing PBIs and size the stories. Have more time for refinements. </a:t>
            </a:r>
            <a:endParaRPr lang="en-US">
              <a:cs typeface="Calibri" panose="020F0502020204030204"/>
            </a:endParaRPr>
          </a:p>
          <a:p>
            <a:pPr marL="342900" indent="-342900">
              <a:buFont typeface="Arial" panose="020B0604020202020204" pitchFamily="34" charset="0"/>
              <a:buChar char="•"/>
            </a:pPr>
            <a:r>
              <a:rPr lang="en-US">
                <a:cs typeface="Calibri" panose="020F0502020204030204"/>
              </a:rPr>
              <a:t>START having better</a:t>
            </a:r>
            <a:r>
              <a:rPr lang="en-US">
                <a:ea typeface="+mn-lt"/>
                <a:cs typeface="+mn-lt"/>
              </a:rPr>
              <a:t> oversight of dependencies with external teams (</a:t>
            </a:r>
            <a:r>
              <a:rPr lang="en-US" err="1">
                <a:ea typeface="+mn-lt"/>
                <a:cs typeface="+mn-lt"/>
              </a:rPr>
              <a:t>Levvia</a:t>
            </a:r>
            <a:r>
              <a:rPr lang="en-US">
                <a:ea typeface="+mn-lt"/>
                <a:cs typeface="+mn-lt"/>
              </a:rPr>
              <a:t>, Omnia, </a:t>
            </a:r>
            <a:r>
              <a:rPr lang="en-US" err="1">
                <a:ea typeface="+mn-lt"/>
                <a:cs typeface="+mn-lt"/>
              </a:rPr>
              <a:t>Iconfirm</a:t>
            </a:r>
            <a:r>
              <a:rPr lang="en-US">
                <a:ea typeface="+mn-lt"/>
                <a:cs typeface="+mn-lt"/>
              </a:rPr>
              <a:t>, </a:t>
            </a:r>
            <a:r>
              <a:rPr lang="en-US" err="1">
                <a:ea typeface="+mn-lt"/>
                <a:cs typeface="+mn-lt"/>
              </a:rPr>
              <a:t>etc</a:t>
            </a:r>
            <a:r>
              <a:rPr lang="en-US">
                <a:ea typeface="+mn-lt"/>
                <a:cs typeface="+mn-lt"/>
              </a:rPr>
              <a:t>) – hoping Engagement Leaders can help manage.</a:t>
            </a:r>
            <a:endParaRPr lang="en-US">
              <a:cs typeface="Calibri" panose="020F0502020204030204"/>
            </a:endParaRPr>
          </a:p>
          <a:p>
            <a:pPr marL="342900" indent="-342900">
              <a:buFont typeface="Arial" panose="020B0604020202020204" pitchFamily="34" charset="0"/>
              <a:buChar char="•"/>
            </a:pPr>
            <a:r>
              <a:rPr lang="en-US">
                <a:ea typeface="+mn-lt"/>
                <a:cs typeface="+mn-lt"/>
              </a:rPr>
              <a:t>START finalizing Business Scope before the Release Planning, as it consumes a good amount of effort to undo the changes/scope in between the Release.</a:t>
            </a:r>
            <a:endParaRPr lang="en-US">
              <a:cs typeface="Calibri" panose="020F0502020204030204"/>
            </a:endParaRPr>
          </a:p>
          <a:p>
            <a:pPr marL="342900" indent="-342900">
              <a:buFont typeface="Arial" panose="020B0604020202020204" pitchFamily="34" charset="0"/>
              <a:buChar char="•"/>
            </a:pPr>
            <a:r>
              <a:rPr lang="en-US">
                <a:cs typeface="Calibri" panose="020F0502020204030204"/>
              </a:rPr>
              <a:t>START adding capacity on defect fixes each sprint.</a:t>
            </a:r>
          </a:p>
          <a:p>
            <a:pPr marL="342900" indent="-342900">
              <a:buFont typeface="Arial" panose="020B0604020202020204" pitchFamily="34" charset="0"/>
              <a:buChar char="•"/>
            </a:pPr>
            <a:endParaRPr lang="en-US">
              <a:cs typeface="Calibri" panose="020F0502020204030204"/>
            </a:endParaRPr>
          </a:p>
          <a:p>
            <a:pPr marL="342900" indent="-342900">
              <a:buFont typeface="Arial" panose="020B0604020202020204" pitchFamily="34" charset="0"/>
              <a:buChar char="•"/>
            </a:pPr>
            <a:endParaRPr lang="en-US">
              <a:cs typeface="Calibri" panose="020F0502020204030204"/>
            </a:endParaRPr>
          </a:p>
        </p:txBody>
      </p:sp>
    </p:spTree>
    <p:extLst>
      <p:ext uri="{BB962C8B-B14F-4D97-AF65-F5344CB8AC3E}">
        <p14:creationId xmlns:p14="http://schemas.microsoft.com/office/powerpoint/2010/main" val="40088847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8096" y="916946"/>
            <a:ext cx="5278632" cy="5278632"/>
          </a:xfrm>
          <a:prstGeom prst="rect">
            <a:avLst/>
          </a:prstGeom>
        </p:spPr>
      </p:pic>
      <p:sp>
        <p:nvSpPr>
          <p:cNvPr id="4" name="TextBox 3">
            <a:extLst>
              <a:ext uri="{FF2B5EF4-FFF2-40B4-BE49-F238E27FC236}">
                <a16:creationId xmlns:a16="http://schemas.microsoft.com/office/drawing/2014/main" id="{7A9DFF01-0B03-48E4-B42D-F011C5ECF119}"/>
              </a:ext>
            </a:extLst>
          </p:cNvPr>
          <p:cNvSpPr txBox="1"/>
          <p:nvPr/>
        </p:nvSpPr>
        <p:spPr>
          <a:xfrm>
            <a:off x="5883128" y="2783290"/>
            <a:ext cx="4592522" cy="400110"/>
          </a:xfrm>
          <a:prstGeom prst="rect">
            <a:avLst/>
          </a:prstGeom>
          <a:noFill/>
        </p:spPr>
        <p:txBody>
          <a:bodyPr wrap="square" rtlCol="0" anchor="t">
            <a:spAutoFit/>
          </a:bodyPr>
          <a:lstStyle/>
          <a:p>
            <a:r>
              <a:rPr lang="en-US" sz="2000" b="1">
                <a:latin typeface="Open Sans"/>
                <a:ea typeface="Open Sans" panose="020B0606030504020204" pitchFamily="34" charset="0"/>
                <a:cs typeface="Open Sans" panose="020B0606030504020204" pitchFamily="34" charset="0"/>
              </a:rPr>
              <a:t>Product Increment Milestones</a:t>
            </a:r>
            <a:endParaRPr lang="en-US" sz="2000" b="1">
              <a:solidFill>
                <a:schemeClr val="bg1">
                  <a:lumMod val="50000"/>
                </a:schemeClr>
              </a:solidFill>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4229880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0F8995-C0FD-4107-AC83-E830FB6660E5}"/>
              </a:ext>
            </a:extLst>
          </p:cNvPr>
          <p:cNvSpPr>
            <a:spLocks noGrp="1"/>
          </p:cNvSpPr>
          <p:nvPr>
            <p:ph type="title"/>
          </p:nvPr>
        </p:nvSpPr>
        <p:spPr>
          <a:xfrm>
            <a:off x="392319" y="245143"/>
            <a:ext cx="11188700" cy="334101"/>
          </a:xfrm>
        </p:spPr>
        <p:txBody>
          <a:bodyPr/>
          <a:lstStyle/>
          <a:p>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PI</a:t>
            </a:r>
            <a:r>
              <a:rPr lang="en-US" sz="1800" b="1">
                <a:latin typeface="Open Sans" panose="020B0606030504020204" pitchFamily="34" charset="0"/>
                <a:ea typeface="Open Sans" panose="020B0606030504020204" pitchFamily="34" charset="0"/>
                <a:cs typeface="Open Sans" panose="020B0606030504020204" pitchFamily="34" charset="0"/>
              </a:rPr>
              <a:t>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Milestones </a:t>
            </a:r>
            <a:r>
              <a:rPr lang="en-US" sz="1800">
                <a:solidFill>
                  <a:srgbClr val="FF0000"/>
                </a:solidFill>
                <a:latin typeface="Calibri"/>
                <a:cs typeface="Calibri"/>
              </a:rPr>
              <a:t>*</a:t>
            </a:r>
            <a:endPar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Box 4">
            <a:extLst>
              <a:ext uri="{FF2B5EF4-FFF2-40B4-BE49-F238E27FC236}">
                <a16:creationId xmlns:a16="http://schemas.microsoft.com/office/drawing/2014/main" id="{5B812393-1D4C-44E5-88C8-52EB15B2AC90}"/>
              </a:ext>
            </a:extLst>
          </p:cNvPr>
          <p:cNvSpPr txBox="1"/>
          <p:nvPr/>
        </p:nvSpPr>
        <p:spPr>
          <a:xfrm>
            <a:off x="392319" y="579244"/>
            <a:ext cx="11407362" cy="5562973"/>
          </a:xfrm>
          <a:prstGeom prst="rect">
            <a:avLst/>
          </a:prstGeom>
          <a:noFill/>
        </p:spPr>
        <p:txBody>
          <a:bodyPr vert="horz" wrap="square" lIns="0" tIns="0" rIns="0" bIns="0" rtlCol="0" anchor="t">
            <a:spAutoFit/>
          </a:bodyPr>
          <a:lstStyle/>
          <a:p>
            <a:pPr marL="257175" indent="-257175" defTabSz="457200">
              <a:lnSpc>
                <a:spcPct val="150000"/>
              </a:lnSpc>
              <a:buBlip>
                <a:blip r:embed="rId2">
                  <a:extLst>
                    <a:ext uri="{837473B0-CC2E-450A-ABE3-18F120FF3D39}">
                      <a1611:picAttrSrcUrl xmlns:a1611="http://schemas.microsoft.com/office/drawing/2016/11/main" r:id="rId3"/>
                    </a:ext>
                  </a:extLst>
                </a:blip>
              </a:buBlip>
              <a:defRPr/>
            </a:pPr>
            <a:r>
              <a:rPr kumimoji="0" lang="en-US" sz="1400" b="1" i="0" u="none" strike="noStrike" kern="1200" cap="none" spc="0" normalizeH="0" baseline="0" noProof="0">
                <a:ln>
                  <a:noFill/>
                </a:ln>
                <a:effectLst/>
                <a:uLnTx/>
                <a:uFillTx/>
                <a:latin typeface="Calibri"/>
                <a:cs typeface="Calibri"/>
              </a:rPr>
              <a:t>Start</a:t>
            </a:r>
            <a:r>
              <a:rPr kumimoji="0" lang="en-US" sz="1400" i="0" u="none" strike="noStrike" kern="1200" cap="none" spc="0" normalizeH="0" baseline="0" noProof="0">
                <a:ln>
                  <a:noFill/>
                </a:ln>
                <a:effectLst/>
                <a:uLnTx/>
                <a:uFillTx/>
                <a:latin typeface="Calibri"/>
                <a:cs typeface="Calibri"/>
              </a:rPr>
              <a:t>: </a:t>
            </a:r>
            <a:r>
              <a:rPr lang="en-US" sz="1400">
                <a:latin typeface="Calibri"/>
                <a:cs typeface="Calibri"/>
              </a:rPr>
              <a:t>July 14</a:t>
            </a:r>
            <a:r>
              <a:rPr kumimoji="0" lang="en-US" sz="1400" i="0" u="none" strike="noStrike" kern="1200" cap="none" spc="0" normalizeH="0" baseline="0" noProof="0">
                <a:ln>
                  <a:noFill/>
                </a:ln>
                <a:effectLst/>
                <a:uLnTx/>
                <a:uFillTx/>
                <a:latin typeface="Calibri"/>
                <a:cs typeface="Calibri"/>
              </a:rPr>
              <a:t>, 2021</a:t>
            </a:r>
            <a:endParaRPr lang="en-US" sz="1400">
              <a:latin typeface="Calibri"/>
              <a:cs typeface="Calibri"/>
            </a:endParaRPr>
          </a:p>
          <a:p>
            <a:pPr marL="798195" lvl="1" indent="-306070" defTabSz="457200">
              <a:lnSpc>
                <a:spcPct val="150000"/>
              </a:lnSpc>
              <a:buBlip>
                <a:blip r:embed="rId2">
                  <a:extLst>
                    <a:ext uri="{837473B0-CC2E-450A-ABE3-18F120FF3D39}">
                      <a1611:picAttrSrcUrl xmlns:a1611="http://schemas.microsoft.com/office/drawing/2016/11/main" r:id="rId3"/>
                    </a:ext>
                  </a:extLst>
                </a:blip>
              </a:buBlip>
              <a:defRPr/>
            </a:pPr>
            <a:r>
              <a:rPr lang="en-US" sz="1400">
                <a:solidFill>
                  <a:srgbClr val="FF0000"/>
                </a:solidFill>
                <a:highlight>
                  <a:srgbClr val="FFFF00"/>
                </a:highlight>
                <a:latin typeface="Calibri"/>
                <a:cs typeface="Calibri"/>
              </a:rPr>
              <a:t>Official Start: July 16, 2021</a:t>
            </a:r>
            <a:endParaRPr lang="en-US" sz="1400" i="0" u="none" strike="noStrike" kern="1200" cap="none" spc="0" normalizeH="0" baseline="0" noProof="0">
              <a:ln>
                <a:noFill/>
              </a:ln>
              <a:solidFill>
                <a:srgbClr val="FF0000"/>
              </a:solidFill>
              <a:effectLst/>
              <a:highlight>
                <a:srgbClr val="FFFF00"/>
              </a:highlight>
              <a:uLnTx/>
              <a:uFillTx/>
              <a:latin typeface="Calibri"/>
              <a:cs typeface="Calibri"/>
            </a:endParaRPr>
          </a:p>
          <a:p>
            <a:pPr marL="257175" marR="0" lvl="0" indent="-257175" algn="l" defTabSz="457200" rtl="0" eaLnBrk="1" fontAlgn="auto" latinLnBrk="0" hangingPunct="1">
              <a:lnSpc>
                <a:spcPct val="150000"/>
              </a:lnSpc>
              <a:spcBef>
                <a:spcPts val="0"/>
              </a:spcBef>
              <a:spcAft>
                <a:spcPts val="0"/>
              </a:spcAft>
              <a:buClrTx/>
              <a:buSzTx/>
              <a:buFontTx/>
              <a:buBlip>
                <a:blip r:embed="rId2">
                  <a:extLst>
                    <a:ext uri="{837473B0-CC2E-450A-ABE3-18F120FF3D39}">
                      <a1611:picAttrSrcUrl xmlns:a1611="http://schemas.microsoft.com/office/drawing/2016/11/main" r:id="rId3"/>
                    </a:ext>
                  </a:extLst>
                </a:blip>
              </a:buBlip>
              <a:tabLst/>
              <a:defRPr/>
            </a:pPr>
            <a:r>
              <a:rPr kumimoji="0" lang="en-US" sz="1400" b="1" i="0" u="none" strike="noStrike" kern="1200" cap="none" spc="0" normalizeH="0" baseline="0" noProof="0">
                <a:ln>
                  <a:noFill/>
                </a:ln>
                <a:effectLst/>
                <a:uLnTx/>
                <a:uFillTx/>
                <a:latin typeface="Calibri"/>
                <a:cs typeface="Calibri"/>
              </a:rPr>
              <a:t>4 Development Sprints</a:t>
            </a:r>
            <a:endParaRPr lang="en-US" sz="1400" b="1" i="0" u="none" strike="noStrike" kern="1200" cap="none" spc="0" normalizeH="0" baseline="0" noProof="0">
              <a:ln>
                <a:noFill/>
              </a:ln>
              <a:effectLst/>
              <a:uLnTx/>
              <a:uFillTx/>
              <a:latin typeface="Calibri"/>
              <a:cs typeface="Calibri"/>
            </a:endParaRPr>
          </a:p>
          <a:p>
            <a:pPr marL="746125" lvl="1" indent="-257175" defTabSz="457200">
              <a:lnSpc>
                <a:spcPct val="150000"/>
              </a:lnSpc>
              <a:buBlip>
                <a:blip r:embed="rId2">
                  <a:extLst>
                    <a:ext uri="{837473B0-CC2E-450A-ABE3-18F120FF3D39}">
                      <a1611:picAttrSrcUrl xmlns:a1611="http://schemas.microsoft.com/office/drawing/2016/11/main" r:id="rId3"/>
                    </a:ext>
                  </a:extLst>
                </a:blip>
              </a:buBlip>
              <a:defRPr/>
            </a:pPr>
            <a:r>
              <a:rPr lang="en-US" sz="1400">
                <a:latin typeface="Calibri"/>
                <a:cs typeface="Calibri"/>
              </a:rPr>
              <a:t>First Sprint – 3 weeks</a:t>
            </a:r>
          </a:p>
          <a:p>
            <a:pPr marL="746125" lvl="1" indent="-257175" defTabSz="457200">
              <a:lnSpc>
                <a:spcPct val="150000"/>
              </a:lnSpc>
              <a:buBlip>
                <a:blip r:embed="rId2">
                  <a:extLst>
                    <a:ext uri="{837473B0-CC2E-450A-ABE3-18F120FF3D39}">
                      <a1611:picAttrSrcUrl xmlns:a1611="http://schemas.microsoft.com/office/drawing/2016/11/main" r:id="rId3"/>
                    </a:ext>
                  </a:extLst>
                </a:blip>
              </a:buBlip>
              <a:defRPr/>
            </a:pPr>
            <a:r>
              <a:rPr kumimoji="0" lang="en-US" sz="1400" i="0" u="none" strike="noStrike" kern="1200" cap="none" spc="0" normalizeH="0" baseline="0" noProof="0">
                <a:ln>
                  <a:noFill/>
                </a:ln>
                <a:effectLst/>
                <a:uLnTx/>
                <a:uFillTx/>
                <a:latin typeface="Calibri"/>
                <a:cs typeface="Calibri"/>
              </a:rPr>
              <a:t>Second Sprint – 3 weeks</a:t>
            </a:r>
            <a:endParaRPr lang="en-US" sz="1400" i="0" u="none" strike="noStrike" kern="1200" cap="none" spc="0" normalizeH="0" baseline="0" noProof="0">
              <a:ln>
                <a:noFill/>
              </a:ln>
              <a:effectLst/>
              <a:uLnTx/>
              <a:uFillTx/>
              <a:latin typeface="Calibri"/>
              <a:cs typeface="Calibri"/>
            </a:endParaRPr>
          </a:p>
          <a:p>
            <a:pPr marL="746125" lvl="1" indent="-257175" defTabSz="457200">
              <a:lnSpc>
                <a:spcPct val="150000"/>
              </a:lnSpc>
              <a:buBlip>
                <a:blip r:embed="rId2">
                  <a:extLst>
                    <a:ext uri="{837473B0-CC2E-450A-ABE3-18F120FF3D39}">
                      <a1611:picAttrSrcUrl xmlns:a1611="http://schemas.microsoft.com/office/drawing/2016/11/main" r:id="rId3"/>
                    </a:ext>
                  </a:extLst>
                </a:blip>
              </a:buBlip>
              <a:defRPr/>
            </a:pPr>
            <a:r>
              <a:rPr lang="en-US" sz="1400">
                <a:latin typeface="Calibri"/>
                <a:cs typeface="Calibri"/>
              </a:rPr>
              <a:t>Third sprint – 3 weeks</a:t>
            </a:r>
            <a:endParaRPr lang="en-US" sz="1400" i="0" u="none" strike="noStrike" kern="1200" cap="none" spc="0" normalizeH="0" baseline="0" noProof="0">
              <a:ln>
                <a:noFill/>
              </a:ln>
              <a:effectLst/>
              <a:uLnTx/>
              <a:uFillTx/>
              <a:latin typeface="Calibri"/>
              <a:cs typeface="Calibri"/>
            </a:endParaRPr>
          </a:p>
          <a:p>
            <a:pPr marL="746125" lvl="1" indent="-257175" defTabSz="457200">
              <a:lnSpc>
                <a:spcPct val="150000"/>
              </a:lnSpc>
              <a:buBlip>
                <a:blip r:embed="rId2">
                  <a:extLst>
                    <a:ext uri="{837473B0-CC2E-450A-ABE3-18F120FF3D39}">
                      <a1611:picAttrSrcUrl xmlns:a1611="http://schemas.microsoft.com/office/drawing/2016/11/main" r:id="rId3"/>
                    </a:ext>
                  </a:extLst>
                </a:blip>
              </a:buBlip>
              <a:defRPr/>
            </a:pPr>
            <a:r>
              <a:rPr lang="en-US" sz="1400">
                <a:solidFill>
                  <a:srgbClr val="FF0000"/>
                </a:solidFill>
                <a:highlight>
                  <a:srgbClr val="FFFF00"/>
                </a:highlight>
                <a:latin typeface="Calibri"/>
                <a:cs typeface="Calibri"/>
              </a:rPr>
              <a:t>Fourth Sprint should allow for buffer – 1.5 weeks for those releasing in November </a:t>
            </a:r>
          </a:p>
          <a:p>
            <a:pPr marL="746125" lvl="1" indent="-257175" defTabSz="457200">
              <a:lnSpc>
                <a:spcPct val="150000"/>
              </a:lnSpc>
              <a:buBlip>
                <a:blip r:embed="rId2">
                  <a:extLst>
                    <a:ext uri="{837473B0-CC2E-450A-ABE3-18F120FF3D39}">
                      <a1611:picAttrSrcUrl xmlns:a1611="http://schemas.microsoft.com/office/drawing/2016/11/main" r:id="rId3"/>
                    </a:ext>
                  </a:extLst>
                </a:blip>
              </a:buBlip>
              <a:defRPr/>
            </a:pPr>
            <a:r>
              <a:rPr lang="en-US" sz="1400" b="1">
                <a:latin typeface="Calibri"/>
                <a:cs typeface="Calibri"/>
              </a:rPr>
              <a:t>RC 1 (Bronze) Code Freeze</a:t>
            </a:r>
            <a:r>
              <a:rPr kumimoji="0" lang="en-US" sz="1400" b="1" i="0" u="none" strike="noStrike" kern="1200" cap="none" spc="0" normalizeH="0" baseline="0" noProof="0">
                <a:ln>
                  <a:noFill/>
                </a:ln>
                <a:effectLst/>
                <a:uLnTx/>
                <a:uFillTx/>
                <a:latin typeface="Calibri"/>
                <a:cs typeface="Calibri"/>
              </a:rPr>
              <a:t>: </a:t>
            </a:r>
            <a:r>
              <a:rPr lang="en-US" sz="1400" b="1">
                <a:latin typeface="Calibri"/>
                <a:cs typeface="Calibri"/>
              </a:rPr>
              <a:t>Sep 24, 2021</a:t>
            </a:r>
            <a:r>
              <a:rPr kumimoji="0" lang="en-US" sz="1400" i="0" u="none" strike="noStrike" kern="1200" cap="none" spc="0" normalizeH="0" baseline="0" noProof="0">
                <a:ln>
                  <a:noFill/>
                </a:ln>
                <a:effectLst/>
                <a:uLnTx/>
                <a:uFillTx/>
                <a:latin typeface="Calibri"/>
                <a:cs typeface="Calibri"/>
              </a:rPr>
              <a:t>; </a:t>
            </a:r>
            <a:r>
              <a:rPr lang="en-US" sz="1400">
                <a:latin typeface="Calibri"/>
                <a:cs typeface="Calibri"/>
              </a:rPr>
              <a:t>only P1/P2 defects post</a:t>
            </a:r>
            <a:endParaRPr lang="en-US" sz="1400" i="0" u="none" strike="noStrike" kern="1200" cap="none" spc="0" normalizeH="0" baseline="0" noProof="0">
              <a:ln>
                <a:noFill/>
              </a:ln>
              <a:effectLst/>
              <a:uLnTx/>
              <a:uFillTx/>
              <a:latin typeface="Calibri"/>
              <a:cs typeface="Calibri"/>
            </a:endParaRPr>
          </a:p>
          <a:p>
            <a:pPr marL="742950" indent="-285750" defTabSz="457200">
              <a:lnSpc>
                <a:spcPct val="150000"/>
              </a:lnSpc>
              <a:buFont typeface="Arial"/>
              <a:buBlip>
                <a:blip r:embed="rId2">
                  <a:extLst>
                    <a:ext uri="{837473B0-CC2E-450A-ABE3-18F120FF3D39}">
                      <a1611:picAttrSrcUrl xmlns:a1611="http://schemas.microsoft.com/office/drawing/2016/11/main" r:id="rId3"/>
                    </a:ext>
                  </a:extLst>
                </a:blip>
              </a:buBlip>
              <a:defRPr/>
            </a:pPr>
            <a:r>
              <a:rPr lang="en-US" sz="1400">
                <a:latin typeface="Calibri"/>
                <a:cs typeface="Calibri"/>
              </a:rPr>
              <a:t>Regression, Performance, Backward Compatibility, China, Integration, PEN – Start Sep 27, 2021 </a:t>
            </a:r>
            <a:endParaRPr lang="en-US" sz="1400">
              <a:ea typeface="+mn-lt"/>
              <a:cs typeface="+mn-lt"/>
            </a:endParaRPr>
          </a:p>
          <a:p>
            <a:pPr marL="105410" indent="-257175" defTabSz="457200">
              <a:lnSpc>
                <a:spcPct val="150000"/>
              </a:lnSpc>
              <a:buBlip>
                <a:blip r:embed="rId2">
                  <a:extLst>
                    <a:ext uri="{837473B0-CC2E-450A-ABE3-18F120FF3D39}">
                      <a1611:picAttrSrcUrl xmlns:a1611="http://schemas.microsoft.com/office/drawing/2016/11/main" r:id="rId3"/>
                    </a:ext>
                  </a:extLst>
                </a:blip>
              </a:buBlip>
              <a:defRPr/>
            </a:pPr>
            <a:r>
              <a:rPr lang="en-US" sz="1400" b="1">
                <a:latin typeface="Calibri"/>
                <a:cs typeface="Calibri"/>
              </a:rPr>
              <a:t>RC 2 (Silver) Code Freeze:  8 October, 2021</a:t>
            </a:r>
            <a:r>
              <a:rPr lang="en-US" sz="1400">
                <a:latin typeface="Calibri"/>
                <a:cs typeface="Calibri"/>
              </a:rPr>
              <a:t>; only showstoppers P1 post</a:t>
            </a:r>
          </a:p>
          <a:p>
            <a:pPr marL="257175" indent="-257175" defTabSz="457200">
              <a:lnSpc>
                <a:spcPct val="150000"/>
              </a:lnSpc>
              <a:buBlip>
                <a:blip r:embed="rId2">
                  <a:extLst>
                    <a:ext uri="{837473B0-CC2E-450A-ABE3-18F120FF3D39}">
                      <a1611:picAttrSrcUrl xmlns:a1611="http://schemas.microsoft.com/office/drawing/2016/11/main" r:id="rId3"/>
                    </a:ext>
                  </a:extLst>
                </a:blip>
              </a:buBlip>
              <a:defRPr/>
            </a:pPr>
            <a:r>
              <a:rPr lang="en-US" sz="1400">
                <a:solidFill>
                  <a:srgbClr val="FF0000"/>
                </a:solidFill>
                <a:highlight>
                  <a:srgbClr val="FFFF00"/>
                </a:highlight>
                <a:latin typeface="Calibri"/>
                <a:cs typeface="Calibri"/>
              </a:rPr>
              <a:t>UAT – Week of 11 October 2021 </a:t>
            </a:r>
          </a:p>
          <a:p>
            <a:pPr marL="257175" indent="-257175" defTabSz="457200">
              <a:lnSpc>
                <a:spcPct val="150000"/>
              </a:lnSpc>
              <a:buBlip>
                <a:blip r:embed="rId2">
                  <a:extLst>
                    <a:ext uri="{837473B0-CC2E-450A-ABE3-18F120FF3D39}">
                      <a1611:picAttrSrcUrl xmlns:a1611="http://schemas.microsoft.com/office/drawing/2016/11/main" r:id="rId3"/>
                    </a:ext>
                  </a:extLst>
                </a:blip>
              </a:buBlip>
              <a:defRPr/>
            </a:pPr>
            <a:r>
              <a:rPr kumimoji="0" lang="en-US" sz="1400" b="1" i="0" u="none" strike="noStrike" kern="1200" cap="none" spc="0" normalizeH="0" baseline="0" noProof="0">
                <a:ln>
                  <a:noFill/>
                </a:ln>
                <a:solidFill>
                  <a:srgbClr val="FF0000"/>
                </a:solidFill>
                <a:effectLst/>
                <a:uLnTx/>
                <a:uFillTx/>
                <a:latin typeface="Calibri"/>
                <a:cs typeface="Calibri"/>
              </a:rPr>
              <a:t>Gold Code: 29 Oct </a:t>
            </a:r>
            <a:r>
              <a:rPr lang="en-US" sz="1400" b="1">
                <a:solidFill>
                  <a:srgbClr val="FF0000"/>
                </a:solidFill>
                <a:latin typeface="Calibri"/>
                <a:cs typeface="Calibri"/>
              </a:rPr>
              <a:t>2021</a:t>
            </a:r>
            <a:r>
              <a:rPr lang="en-US" sz="1400">
                <a:solidFill>
                  <a:srgbClr val="FF0000"/>
                </a:solidFill>
                <a:latin typeface="Calibri"/>
                <a:cs typeface="Calibri"/>
              </a:rPr>
              <a:t>;</a:t>
            </a:r>
            <a:r>
              <a:rPr lang="en-US" sz="1400">
                <a:latin typeface="Calibri"/>
                <a:cs typeface="Calibri"/>
              </a:rPr>
              <a:t> Gold Code=Ready for Staging</a:t>
            </a:r>
            <a:endParaRPr lang="en-US" sz="1400" i="0" u="none" strike="noStrike" kern="1200" cap="none" spc="0" normalizeH="0" baseline="0" noProof="0">
              <a:ln>
                <a:noFill/>
              </a:ln>
              <a:effectLst/>
              <a:uLnTx/>
              <a:uFillTx/>
              <a:latin typeface="Calibri"/>
              <a:cs typeface="Calibri"/>
            </a:endParaRPr>
          </a:p>
          <a:p>
            <a:pPr marL="257175" indent="-257175" defTabSz="457200">
              <a:lnSpc>
                <a:spcPct val="150000"/>
              </a:lnSpc>
              <a:buBlip>
                <a:blip r:embed="rId2">
                  <a:extLst>
                    <a:ext uri="{837473B0-CC2E-450A-ABE3-18F120FF3D39}">
                      <a1611:picAttrSrcUrl xmlns:a1611="http://schemas.microsoft.com/office/drawing/2016/11/main" r:id="rId3"/>
                    </a:ext>
                  </a:extLst>
                </a:blip>
              </a:buBlip>
              <a:defRPr/>
            </a:pPr>
            <a:r>
              <a:rPr kumimoji="0" lang="en-US" sz="1400" i="0" u="none" strike="noStrike" kern="1200" cap="none" spc="0" normalizeH="0" baseline="0" noProof="0">
                <a:ln>
                  <a:noFill/>
                </a:ln>
                <a:effectLst/>
                <a:uLnTx/>
                <a:uFillTx/>
                <a:latin typeface="Calibri"/>
                <a:cs typeface="Calibri"/>
              </a:rPr>
              <a:t>Production Deployment:</a:t>
            </a:r>
            <a:r>
              <a:rPr lang="en-US" sz="1400">
                <a:latin typeface="Calibri"/>
                <a:cs typeface="Calibri"/>
              </a:rPr>
              <a:t> </a:t>
            </a:r>
          </a:p>
          <a:p>
            <a:pPr marL="866140" lvl="1" indent="-257175" defTabSz="457200">
              <a:lnSpc>
                <a:spcPct val="150000"/>
              </a:lnSpc>
              <a:buBlip>
                <a:blip r:embed="rId2">
                  <a:extLst>
                    <a:ext uri="{837473B0-CC2E-450A-ABE3-18F120FF3D39}">
                      <a1611:picAttrSrcUrl xmlns:a1611="http://schemas.microsoft.com/office/drawing/2016/11/main" r:id="rId3"/>
                    </a:ext>
                  </a:extLst>
                </a:blip>
              </a:buBlip>
              <a:defRPr/>
            </a:pPr>
            <a:r>
              <a:rPr lang="en-US" sz="1400">
                <a:latin typeface="Calibri"/>
                <a:cs typeface="Calibri"/>
              </a:rPr>
              <a:t>Nov 13 for AO</a:t>
            </a:r>
            <a:endParaRPr lang="en-US">
              <a:ea typeface="Verdana"/>
            </a:endParaRPr>
          </a:p>
          <a:p>
            <a:pPr marL="257175" indent="-257175" defTabSz="457200">
              <a:lnSpc>
                <a:spcPct val="150000"/>
              </a:lnSpc>
              <a:buBlip>
                <a:blip r:embed="rId2">
                  <a:extLst>
                    <a:ext uri="{837473B0-CC2E-450A-ABE3-18F120FF3D39}">
                      <a1611:picAttrSrcUrl xmlns:a1611="http://schemas.microsoft.com/office/drawing/2016/11/main" r:id="rId3"/>
                    </a:ext>
                  </a:extLst>
                </a:blip>
              </a:buBlip>
              <a:defRPr/>
            </a:pPr>
            <a:r>
              <a:rPr kumimoji="0" lang="en-US" sz="1400" i="0" u="none" strike="noStrike" kern="1200" cap="none" spc="0" normalizeH="0" baseline="0" noProof="0">
                <a:ln>
                  <a:noFill/>
                </a:ln>
                <a:effectLst/>
                <a:uLnTx/>
                <a:uFillTx/>
                <a:latin typeface="Calibri"/>
                <a:cs typeface="Calibri"/>
              </a:rPr>
              <a:t>Innovation Sprint: Sprint </a:t>
            </a:r>
            <a:r>
              <a:rPr lang="en-US" sz="1400">
                <a:latin typeface="Calibri"/>
                <a:cs typeface="Calibri"/>
              </a:rPr>
              <a:t>91</a:t>
            </a:r>
            <a:r>
              <a:rPr kumimoji="0" lang="en-US" sz="1400" i="0" u="none" strike="noStrike" kern="1200" cap="none" spc="0" normalizeH="0" baseline="0" noProof="0">
                <a:ln>
                  <a:noFill/>
                </a:ln>
                <a:effectLst/>
                <a:uLnTx/>
                <a:uFillTx/>
                <a:latin typeface="Calibri"/>
                <a:cs typeface="Calibri"/>
              </a:rPr>
              <a:t>; begins </a:t>
            </a:r>
            <a:r>
              <a:rPr lang="en-US" sz="1400">
                <a:latin typeface="Calibri"/>
                <a:cs typeface="Calibri"/>
              </a:rPr>
              <a:t>27 October 2021</a:t>
            </a:r>
            <a:endParaRPr lang="en-US" sz="1400" i="0" u="none" strike="noStrike" kern="1200" cap="none" spc="0" normalizeH="0" baseline="0" noProof="0">
              <a:ln>
                <a:noFill/>
              </a:ln>
              <a:effectLst/>
              <a:uLnTx/>
              <a:uFillTx/>
              <a:latin typeface="Calibri"/>
              <a:cs typeface="Calibri"/>
            </a:endParaRPr>
          </a:p>
          <a:p>
            <a:pPr marL="257175" indent="-257175" defTabSz="457200">
              <a:lnSpc>
                <a:spcPct val="150000"/>
              </a:lnSpc>
              <a:buBlip>
                <a:blip r:embed="rId2">
                  <a:extLst>
                    <a:ext uri="{837473B0-CC2E-450A-ABE3-18F120FF3D39}">
                      <a1611:picAttrSrcUrl xmlns:a1611="http://schemas.microsoft.com/office/drawing/2016/11/main" r:id="rId3"/>
                    </a:ext>
                  </a:extLst>
                </a:blip>
              </a:buBlip>
              <a:defRPr/>
            </a:pPr>
            <a:r>
              <a:rPr kumimoji="0" lang="en-US" sz="1400" i="0" u="none" strike="noStrike" kern="1200" cap="none" spc="0" normalizeH="0" baseline="0" noProof="0">
                <a:ln>
                  <a:noFill/>
                </a:ln>
                <a:effectLst/>
                <a:uLnTx/>
                <a:uFillTx/>
                <a:latin typeface="Calibri"/>
                <a:cs typeface="Calibri"/>
              </a:rPr>
              <a:t>PI Planning for </a:t>
            </a:r>
            <a:r>
              <a:rPr lang="en-US" sz="1400">
                <a:latin typeface="Calibri"/>
                <a:cs typeface="Calibri"/>
              </a:rPr>
              <a:t>Nov</a:t>
            </a:r>
            <a:r>
              <a:rPr kumimoji="0" lang="en-US" sz="1400" i="0" u="none" strike="noStrike" kern="1200" cap="none" spc="0" normalizeH="0" baseline="0" noProof="0">
                <a:ln>
                  <a:noFill/>
                </a:ln>
                <a:effectLst/>
                <a:uLnTx/>
                <a:uFillTx/>
                <a:latin typeface="Calibri"/>
                <a:cs typeface="Calibri"/>
              </a:rPr>
              <a:t> PI</a:t>
            </a:r>
            <a:r>
              <a:rPr lang="en-US" sz="1400">
                <a:latin typeface="Calibri"/>
                <a:cs typeface="Calibri"/>
              </a:rPr>
              <a:t>: </a:t>
            </a:r>
            <a:r>
              <a:rPr kumimoji="0" lang="en-US" sz="1400" i="0" u="none" strike="noStrike" kern="1200" cap="none" spc="0" normalizeH="0" baseline="0" noProof="0">
                <a:ln>
                  <a:noFill/>
                </a:ln>
                <a:effectLst/>
                <a:uLnTx/>
                <a:uFillTx/>
                <a:latin typeface="Calibri"/>
                <a:cs typeface="Calibri"/>
              </a:rPr>
              <a:t> (Nov 9 - 11, 2021)</a:t>
            </a:r>
            <a:endParaRPr lang="en-US" sz="1400" i="0" u="none" strike="noStrike" kern="1200" cap="none" spc="0" normalizeH="0" baseline="0" noProof="0">
              <a:ln>
                <a:noFill/>
              </a:ln>
              <a:effectLst/>
              <a:uLnTx/>
              <a:uFillTx/>
              <a:latin typeface="Calibri"/>
              <a:cs typeface="Calibri"/>
            </a:endParaRPr>
          </a:p>
          <a:p>
            <a:pPr marL="257175" indent="-257175" defTabSz="457200">
              <a:lnSpc>
                <a:spcPct val="150000"/>
              </a:lnSpc>
              <a:buBlip>
                <a:blip r:embed="rId2">
                  <a:extLst>
                    <a:ext uri="{837473B0-CC2E-450A-ABE3-18F120FF3D39}">
                      <a1611:picAttrSrcUrl xmlns:a1611="http://schemas.microsoft.com/office/drawing/2016/11/main" r:id="rId3"/>
                    </a:ext>
                  </a:extLst>
                </a:blip>
              </a:buBlip>
              <a:defRPr/>
            </a:pPr>
            <a:r>
              <a:rPr kumimoji="0" lang="en-US" sz="1400" i="0" u="none" strike="noStrike" kern="1200" cap="none" spc="0" normalizeH="0" baseline="0" noProof="0">
                <a:ln>
                  <a:noFill/>
                </a:ln>
                <a:effectLst/>
                <a:uLnTx/>
                <a:uFillTx/>
                <a:latin typeface="Calibri"/>
                <a:cs typeface="Calibri"/>
              </a:rPr>
              <a:t>Start next release on Nov 17</a:t>
            </a:r>
            <a:r>
              <a:rPr lang="en-US" sz="1400">
                <a:latin typeface="Calibri"/>
                <a:cs typeface="Calibri"/>
              </a:rPr>
              <a:t> </a:t>
            </a:r>
            <a:r>
              <a:rPr kumimoji="0" lang="en-US" sz="1400" i="0" u="none" strike="noStrike" kern="1200" cap="none" spc="0" normalizeH="0" baseline="0" noProof="0">
                <a:ln>
                  <a:noFill/>
                </a:ln>
                <a:effectLst/>
                <a:uLnTx/>
                <a:uFillTx/>
                <a:latin typeface="Calibri"/>
                <a:cs typeface="Calibri"/>
              </a:rPr>
              <a:t>(</a:t>
            </a:r>
            <a:r>
              <a:rPr lang="en-US" sz="1400">
                <a:latin typeface="Calibri"/>
                <a:cs typeface="Calibri"/>
              </a:rPr>
              <a:t>March </a:t>
            </a:r>
            <a:r>
              <a:rPr kumimoji="0" lang="en-US" sz="1400" i="0" u="none" strike="noStrike" kern="1200" cap="none" spc="0" normalizeH="0" baseline="0" noProof="0">
                <a:ln>
                  <a:noFill/>
                </a:ln>
                <a:effectLst/>
                <a:uLnTx/>
                <a:uFillTx/>
                <a:latin typeface="Calibri"/>
                <a:cs typeface="Calibri"/>
              </a:rPr>
              <a:t>2022 release)</a:t>
            </a:r>
            <a:endParaRPr lang="en-US" sz="1400" i="0" u="none" strike="noStrike" kern="1200" cap="none" spc="0" normalizeH="0" baseline="0" noProof="0">
              <a:ln>
                <a:noFill/>
              </a:ln>
              <a:effectLst/>
              <a:uLnTx/>
              <a:uFillTx/>
              <a:latin typeface="Calibri"/>
              <a:cs typeface="Calibri"/>
            </a:endParaRPr>
          </a:p>
        </p:txBody>
      </p:sp>
      <p:sp>
        <p:nvSpPr>
          <p:cNvPr id="6" name="TextBox 5">
            <a:extLst>
              <a:ext uri="{FF2B5EF4-FFF2-40B4-BE49-F238E27FC236}">
                <a16:creationId xmlns:a16="http://schemas.microsoft.com/office/drawing/2014/main" id="{41712EE9-2920-4875-B348-8A4168F5AC30}"/>
              </a:ext>
            </a:extLst>
          </p:cNvPr>
          <p:cNvSpPr txBox="1"/>
          <p:nvPr/>
        </p:nvSpPr>
        <p:spPr>
          <a:xfrm>
            <a:off x="6867950" y="245143"/>
            <a:ext cx="4931731" cy="11849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endParaRPr lang="en-US" sz="1200"/>
          </a:p>
          <a:p>
            <a:pPr>
              <a:spcBef>
                <a:spcPts val="200"/>
              </a:spcBef>
              <a:buSzPct val="100000"/>
            </a:pPr>
            <a:r>
              <a:rPr lang="en-US" sz="1200">
                <a:solidFill>
                  <a:srgbClr val="FF0000"/>
                </a:solidFill>
              </a:rPr>
              <a:t>*</a:t>
            </a:r>
            <a:r>
              <a:rPr lang="en-US" sz="1200"/>
              <a:t>This is for products releasing around end of PI.  For those not releasing in November, your Code Freeze dates and UAT may differ.  Please confirm with your SM/DL/TL for schedule.</a:t>
            </a:r>
          </a:p>
          <a:p>
            <a:pPr>
              <a:spcBef>
                <a:spcPts val="200"/>
              </a:spcBef>
              <a:buSzPct val="100000"/>
            </a:pPr>
            <a:endParaRPr lang="en-US" sz="1200"/>
          </a:p>
          <a:p>
            <a:pPr>
              <a:spcBef>
                <a:spcPts val="200"/>
              </a:spcBef>
              <a:buSzPct val="100000"/>
            </a:pPr>
            <a:endParaRPr lang="en-US" sz="1200"/>
          </a:p>
        </p:txBody>
      </p:sp>
      <p:sp>
        <p:nvSpPr>
          <p:cNvPr id="2" name="AutoShape 2">
            <a:extLst>
              <a:ext uri="{FF2B5EF4-FFF2-40B4-BE49-F238E27FC236}">
                <a16:creationId xmlns:a16="http://schemas.microsoft.com/office/drawing/2014/main" id="{6E81900C-A12B-44A5-96B6-40D4B89D56B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a:extLst>
              <a:ext uri="{FF2B5EF4-FFF2-40B4-BE49-F238E27FC236}">
                <a16:creationId xmlns:a16="http://schemas.microsoft.com/office/drawing/2014/main" id="{AA0A4519-B1B6-470F-882D-0007F3A9A971}"/>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60920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D8F2493-A0C4-4740-A16F-E066BC79CDD8}"/>
              </a:ext>
            </a:extLst>
          </p:cNvPr>
          <p:cNvGraphicFramePr>
            <a:graphicFrameLocks noGrp="1"/>
          </p:cNvGraphicFramePr>
          <p:nvPr>
            <p:extLst>
              <p:ext uri="{D42A27DB-BD31-4B8C-83A1-F6EECF244321}">
                <p14:modId xmlns:p14="http://schemas.microsoft.com/office/powerpoint/2010/main" val="327278915"/>
              </p:ext>
            </p:extLst>
          </p:nvPr>
        </p:nvGraphicFramePr>
        <p:xfrm>
          <a:off x="250506" y="469779"/>
          <a:ext cx="11371623" cy="5989362"/>
        </p:xfrm>
        <a:graphic>
          <a:graphicData uri="http://schemas.openxmlformats.org/drawingml/2006/table">
            <a:tbl>
              <a:tblPr firstRow="1" bandRow="1">
                <a:tableStyleId>{5C22544A-7EE6-4342-B048-85BDC9FD1C3A}</a:tableStyleId>
              </a:tblPr>
              <a:tblGrid>
                <a:gridCol w="2158211">
                  <a:extLst>
                    <a:ext uri="{9D8B030D-6E8A-4147-A177-3AD203B41FA5}">
                      <a16:colId xmlns:a16="http://schemas.microsoft.com/office/drawing/2014/main" val="2708236959"/>
                    </a:ext>
                  </a:extLst>
                </a:gridCol>
                <a:gridCol w="2303396">
                  <a:extLst>
                    <a:ext uri="{9D8B030D-6E8A-4147-A177-3AD203B41FA5}">
                      <a16:colId xmlns:a16="http://schemas.microsoft.com/office/drawing/2014/main" val="3048015322"/>
                    </a:ext>
                  </a:extLst>
                </a:gridCol>
                <a:gridCol w="2303340">
                  <a:extLst>
                    <a:ext uri="{9D8B030D-6E8A-4147-A177-3AD203B41FA5}">
                      <a16:colId xmlns:a16="http://schemas.microsoft.com/office/drawing/2014/main" val="4246004394"/>
                    </a:ext>
                  </a:extLst>
                </a:gridCol>
                <a:gridCol w="2558853">
                  <a:extLst>
                    <a:ext uri="{9D8B030D-6E8A-4147-A177-3AD203B41FA5}">
                      <a16:colId xmlns:a16="http://schemas.microsoft.com/office/drawing/2014/main" val="2184019199"/>
                    </a:ext>
                  </a:extLst>
                </a:gridCol>
                <a:gridCol w="2047823">
                  <a:extLst>
                    <a:ext uri="{9D8B030D-6E8A-4147-A177-3AD203B41FA5}">
                      <a16:colId xmlns:a16="http://schemas.microsoft.com/office/drawing/2014/main" val="1212563153"/>
                    </a:ext>
                  </a:extLst>
                </a:gridCol>
              </a:tblGrid>
              <a:tr h="300691">
                <a:tc>
                  <a:txBody>
                    <a:bodyPr/>
                    <a:lstStyle/>
                    <a:p>
                      <a:r>
                        <a:rPr lang="en-US" sz="1400">
                          <a:solidFill>
                            <a:schemeClr val="tx1"/>
                          </a:solidFill>
                          <a:latin typeface="Open Sans"/>
                          <a:ea typeface="Open Sans"/>
                          <a:cs typeface="Open Sans"/>
                        </a:rPr>
                        <a:t>Iteration #</a:t>
                      </a:r>
                    </a:p>
                  </a:txBody>
                  <a:tcPr marT="45721" marB="45721">
                    <a:solidFill>
                      <a:schemeClr val="accent1"/>
                    </a:solidFill>
                  </a:tcPr>
                </a:tc>
                <a:tc>
                  <a:txBody>
                    <a:bodyPr/>
                    <a:lstStyle/>
                    <a:p>
                      <a:pPr marL="0" algn="l" defTabSz="914400" rtl="0" eaLnBrk="1" latinLnBrk="0" hangingPunct="1"/>
                      <a:r>
                        <a:rPr lang="en-US" sz="1400" b="1" kern="1200">
                          <a:solidFill>
                            <a:schemeClr val="tx1"/>
                          </a:solidFill>
                          <a:latin typeface="Open Sans"/>
                          <a:ea typeface="Open Sans"/>
                          <a:cs typeface="Open Sans"/>
                        </a:rPr>
                        <a:t>Start Date</a:t>
                      </a:r>
                    </a:p>
                  </a:txBody>
                  <a:tcPr marT="45721" marB="45721">
                    <a:solidFill>
                      <a:schemeClr val="accent1"/>
                    </a:solidFill>
                  </a:tcPr>
                </a:tc>
                <a:tc>
                  <a:txBody>
                    <a:bodyPr/>
                    <a:lstStyle/>
                    <a:p>
                      <a:pPr marL="0" algn="l" defTabSz="914400" rtl="0" eaLnBrk="1" latinLnBrk="0" hangingPunct="1"/>
                      <a:r>
                        <a:rPr lang="en-US" sz="1400" b="1" kern="1200">
                          <a:solidFill>
                            <a:schemeClr val="tx1"/>
                          </a:solidFill>
                          <a:latin typeface="Open Sans"/>
                          <a:ea typeface="Open Sans"/>
                          <a:cs typeface="Open Sans"/>
                        </a:rPr>
                        <a:t>Finish Date</a:t>
                      </a:r>
                    </a:p>
                  </a:txBody>
                  <a:tcPr marT="45721" marB="45721">
                    <a:solidFill>
                      <a:schemeClr val="accent1"/>
                    </a:solidFill>
                  </a:tcPr>
                </a:tc>
                <a:tc>
                  <a:txBody>
                    <a:bodyPr/>
                    <a:lstStyle/>
                    <a:p>
                      <a:r>
                        <a:rPr lang="en-US" sz="1400">
                          <a:latin typeface="Open Sans"/>
                          <a:ea typeface="Open Sans"/>
                          <a:cs typeface="Open Sans"/>
                        </a:rPr>
                        <a:t> </a:t>
                      </a:r>
                      <a:r>
                        <a:rPr lang="en-US" sz="1400" b="1" kern="1200">
                          <a:solidFill>
                            <a:schemeClr val="tx1"/>
                          </a:solidFill>
                          <a:latin typeface="Open Sans"/>
                          <a:ea typeface="Open Sans"/>
                          <a:cs typeface="Open Sans"/>
                        </a:rPr>
                        <a:t>Release Date</a:t>
                      </a:r>
                    </a:p>
                  </a:txBody>
                  <a:tcPr marT="45721" marB="45721">
                    <a:solidFill>
                      <a:schemeClr val="accent1"/>
                    </a:solidFill>
                  </a:tcPr>
                </a:tc>
                <a:tc>
                  <a:txBody>
                    <a:bodyPr/>
                    <a:lstStyle/>
                    <a:p>
                      <a:pPr marL="0" algn="l" defTabSz="914400" rtl="0" eaLnBrk="1" latinLnBrk="0" hangingPunct="1"/>
                      <a:r>
                        <a:rPr lang="en-US" sz="1400" b="1" kern="1200">
                          <a:solidFill>
                            <a:schemeClr val="tx1"/>
                          </a:solidFill>
                          <a:latin typeface="Open Sans"/>
                          <a:ea typeface="Open Sans"/>
                          <a:cs typeface="Open Sans"/>
                        </a:rPr>
                        <a:t>PI Planning</a:t>
                      </a:r>
                    </a:p>
                  </a:txBody>
                  <a:tcPr marT="45721" marB="45721">
                    <a:solidFill>
                      <a:schemeClr val="accent1"/>
                    </a:solidFill>
                  </a:tcPr>
                </a:tc>
                <a:extLst>
                  <a:ext uri="{0D108BD9-81ED-4DB2-BD59-A6C34878D82A}">
                    <a16:rowId xmlns:a16="http://schemas.microsoft.com/office/drawing/2014/main" val="3882083586"/>
                  </a:ext>
                </a:extLst>
              </a:tr>
              <a:tr h="248396">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extLst>
                  <a:ext uri="{0D108BD9-81ED-4DB2-BD59-A6C34878D82A}">
                    <a16:rowId xmlns:a16="http://schemas.microsoft.com/office/drawing/2014/main" val="1697422921"/>
                  </a:ext>
                </a:extLst>
              </a:tr>
              <a:tr h="248396">
                <a:tc>
                  <a:txBody>
                    <a:bodyPr/>
                    <a:lstStyle/>
                    <a:p>
                      <a:pPr lvl="0">
                        <a:buNone/>
                      </a:pPr>
                      <a:r>
                        <a:rPr lang="en-US" sz="1100">
                          <a:latin typeface="Open Sans"/>
                          <a:ea typeface="Open Sans"/>
                          <a:cs typeface="Open Sans"/>
                        </a:rPr>
                        <a:t>81 - 1</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r 31, 2021</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Apr 20, 2021</a:t>
                      </a:r>
                      <a:endParaRPr lang="en-US"/>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April 1 (AQMM)</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3379062980"/>
                  </a:ext>
                </a:extLst>
              </a:tr>
              <a:tr h="248396">
                <a:tc>
                  <a:txBody>
                    <a:bodyPr/>
                    <a:lstStyle/>
                    <a:p>
                      <a:pPr lvl="0">
                        <a:buNone/>
                      </a:pPr>
                      <a:r>
                        <a:rPr lang="en-US" sz="1100">
                          <a:latin typeface="Open Sans"/>
                          <a:ea typeface="Open Sans"/>
                          <a:cs typeface="Open Sans"/>
                        </a:rPr>
                        <a:t>82  - 2</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Apr 21, 2021</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y 11, 2021</a:t>
                      </a:r>
                      <a:endParaRPr lang="en-US"/>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Apr 24 (CMS)</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1473036722"/>
                  </a:ext>
                </a:extLst>
              </a:tr>
              <a:tr h="248396">
                <a:tc>
                  <a:txBody>
                    <a:bodyPr/>
                    <a:lstStyle/>
                    <a:p>
                      <a:pPr lvl="0">
                        <a:buNone/>
                      </a:pPr>
                      <a:r>
                        <a:rPr lang="en-US" sz="1100">
                          <a:latin typeface="Open Sans"/>
                          <a:ea typeface="Open Sans"/>
                          <a:cs typeface="Open Sans"/>
                        </a:rPr>
                        <a:t>83 - 3</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y 12, 2021</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June 1, 2021</a:t>
                      </a:r>
                      <a:endParaRPr lang="en-US"/>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3450736035"/>
                  </a:ext>
                </a:extLst>
              </a:tr>
              <a:tr h="248396">
                <a:tc>
                  <a:txBody>
                    <a:bodyPr/>
                    <a:lstStyle/>
                    <a:p>
                      <a:pPr lvl="0">
                        <a:buNone/>
                      </a:pPr>
                      <a:r>
                        <a:rPr lang="en-US" sz="1100">
                          <a:latin typeface="Open Sans"/>
                          <a:ea typeface="Open Sans"/>
                          <a:cs typeface="Open Sans"/>
                        </a:rPr>
                        <a:t>84 –  Testing</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June 2, 2021</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June 22, 2021</a:t>
                      </a:r>
                      <a:endParaRPr lang="en-US"/>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3490382453"/>
                  </a:ext>
                </a:extLst>
              </a:tr>
              <a:tr h="357336">
                <a:tc>
                  <a:txBody>
                    <a:bodyPr/>
                    <a:lstStyle/>
                    <a:p>
                      <a:pPr lvl="0">
                        <a:buNone/>
                      </a:pPr>
                      <a:r>
                        <a:rPr lang="en-US" sz="1100">
                          <a:latin typeface="Open Sans"/>
                          <a:ea typeface="Open Sans"/>
                          <a:cs typeface="Open Sans"/>
                        </a:rPr>
                        <a:t>85 - IP</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June 23, 2021</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July 13, 2021</a:t>
                      </a:r>
                      <a:endParaRPr lang="en-US"/>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July 17, 2021 (Audit Online &amp; DAD) </a:t>
                      </a:r>
                      <a:endParaRPr lang="en-US">
                        <a:ea typeface="Open Sans"/>
                        <a:cs typeface="Open Sans"/>
                      </a:endParaRPr>
                    </a:p>
                    <a:p>
                      <a:pPr lvl="0">
                        <a:buNone/>
                      </a:pPr>
                      <a:r>
                        <a:rPr lang="en-US" sz="1100">
                          <a:latin typeface="Open Sans"/>
                          <a:ea typeface="Open Sans"/>
                          <a:cs typeface="Open Sans"/>
                        </a:rPr>
                        <a:t>July 9 (AQMM)</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PI 6 - July 13 - 15, 2021</a:t>
                      </a:r>
                    </a:p>
                  </a:txBody>
                  <a:tcPr marT="45721" marB="45721" anchor="ctr">
                    <a:solidFill>
                      <a:schemeClr val="accent1">
                        <a:lumMod val="20000"/>
                        <a:lumOff val="80000"/>
                      </a:schemeClr>
                    </a:solidFill>
                  </a:tcPr>
                </a:tc>
                <a:extLst>
                  <a:ext uri="{0D108BD9-81ED-4DB2-BD59-A6C34878D82A}">
                    <a16:rowId xmlns:a16="http://schemas.microsoft.com/office/drawing/2014/main" val="1756070128"/>
                  </a:ext>
                </a:extLst>
              </a:tr>
              <a:tr h="248396">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596681562"/>
                  </a:ext>
                </a:extLst>
              </a:tr>
              <a:tr h="248396">
                <a:tc>
                  <a:txBody>
                    <a:bodyPr/>
                    <a:lstStyle/>
                    <a:p>
                      <a:pPr lvl="0">
                        <a:buNone/>
                      </a:pPr>
                      <a:r>
                        <a:rPr lang="en-US" sz="1100">
                          <a:latin typeface="Open Sans"/>
                          <a:ea typeface="Open Sans"/>
                          <a:cs typeface="Open Sans"/>
                        </a:rPr>
                        <a:t>86 – 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July 14, 202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Aug 3, 2021</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89428000"/>
                  </a:ext>
                </a:extLst>
              </a:tr>
              <a:tr h="248396">
                <a:tc>
                  <a:txBody>
                    <a:bodyPr/>
                    <a:lstStyle/>
                    <a:p>
                      <a:pPr lvl="0">
                        <a:buNone/>
                      </a:pPr>
                      <a:r>
                        <a:rPr lang="en-US" sz="1100">
                          <a:latin typeface="Open Sans"/>
                          <a:ea typeface="Open Sans"/>
                          <a:cs typeface="Open Sans"/>
                        </a:rPr>
                        <a:t>87 – 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Aug 4, 202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Aug 24, 2021</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929313035"/>
                  </a:ext>
                </a:extLst>
              </a:tr>
              <a:tr h="248396">
                <a:tc>
                  <a:txBody>
                    <a:bodyPr/>
                    <a:lstStyle/>
                    <a:p>
                      <a:pPr lvl="0">
                        <a:buNone/>
                      </a:pPr>
                      <a:r>
                        <a:rPr lang="en-US" sz="1100">
                          <a:latin typeface="Open Sans"/>
                          <a:ea typeface="Open Sans"/>
                          <a:cs typeface="Open Sans"/>
                        </a:rPr>
                        <a:t>88 – 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Aug 25, 202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Sep 14, 2021</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741992201"/>
                  </a:ext>
                </a:extLst>
              </a:tr>
              <a:tr h="248396">
                <a:tc>
                  <a:txBody>
                    <a:bodyPr/>
                    <a:lstStyle/>
                    <a:p>
                      <a:pPr lvl="0">
                        <a:buNone/>
                      </a:pPr>
                      <a:r>
                        <a:rPr lang="en-US" sz="1100">
                          <a:latin typeface="Open Sans"/>
                          <a:ea typeface="Open Sans"/>
                          <a:cs typeface="Open Sans"/>
                        </a:rPr>
                        <a:t>89 - 4</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Sep 15, 202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Oct 5, 202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EMS)</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989826033"/>
                  </a:ext>
                </a:extLst>
              </a:tr>
              <a:tr h="248396">
                <a:tc>
                  <a:txBody>
                    <a:bodyPr/>
                    <a:lstStyle/>
                    <a:p>
                      <a:pPr lvl="0">
                        <a:buNone/>
                      </a:pPr>
                      <a:r>
                        <a:rPr lang="en-US" sz="1100">
                          <a:latin typeface="Open Sans"/>
                          <a:ea typeface="Open Sans"/>
                          <a:cs typeface="Open Sans"/>
                        </a:rPr>
                        <a:t>90 – Testing</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Oct 6, 2021 </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Oct 26, 2021</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1563862988"/>
                  </a:ext>
                </a:extLst>
              </a:tr>
              <a:tr h="248396">
                <a:tc>
                  <a:txBody>
                    <a:bodyPr/>
                    <a:lstStyle/>
                    <a:p>
                      <a:pPr lvl="0">
                        <a:buNone/>
                      </a:pPr>
                      <a:r>
                        <a:rPr lang="en-US" sz="1100">
                          <a:latin typeface="Open Sans"/>
                          <a:ea typeface="Open Sans"/>
                          <a:cs typeface="Open Sans"/>
                        </a:rPr>
                        <a:t>91 – IP</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Oct 27, 202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Nov 16, 202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Nov 13, 2021 (Audit Online &amp; DAD), </a:t>
                      </a:r>
                      <a:endParaRPr lang="en-US">
                        <a:ea typeface="Open Sans"/>
                        <a:cs typeface="Open Sans"/>
                      </a:endParaRPr>
                    </a:p>
                    <a:p>
                      <a:pPr lvl="0">
                        <a:buNone/>
                      </a:pPr>
                      <a:r>
                        <a:rPr lang="en-US" sz="1100">
                          <a:latin typeface="Open Sans"/>
                          <a:ea typeface="Open Sans"/>
                          <a:cs typeface="Open Sans"/>
                        </a:rPr>
                        <a:t>Nov 16 (AQMM)</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PI 7 - Nov 9 – 11, 2021</a:t>
                      </a:r>
                    </a:p>
                  </a:txBody>
                  <a:tcPr marT="45721" marB="45721" anchor="ctr">
                    <a:solidFill>
                      <a:schemeClr val="accent1">
                        <a:lumMod val="20000"/>
                        <a:lumOff val="80000"/>
                      </a:schemeClr>
                    </a:solidFill>
                  </a:tcPr>
                </a:tc>
                <a:extLst>
                  <a:ext uri="{0D108BD9-81ED-4DB2-BD59-A6C34878D82A}">
                    <a16:rowId xmlns:a16="http://schemas.microsoft.com/office/drawing/2014/main" val="1819729046"/>
                  </a:ext>
                </a:extLst>
              </a:tr>
              <a:tr h="248396">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1350792167"/>
                  </a:ext>
                </a:extLst>
              </a:tr>
              <a:tr h="248396">
                <a:tc>
                  <a:txBody>
                    <a:bodyPr/>
                    <a:lstStyle/>
                    <a:p>
                      <a:pPr lvl="0">
                        <a:buNone/>
                      </a:pPr>
                      <a:r>
                        <a:rPr lang="en-US" sz="1100">
                          <a:latin typeface="Open Sans"/>
                          <a:ea typeface="Open Sans"/>
                          <a:cs typeface="Open Sans"/>
                        </a:rPr>
                        <a:t>92 – 1 </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Nov 17, 202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Dec 7, 2021</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4022432366"/>
                  </a:ext>
                </a:extLst>
              </a:tr>
              <a:tr h="248396">
                <a:tc>
                  <a:txBody>
                    <a:bodyPr/>
                    <a:lstStyle/>
                    <a:p>
                      <a:pPr lvl="0">
                        <a:buNone/>
                      </a:pPr>
                      <a:r>
                        <a:rPr lang="en-US" sz="1100">
                          <a:latin typeface="Open Sans"/>
                          <a:ea typeface="Open Sans"/>
                          <a:cs typeface="Open Sans"/>
                        </a:rPr>
                        <a:t>93 – 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Dec 8, 202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Dec 28, 2021</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981900359"/>
                  </a:ext>
                </a:extLst>
              </a:tr>
              <a:tr h="248396">
                <a:tc>
                  <a:txBody>
                    <a:bodyPr/>
                    <a:lstStyle/>
                    <a:p>
                      <a:pPr lvl="0">
                        <a:buNone/>
                      </a:pPr>
                      <a:r>
                        <a:rPr lang="en-US" sz="1100">
                          <a:latin typeface="Open Sans"/>
                          <a:ea typeface="Open Sans"/>
                          <a:cs typeface="Open Sans"/>
                        </a:rPr>
                        <a:t>94 – 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Dec 29, 202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Jan 18, 2022</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3983898878"/>
                  </a:ext>
                </a:extLst>
              </a:tr>
              <a:tr h="248396">
                <a:tc>
                  <a:txBody>
                    <a:bodyPr/>
                    <a:lstStyle/>
                    <a:p>
                      <a:pPr lvl="0">
                        <a:buNone/>
                      </a:pPr>
                      <a:r>
                        <a:rPr lang="en-US" sz="1100">
                          <a:latin typeface="Open Sans"/>
                          <a:ea typeface="Open Sans"/>
                          <a:cs typeface="Open Sans"/>
                        </a:rPr>
                        <a:t>95 – 4</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Jan 19,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Feb 8, 2022</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21945070"/>
                  </a:ext>
                </a:extLst>
              </a:tr>
              <a:tr h="248396">
                <a:tc>
                  <a:txBody>
                    <a:bodyPr/>
                    <a:lstStyle/>
                    <a:p>
                      <a:pPr lvl="0">
                        <a:buNone/>
                      </a:pPr>
                      <a:r>
                        <a:rPr lang="en-US" sz="1100">
                          <a:latin typeface="Open Sans"/>
                          <a:ea typeface="Open Sans"/>
                          <a:cs typeface="Open Sans"/>
                        </a:rPr>
                        <a:t>96 – 5</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Feb 9,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Mar 1, 2022</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645958414"/>
                  </a:ext>
                </a:extLst>
              </a:tr>
              <a:tr h="248396">
                <a:tc>
                  <a:txBody>
                    <a:bodyPr/>
                    <a:lstStyle/>
                    <a:p>
                      <a:pPr lvl="0">
                        <a:buNone/>
                      </a:pPr>
                      <a:r>
                        <a:rPr lang="en-US" sz="1100">
                          <a:latin typeface="Open Sans"/>
                          <a:ea typeface="Open Sans"/>
                          <a:cs typeface="Open Sans"/>
                        </a:rPr>
                        <a:t>97 – IP</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Mar 2,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Mar 22,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Mar 18 (AQMM) (EMS)</a:t>
                      </a:r>
                      <a:br>
                        <a:rPr lang="en-US" sz="1100">
                          <a:latin typeface="Open Sans"/>
                          <a:ea typeface="Open Sans"/>
                          <a:cs typeface="Open Sans"/>
                        </a:rPr>
                      </a:br>
                      <a:r>
                        <a:rPr lang="en-US" sz="1100">
                          <a:latin typeface="Open Sans"/>
                          <a:ea typeface="Open Sans"/>
                          <a:cs typeface="Open Sans"/>
                        </a:rPr>
                        <a:t>Mar 19 (Audit Online, DER &amp; DAD)</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PI 8 - Mar 15 – 17, 2022</a:t>
                      </a:r>
                    </a:p>
                  </a:txBody>
                  <a:tcPr marT="45721" marB="45721" anchor="ctr">
                    <a:solidFill>
                      <a:schemeClr val="accent1">
                        <a:lumMod val="20000"/>
                        <a:lumOff val="80000"/>
                      </a:schemeClr>
                    </a:solidFill>
                  </a:tcPr>
                </a:tc>
                <a:extLst>
                  <a:ext uri="{0D108BD9-81ED-4DB2-BD59-A6C34878D82A}">
                    <a16:rowId xmlns:a16="http://schemas.microsoft.com/office/drawing/2014/main" val="3725588811"/>
                  </a:ext>
                </a:extLst>
              </a:tr>
            </a:tbl>
          </a:graphicData>
        </a:graphic>
      </p:graphicFrame>
      <p:sp>
        <p:nvSpPr>
          <p:cNvPr id="5" name="Title 1">
            <a:extLst>
              <a:ext uri="{FF2B5EF4-FFF2-40B4-BE49-F238E27FC236}">
                <a16:creationId xmlns:a16="http://schemas.microsoft.com/office/drawing/2014/main" id="{D2891B24-4023-41DF-AA3B-BADB48402D05}"/>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defRPr/>
            </a:pPr>
            <a:r>
              <a:rPr lang="en-US" sz="1801" b="1">
                <a:solidFill>
                  <a:prstClr val="black"/>
                </a:solidFill>
                <a:latin typeface="Open Sans" panose="020B0606030504020204" pitchFamily="34" charset="0"/>
                <a:ea typeface="Open Sans" panose="020B0606030504020204" pitchFamily="34" charset="0"/>
                <a:cs typeface="Open Sans" panose="020B0606030504020204" pitchFamily="34" charset="0"/>
              </a:rPr>
              <a:t>Audit Transformations: </a:t>
            </a:r>
            <a:r>
              <a:rPr lang="en-US" sz="1801" b="1">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rPr>
              <a:t>PI Cadence &amp; Release Dates</a:t>
            </a:r>
          </a:p>
        </p:txBody>
      </p:sp>
    </p:spTree>
    <p:extLst>
      <p:ext uri="{BB962C8B-B14F-4D97-AF65-F5344CB8AC3E}">
        <p14:creationId xmlns:p14="http://schemas.microsoft.com/office/powerpoint/2010/main" val="226965821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D8F2493-A0C4-4740-A16F-E066BC79CDD8}"/>
              </a:ext>
            </a:extLst>
          </p:cNvPr>
          <p:cNvGraphicFramePr>
            <a:graphicFrameLocks noGrp="1"/>
          </p:cNvGraphicFramePr>
          <p:nvPr/>
        </p:nvGraphicFramePr>
        <p:xfrm>
          <a:off x="437029" y="555811"/>
          <a:ext cx="11203535" cy="6006354"/>
        </p:xfrm>
        <a:graphic>
          <a:graphicData uri="http://schemas.openxmlformats.org/drawingml/2006/table">
            <a:tbl>
              <a:tblPr firstRow="1" bandRow="1">
                <a:tableStyleId>{5C22544A-7EE6-4342-B048-85BDC9FD1C3A}</a:tableStyleId>
              </a:tblPr>
              <a:tblGrid>
                <a:gridCol w="1940090">
                  <a:extLst>
                    <a:ext uri="{9D8B030D-6E8A-4147-A177-3AD203B41FA5}">
                      <a16:colId xmlns:a16="http://schemas.microsoft.com/office/drawing/2014/main" val="2708236959"/>
                    </a:ext>
                  </a:extLst>
                </a:gridCol>
                <a:gridCol w="2315905">
                  <a:extLst>
                    <a:ext uri="{9D8B030D-6E8A-4147-A177-3AD203B41FA5}">
                      <a16:colId xmlns:a16="http://schemas.microsoft.com/office/drawing/2014/main" val="3048015322"/>
                    </a:ext>
                  </a:extLst>
                </a:gridCol>
                <a:gridCol w="2315848">
                  <a:extLst>
                    <a:ext uri="{9D8B030D-6E8A-4147-A177-3AD203B41FA5}">
                      <a16:colId xmlns:a16="http://schemas.microsoft.com/office/drawing/2014/main" val="4246004394"/>
                    </a:ext>
                  </a:extLst>
                </a:gridCol>
                <a:gridCol w="2480083">
                  <a:extLst>
                    <a:ext uri="{9D8B030D-6E8A-4147-A177-3AD203B41FA5}">
                      <a16:colId xmlns:a16="http://schemas.microsoft.com/office/drawing/2014/main" val="2184019199"/>
                    </a:ext>
                  </a:extLst>
                </a:gridCol>
                <a:gridCol w="2151609">
                  <a:extLst>
                    <a:ext uri="{9D8B030D-6E8A-4147-A177-3AD203B41FA5}">
                      <a16:colId xmlns:a16="http://schemas.microsoft.com/office/drawing/2014/main" val="1212563153"/>
                    </a:ext>
                  </a:extLst>
                </a:gridCol>
              </a:tblGrid>
              <a:tr h="315300">
                <a:tc>
                  <a:txBody>
                    <a:bodyPr/>
                    <a:lstStyle/>
                    <a:p>
                      <a:r>
                        <a:rPr lang="en-US" sz="1400">
                          <a:solidFill>
                            <a:schemeClr val="tx1"/>
                          </a:solidFill>
                          <a:latin typeface="Open Sans"/>
                          <a:ea typeface="Open Sans"/>
                          <a:cs typeface="Open Sans"/>
                        </a:rPr>
                        <a:t>Iteration #</a:t>
                      </a:r>
                    </a:p>
                  </a:txBody>
                  <a:tcPr marT="45721" marB="45721">
                    <a:solidFill>
                      <a:schemeClr val="accent1"/>
                    </a:solidFill>
                  </a:tcPr>
                </a:tc>
                <a:tc>
                  <a:txBody>
                    <a:bodyPr/>
                    <a:lstStyle/>
                    <a:p>
                      <a:pPr marL="0" algn="l" defTabSz="914400" rtl="0" eaLnBrk="1" latinLnBrk="0" hangingPunct="1"/>
                      <a:r>
                        <a:rPr lang="en-US" sz="1400" b="1" kern="1200">
                          <a:solidFill>
                            <a:schemeClr val="tx1"/>
                          </a:solidFill>
                          <a:latin typeface="Open Sans"/>
                          <a:ea typeface="Open Sans"/>
                          <a:cs typeface="Open Sans"/>
                        </a:rPr>
                        <a:t>Start Date</a:t>
                      </a:r>
                    </a:p>
                  </a:txBody>
                  <a:tcPr marT="45721" marB="45721">
                    <a:solidFill>
                      <a:schemeClr val="accent1"/>
                    </a:solidFill>
                  </a:tcPr>
                </a:tc>
                <a:tc>
                  <a:txBody>
                    <a:bodyPr/>
                    <a:lstStyle/>
                    <a:p>
                      <a:pPr marL="0" algn="l" defTabSz="914400" rtl="0" eaLnBrk="1" latinLnBrk="0" hangingPunct="1"/>
                      <a:r>
                        <a:rPr lang="en-US" sz="1400" b="1" kern="1200">
                          <a:solidFill>
                            <a:schemeClr val="tx1"/>
                          </a:solidFill>
                          <a:latin typeface="Open Sans"/>
                          <a:ea typeface="Open Sans"/>
                          <a:cs typeface="Open Sans"/>
                        </a:rPr>
                        <a:t>Finish Date</a:t>
                      </a:r>
                    </a:p>
                  </a:txBody>
                  <a:tcPr marT="45721" marB="45721">
                    <a:solidFill>
                      <a:schemeClr val="accent1"/>
                    </a:solidFill>
                  </a:tcPr>
                </a:tc>
                <a:tc>
                  <a:txBody>
                    <a:bodyPr/>
                    <a:lstStyle/>
                    <a:p>
                      <a:r>
                        <a:rPr lang="en-US" sz="1400">
                          <a:latin typeface="Open Sans"/>
                          <a:ea typeface="Open Sans"/>
                          <a:cs typeface="Open Sans"/>
                        </a:rPr>
                        <a:t> </a:t>
                      </a:r>
                      <a:r>
                        <a:rPr lang="en-US" sz="1400" b="1" kern="1200">
                          <a:solidFill>
                            <a:schemeClr val="tx1"/>
                          </a:solidFill>
                          <a:latin typeface="Open Sans"/>
                          <a:ea typeface="Open Sans"/>
                          <a:cs typeface="Open Sans"/>
                        </a:rPr>
                        <a:t>Release Date</a:t>
                      </a:r>
                    </a:p>
                  </a:txBody>
                  <a:tcPr marT="45721" marB="45721">
                    <a:solidFill>
                      <a:schemeClr val="accent1"/>
                    </a:solidFill>
                  </a:tcPr>
                </a:tc>
                <a:tc>
                  <a:txBody>
                    <a:bodyPr/>
                    <a:lstStyle/>
                    <a:p>
                      <a:pPr marL="0" algn="l" defTabSz="914400" rtl="0" eaLnBrk="1" latinLnBrk="0" hangingPunct="1"/>
                      <a:r>
                        <a:rPr lang="en-US" sz="1400" b="1" kern="1200">
                          <a:solidFill>
                            <a:schemeClr val="tx1"/>
                          </a:solidFill>
                          <a:latin typeface="Open Sans"/>
                          <a:ea typeface="Open Sans"/>
                          <a:cs typeface="Open Sans"/>
                        </a:rPr>
                        <a:t>PI Planning</a:t>
                      </a:r>
                    </a:p>
                  </a:txBody>
                  <a:tcPr marT="45721" marB="45721">
                    <a:solidFill>
                      <a:schemeClr val="accent1"/>
                    </a:solidFill>
                  </a:tcPr>
                </a:tc>
                <a:extLst>
                  <a:ext uri="{0D108BD9-81ED-4DB2-BD59-A6C34878D82A}">
                    <a16:rowId xmlns:a16="http://schemas.microsoft.com/office/drawing/2014/main" val="3882083586"/>
                  </a:ext>
                </a:extLst>
              </a:tr>
              <a:tr h="268005">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extLst>
                  <a:ext uri="{0D108BD9-81ED-4DB2-BD59-A6C34878D82A}">
                    <a16:rowId xmlns:a16="http://schemas.microsoft.com/office/drawing/2014/main" val="1697422921"/>
                  </a:ext>
                </a:extLst>
              </a:tr>
              <a:tr h="268005">
                <a:tc>
                  <a:txBody>
                    <a:bodyPr/>
                    <a:lstStyle/>
                    <a:p>
                      <a:pPr lvl="0">
                        <a:buNone/>
                      </a:pPr>
                      <a:r>
                        <a:rPr lang="en-US" sz="1100">
                          <a:latin typeface="Open Sans"/>
                          <a:ea typeface="Open Sans"/>
                          <a:cs typeface="Open Sans"/>
                        </a:rPr>
                        <a:t>98 - 1</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r 23, 2022</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Apr 12, 2022</a:t>
                      </a:r>
                      <a:endParaRPr lang="en-US"/>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3379062980"/>
                  </a:ext>
                </a:extLst>
              </a:tr>
              <a:tr h="268005">
                <a:tc>
                  <a:txBody>
                    <a:bodyPr/>
                    <a:lstStyle/>
                    <a:p>
                      <a:pPr lvl="0">
                        <a:buNone/>
                      </a:pPr>
                      <a:r>
                        <a:rPr lang="en-US" sz="1100">
                          <a:latin typeface="Open Sans"/>
                          <a:ea typeface="Open Sans"/>
                          <a:cs typeface="Open Sans"/>
                        </a:rPr>
                        <a:t>99  - 2</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Apr 13, 2022</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y 3, 2022</a:t>
                      </a:r>
                      <a:endParaRPr lang="en-US"/>
                    </a:p>
                  </a:txBody>
                  <a:tcPr marT="45721" marB="45721" anchor="ctr">
                    <a:solidFill>
                      <a:schemeClr val="accent1">
                        <a:lumMod val="20000"/>
                        <a:lumOff val="80000"/>
                      </a:schemeClr>
                    </a:solidFill>
                  </a:tcPr>
                </a:tc>
                <a:tc>
                  <a:txBody>
                    <a:bodyPr/>
                    <a:lstStyle/>
                    <a:p>
                      <a:pPr lvl="0">
                        <a:buNone/>
                      </a:pPr>
                      <a:endParaRPr lang="en-US" sz="1100">
                        <a:latin typeface="Open Sans"/>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1473036722"/>
                  </a:ext>
                </a:extLst>
              </a:tr>
              <a:tr h="268005">
                <a:tc>
                  <a:txBody>
                    <a:bodyPr/>
                    <a:lstStyle/>
                    <a:p>
                      <a:pPr lvl="0">
                        <a:buNone/>
                      </a:pPr>
                      <a:r>
                        <a:rPr lang="en-US" sz="1100">
                          <a:latin typeface="Open Sans"/>
                          <a:ea typeface="Open Sans"/>
                          <a:cs typeface="Open Sans"/>
                        </a:rPr>
                        <a:t>100 - 3</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y 4, 2022</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y 24, 2022</a:t>
                      </a:r>
                      <a:endParaRPr lang="en-US"/>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3450736035"/>
                  </a:ext>
                </a:extLst>
              </a:tr>
              <a:tr h="309012">
                <a:tc>
                  <a:txBody>
                    <a:bodyPr/>
                    <a:lstStyle/>
                    <a:p>
                      <a:pPr lvl="0">
                        <a:buNone/>
                      </a:pPr>
                      <a:r>
                        <a:rPr lang="en-US" sz="1100">
                          <a:latin typeface="Open Sans"/>
                          <a:ea typeface="Open Sans"/>
                          <a:cs typeface="Open Sans"/>
                        </a:rPr>
                        <a:t>101 – 4 ½  testing</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y 25, 2022</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June 14, 2022</a:t>
                      </a:r>
                      <a:endParaRPr lang="en-US"/>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June 6 – 14, Mid Release Testing</a:t>
                      </a: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3490382453"/>
                  </a:ext>
                </a:extLst>
              </a:tr>
              <a:tr h="281235">
                <a:tc>
                  <a:txBody>
                    <a:bodyPr/>
                    <a:lstStyle/>
                    <a:p>
                      <a:pPr lvl="0">
                        <a:buNone/>
                      </a:pPr>
                      <a:r>
                        <a:rPr lang="en-US" sz="1100">
                          <a:latin typeface="Open Sans"/>
                          <a:ea typeface="Open Sans"/>
                          <a:cs typeface="Open Sans"/>
                        </a:rPr>
                        <a:t>102 - 5</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June 15, 2022</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July 5, 2022</a:t>
                      </a:r>
                      <a:endParaRPr lang="en-US"/>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1756070128"/>
                  </a:ext>
                </a:extLst>
              </a:tr>
              <a:tr h="268005">
                <a:tc>
                  <a:txBody>
                    <a:bodyPr/>
                    <a:lstStyle/>
                    <a:p>
                      <a:pPr lvl="0">
                        <a:buNone/>
                      </a:pPr>
                      <a:r>
                        <a:rPr lang="en-US" sz="1100">
                          <a:latin typeface="Open Sans"/>
                          <a:ea typeface="Open Sans"/>
                          <a:cs typeface="Open Sans"/>
                        </a:rPr>
                        <a:t>103 – 6</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July 6,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July 26, 2022</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89428000"/>
                  </a:ext>
                </a:extLst>
              </a:tr>
              <a:tr h="268005">
                <a:tc>
                  <a:txBody>
                    <a:bodyPr/>
                    <a:lstStyle/>
                    <a:p>
                      <a:pPr lvl="0">
                        <a:buNone/>
                      </a:pPr>
                      <a:r>
                        <a:rPr lang="en-US" sz="1100">
                          <a:latin typeface="Open Sans"/>
                          <a:ea typeface="Open Sans"/>
                          <a:cs typeface="Open Sans"/>
                        </a:rPr>
                        <a:t>104  – 7 – ½ testing</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July 27,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Aug 16, 2022</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929313035"/>
                  </a:ext>
                </a:extLst>
              </a:tr>
              <a:tr h="273696">
                <a:tc>
                  <a:txBody>
                    <a:bodyPr/>
                    <a:lstStyle/>
                    <a:p>
                      <a:pPr lvl="0">
                        <a:buNone/>
                      </a:pPr>
                      <a:r>
                        <a:rPr lang="en-US" sz="1100">
                          <a:latin typeface="Open Sans"/>
                          <a:ea typeface="Open Sans" panose="020B0606030504020204" pitchFamily="34" charset="0"/>
                          <a:cs typeface="Open Sans" panose="020B0606030504020204" pitchFamily="34" charset="0"/>
                        </a:rPr>
                        <a:t>105 – Testing</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Aug 17,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Sep 6,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UAT – Aug 22 – 26, 2022</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741992201"/>
                  </a:ext>
                </a:extLst>
              </a:tr>
              <a:tr h="434488">
                <a:tc>
                  <a:txBody>
                    <a:bodyPr/>
                    <a:lstStyle/>
                    <a:p>
                      <a:pPr lvl="0">
                        <a:buNone/>
                      </a:pPr>
                      <a:r>
                        <a:rPr lang="en-US" sz="1100">
                          <a:latin typeface="Open Sans"/>
                          <a:ea typeface="Open Sans" panose="020B0606030504020204" pitchFamily="34" charset="0"/>
                          <a:cs typeface="Open Sans" panose="020B0606030504020204" pitchFamily="34" charset="0"/>
                        </a:rPr>
                        <a:t>106 - IP</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Sep 7,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Sep 27, 2022</a:t>
                      </a:r>
                    </a:p>
                  </a:txBody>
                  <a:tcPr marT="45721" marB="45721" anchor="ctr">
                    <a:solidFill>
                      <a:schemeClr val="accent1">
                        <a:lumMod val="20000"/>
                        <a:lumOff val="80000"/>
                      </a:schemeClr>
                    </a:solidFill>
                  </a:tcPr>
                </a:tc>
                <a:tc>
                  <a:txBody>
                    <a:bodyPr/>
                    <a:lstStyle/>
                    <a:p>
                      <a:pPr marL="0" marR="0" lvl="0" indent="0" algn="l" defTabSz="914388" rtl="0" eaLnBrk="1" fontAlgn="auto" latinLnBrk="0" hangingPunct="1">
                        <a:lnSpc>
                          <a:spcPct val="100000"/>
                        </a:lnSpc>
                        <a:spcBef>
                          <a:spcPts val="0"/>
                        </a:spcBef>
                        <a:spcAft>
                          <a:spcPts val="0"/>
                        </a:spcAft>
                        <a:buClrTx/>
                        <a:buSzTx/>
                        <a:buFontTx/>
                        <a:buNone/>
                        <a:tabLst/>
                        <a:defRPr/>
                      </a:pPr>
                      <a:r>
                        <a:rPr lang="en-US" sz="1100">
                          <a:latin typeface="Open Sans"/>
                          <a:ea typeface="Open Sans" panose="020B0606030504020204" pitchFamily="34" charset="0"/>
                          <a:cs typeface="Open Sans" panose="020B0606030504020204" pitchFamily="34" charset="0"/>
                        </a:rPr>
                        <a:t>Sep 17, 2022 </a:t>
                      </a:r>
                    </a:p>
                  </a:txBody>
                  <a:tcPr marT="45721" marB="45721" anchor="ctr">
                    <a:solidFill>
                      <a:schemeClr val="accent1">
                        <a:lumMod val="20000"/>
                        <a:lumOff val="80000"/>
                      </a:schemeClr>
                    </a:solidFill>
                  </a:tcPr>
                </a:tc>
                <a:tc>
                  <a:txBody>
                    <a:bodyPr/>
                    <a:lstStyle/>
                    <a:p>
                      <a:pPr marL="0" marR="0" lvl="0" indent="0" algn="l" defTabSz="914388" rtl="0" eaLnBrk="1" fontAlgn="auto" latinLnBrk="0" hangingPunct="1">
                        <a:lnSpc>
                          <a:spcPct val="100000"/>
                        </a:lnSpc>
                        <a:spcBef>
                          <a:spcPts val="0"/>
                        </a:spcBef>
                        <a:spcAft>
                          <a:spcPts val="0"/>
                        </a:spcAft>
                        <a:buClrTx/>
                        <a:buSzTx/>
                        <a:buFontTx/>
                        <a:buNone/>
                        <a:tabLst/>
                        <a:defRPr/>
                      </a:pPr>
                      <a:r>
                        <a:rPr lang="en-US" sz="1100">
                          <a:latin typeface="Open Sans"/>
                          <a:ea typeface="Open Sans" panose="020B0606030504020204" pitchFamily="34" charset="0"/>
                          <a:cs typeface="Open Sans" panose="020B0606030504020204" pitchFamily="34" charset="0"/>
                        </a:rPr>
                        <a:t>PI 9 – Sep 20 – 22, 2022</a:t>
                      </a:r>
                    </a:p>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685265763"/>
                  </a:ext>
                </a:extLst>
              </a:tr>
              <a:tr h="372548">
                <a:tc>
                  <a:txBody>
                    <a:bodyPr/>
                    <a:lstStyle/>
                    <a:p>
                      <a:endParaRPr lang="en-US"/>
                    </a:p>
                  </a:txBody>
                  <a:tcPr marT="45721" marB="45721" anchor="ctr">
                    <a:solidFill>
                      <a:schemeClr val="accent1">
                        <a:lumMod val="20000"/>
                        <a:lumOff val="80000"/>
                      </a:schemeClr>
                    </a:solidFill>
                  </a:tcPr>
                </a:tc>
                <a:tc>
                  <a:txBody>
                    <a:bodyPr/>
                    <a:lstStyle/>
                    <a:p>
                      <a:endParaRPr lang="en-US"/>
                    </a:p>
                  </a:txBody>
                  <a:tcPr marT="45721" marB="45721" anchor="ctr">
                    <a:solidFill>
                      <a:schemeClr val="accent1">
                        <a:lumMod val="20000"/>
                        <a:lumOff val="80000"/>
                      </a:schemeClr>
                    </a:solidFill>
                  </a:tcPr>
                </a:tc>
                <a:tc>
                  <a:txBody>
                    <a:bodyPr/>
                    <a:lstStyle/>
                    <a:p>
                      <a:endParaRPr lang="en-US"/>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989826033"/>
                  </a:ext>
                </a:extLst>
              </a:tr>
              <a:tr h="268005">
                <a:tc>
                  <a:txBody>
                    <a:bodyPr/>
                    <a:lstStyle/>
                    <a:p>
                      <a:pPr lvl="0">
                        <a:buNone/>
                      </a:pPr>
                      <a:r>
                        <a:rPr lang="en-US" sz="1100">
                          <a:latin typeface="Open Sans"/>
                          <a:ea typeface="Open Sans" panose="020B0606030504020204" pitchFamily="34" charset="0"/>
                          <a:cs typeface="Open Sans" panose="020B0606030504020204" pitchFamily="34" charset="0"/>
                        </a:rPr>
                        <a:t>107 -1</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Sep 28, 2022 </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Oct 18, 2022</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1563862988"/>
                  </a:ext>
                </a:extLst>
              </a:tr>
              <a:tr h="268005">
                <a:tc>
                  <a:txBody>
                    <a:bodyPr/>
                    <a:lstStyle/>
                    <a:p>
                      <a:pPr lvl="0">
                        <a:buNone/>
                      </a:pPr>
                      <a:r>
                        <a:rPr lang="en-US" sz="1100">
                          <a:latin typeface="Open Sans"/>
                          <a:ea typeface="Open Sans" panose="020B0606030504020204" pitchFamily="34" charset="0"/>
                          <a:cs typeface="Open Sans" panose="020B0606030504020204" pitchFamily="34" charset="0"/>
                        </a:rPr>
                        <a:t>108 – 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Oct 19, 2022</a:t>
                      </a:r>
                    </a:p>
                  </a:txBody>
                  <a:tcPr marT="45721" marB="45721" anchor="ctr">
                    <a:solidFill>
                      <a:schemeClr val="accent1">
                        <a:lumMod val="20000"/>
                        <a:lumOff val="80000"/>
                      </a:schemeClr>
                    </a:solidFill>
                  </a:tcPr>
                </a:tc>
                <a:tc>
                  <a:txBody>
                    <a:bodyPr/>
                    <a:lstStyle/>
                    <a:p>
                      <a:pPr lvl="0">
                        <a:buNone/>
                      </a:pPr>
                      <a:r>
                        <a:rPr lang="en-US" sz="1100">
                          <a:latin typeface="Open Sans"/>
                        </a:rPr>
                        <a:t>Nov 8, 2022</a:t>
                      </a:r>
                    </a:p>
                  </a:txBody>
                  <a:tcPr marT="45721" marB="45721" anchor="ctr">
                    <a:solidFill>
                      <a:schemeClr val="accent1">
                        <a:lumMod val="20000"/>
                        <a:lumOff val="80000"/>
                      </a:schemeClr>
                    </a:solidFill>
                  </a:tcPr>
                </a:tc>
                <a:tc>
                  <a:txBody>
                    <a:bodyPr/>
                    <a:lstStyle/>
                    <a:p>
                      <a:pPr lvl="0">
                        <a:buNone/>
                      </a:pPr>
                      <a:endParaRPr lang="en-US" sz="1100">
                        <a:latin typeface="Open Sans"/>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1819729046"/>
                  </a:ext>
                </a:extLst>
              </a:tr>
              <a:tr h="268005">
                <a:tc>
                  <a:txBody>
                    <a:bodyPr/>
                    <a:lstStyle/>
                    <a:p>
                      <a:pPr lvl="0">
                        <a:buNone/>
                      </a:pPr>
                      <a:r>
                        <a:rPr lang="en-US" sz="1100">
                          <a:latin typeface="Open Sans"/>
                          <a:ea typeface="Open Sans" panose="020B0606030504020204" pitchFamily="34" charset="0"/>
                          <a:cs typeface="Open Sans" panose="020B0606030504020204" pitchFamily="34" charset="0"/>
                        </a:rPr>
                        <a:t>109 – 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Nov 9,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Nov 28, 2022</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4022432366"/>
                  </a:ext>
                </a:extLst>
              </a:tr>
              <a:tr h="268005">
                <a:tc>
                  <a:txBody>
                    <a:bodyPr/>
                    <a:lstStyle/>
                    <a:p>
                      <a:pPr lvl="0">
                        <a:buNone/>
                      </a:pPr>
                      <a:r>
                        <a:rPr lang="en-US" sz="1100">
                          <a:latin typeface="Open Sans"/>
                          <a:ea typeface="Open Sans"/>
                          <a:cs typeface="Open Sans"/>
                        </a:rPr>
                        <a:t>110 – 4 1/2 testing</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Nov 29,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Dec 20,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Dec 12 – 20, Mid Release Testing</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497590329"/>
                  </a:ext>
                </a:extLst>
              </a:tr>
              <a:tr h="268005">
                <a:tc>
                  <a:txBody>
                    <a:bodyPr/>
                    <a:lstStyle/>
                    <a:p>
                      <a:pPr lvl="0">
                        <a:buNone/>
                      </a:pPr>
                      <a:r>
                        <a:rPr lang="en-US" sz="1100">
                          <a:latin typeface="Open Sans"/>
                          <a:ea typeface="Open Sans" panose="020B0606030504020204" pitchFamily="34" charset="0"/>
                          <a:cs typeface="Open Sans" panose="020B0606030504020204" pitchFamily="34" charset="0"/>
                        </a:rPr>
                        <a:t>111 – 5</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Dec 21, 2022</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Jan 10, 2023</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693658067"/>
                  </a:ext>
                </a:extLst>
              </a:tr>
              <a:tr h="268005">
                <a:tc>
                  <a:txBody>
                    <a:bodyPr/>
                    <a:lstStyle/>
                    <a:p>
                      <a:pPr lvl="0">
                        <a:buNone/>
                      </a:pPr>
                      <a:r>
                        <a:rPr lang="en-US" sz="1100">
                          <a:latin typeface="Open Sans"/>
                          <a:ea typeface="Open Sans" panose="020B0606030504020204" pitchFamily="34" charset="0"/>
                          <a:cs typeface="Open Sans" panose="020B0606030504020204" pitchFamily="34" charset="0"/>
                        </a:rPr>
                        <a:t>112 – 6</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Jan 11,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Jan 31, 2023</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042965555"/>
                  </a:ext>
                </a:extLst>
              </a:tr>
              <a:tr h="268005">
                <a:tc>
                  <a:txBody>
                    <a:bodyPr/>
                    <a:lstStyle/>
                    <a:p>
                      <a:pPr lvl="0">
                        <a:buNone/>
                      </a:pPr>
                      <a:r>
                        <a:rPr lang="en-US" sz="1100">
                          <a:latin typeface="Open Sans"/>
                          <a:ea typeface="Open Sans"/>
                          <a:cs typeface="Open Sans"/>
                        </a:rPr>
                        <a:t>113 – 7 – ½ testing</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Feb 1,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Feb 21, 2023</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3592493564"/>
                  </a:ext>
                </a:extLst>
              </a:tr>
              <a:tr h="268005">
                <a:tc>
                  <a:txBody>
                    <a:bodyPr/>
                    <a:lstStyle/>
                    <a:p>
                      <a:pPr lvl="0">
                        <a:buNone/>
                      </a:pPr>
                      <a:r>
                        <a:rPr lang="en-US" sz="1100">
                          <a:latin typeface="Open Sans"/>
                          <a:ea typeface="Open Sans" panose="020B0606030504020204" pitchFamily="34" charset="0"/>
                          <a:cs typeface="Open Sans" panose="020B0606030504020204" pitchFamily="34" charset="0"/>
                        </a:rPr>
                        <a:t>114 – Testing</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Feb 22, 2023</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r 14, 2023</a:t>
                      </a:r>
                      <a:endParaRPr lang="en-US"/>
                    </a:p>
                  </a:txBody>
                  <a:tcPr marT="45721" marB="45721" anchor="ctr">
                    <a:solidFill>
                      <a:schemeClr val="accent1">
                        <a:lumMod val="20000"/>
                        <a:lumOff val="80000"/>
                      </a:schemeClr>
                    </a:solidFill>
                  </a:tcPr>
                </a:tc>
                <a:tc>
                  <a:txBody>
                    <a:bodyPr/>
                    <a:lstStyle/>
                    <a:p>
                      <a:pPr lvl="0">
                        <a:buNone/>
                      </a:pPr>
                      <a:r>
                        <a:rPr lang="en-US" sz="1100">
                          <a:latin typeface="Open Sans"/>
                          <a:ea typeface="Open Sans"/>
                          <a:cs typeface="Open Sans"/>
                        </a:rPr>
                        <a:t>UAT Mar 6 – 10, 2023</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820373374"/>
                  </a:ext>
                </a:extLst>
              </a:tr>
              <a:tr h="268005">
                <a:tc>
                  <a:txBody>
                    <a:bodyPr/>
                    <a:lstStyle/>
                    <a:p>
                      <a:pPr lvl="0">
                        <a:buNone/>
                      </a:pPr>
                      <a:r>
                        <a:rPr lang="en-US" sz="1100">
                          <a:latin typeface="Open Sans"/>
                          <a:ea typeface="Open Sans" panose="020B0606030504020204" pitchFamily="34" charset="0"/>
                          <a:cs typeface="Open Sans" panose="020B0606030504020204" pitchFamily="34" charset="0"/>
                        </a:rPr>
                        <a:t>115 – IP</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r 15, 2023</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Apr 4, 2023</a:t>
                      </a:r>
                      <a:endParaRPr lang="en-US"/>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March 25,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PI 10 – Mar 28 – 30. 2023</a:t>
                      </a:r>
                    </a:p>
                  </a:txBody>
                  <a:tcPr marT="45721" marB="45721" anchor="ctr">
                    <a:solidFill>
                      <a:schemeClr val="accent1">
                        <a:lumMod val="20000"/>
                        <a:lumOff val="80000"/>
                      </a:schemeClr>
                    </a:solidFill>
                  </a:tcPr>
                </a:tc>
                <a:extLst>
                  <a:ext uri="{0D108BD9-81ED-4DB2-BD59-A6C34878D82A}">
                    <a16:rowId xmlns:a16="http://schemas.microsoft.com/office/drawing/2014/main" val="641266149"/>
                  </a:ext>
                </a:extLst>
              </a:tr>
            </a:tbl>
          </a:graphicData>
        </a:graphic>
      </p:graphicFrame>
      <p:sp>
        <p:nvSpPr>
          <p:cNvPr id="5" name="Title 1">
            <a:extLst>
              <a:ext uri="{FF2B5EF4-FFF2-40B4-BE49-F238E27FC236}">
                <a16:creationId xmlns:a16="http://schemas.microsoft.com/office/drawing/2014/main" id="{D2891B24-4023-41DF-AA3B-BADB48402D05}"/>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defRPr/>
            </a:pPr>
            <a:r>
              <a:rPr lang="en-US" sz="1801" b="1">
                <a:solidFill>
                  <a:prstClr val="black"/>
                </a:solidFill>
                <a:latin typeface="Open Sans" panose="020B0606030504020204" pitchFamily="34" charset="0"/>
                <a:ea typeface="Open Sans" panose="020B0606030504020204" pitchFamily="34" charset="0"/>
                <a:cs typeface="Open Sans" panose="020B0606030504020204" pitchFamily="34" charset="0"/>
              </a:rPr>
              <a:t>Audit Transformations: </a:t>
            </a:r>
            <a:r>
              <a:rPr lang="en-US" sz="1801" b="1">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rPr>
              <a:t>PI Cadence &amp; Release Dates</a:t>
            </a:r>
          </a:p>
        </p:txBody>
      </p:sp>
    </p:spTree>
    <p:extLst>
      <p:ext uri="{BB962C8B-B14F-4D97-AF65-F5344CB8AC3E}">
        <p14:creationId xmlns:p14="http://schemas.microsoft.com/office/powerpoint/2010/main" val="139093154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D8F2493-A0C4-4740-A16F-E066BC79CDD8}"/>
              </a:ext>
            </a:extLst>
          </p:cNvPr>
          <p:cNvGraphicFramePr>
            <a:graphicFrameLocks noGrp="1"/>
          </p:cNvGraphicFramePr>
          <p:nvPr/>
        </p:nvGraphicFramePr>
        <p:xfrm>
          <a:off x="437029" y="555811"/>
          <a:ext cx="11203535" cy="5269899"/>
        </p:xfrm>
        <a:graphic>
          <a:graphicData uri="http://schemas.openxmlformats.org/drawingml/2006/table">
            <a:tbl>
              <a:tblPr firstRow="1" bandRow="1">
                <a:tableStyleId>{5C22544A-7EE6-4342-B048-85BDC9FD1C3A}</a:tableStyleId>
              </a:tblPr>
              <a:tblGrid>
                <a:gridCol w="1940090">
                  <a:extLst>
                    <a:ext uri="{9D8B030D-6E8A-4147-A177-3AD203B41FA5}">
                      <a16:colId xmlns:a16="http://schemas.microsoft.com/office/drawing/2014/main" val="2708236959"/>
                    </a:ext>
                  </a:extLst>
                </a:gridCol>
                <a:gridCol w="2315905">
                  <a:extLst>
                    <a:ext uri="{9D8B030D-6E8A-4147-A177-3AD203B41FA5}">
                      <a16:colId xmlns:a16="http://schemas.microsoft.com/office/drawing/2014/main" val="3048015322"/>
                    </a:ext>
                  </a:extLst>
                </a:gridCol>
                <a:gridCol w="2315848">
                  <a:extLst>
                    <a:ext uri="{9D8B030D-6E8A-4147-A177-3AD203B41FA5}">
                      <a16:colId xmlns:a16="http://schemas.microsoft.com/office/drawing/2014/main" val="4246004394"/>
                    </a:ext>
                  </a:extLst>
                </a:gridCol>
                <a:gridCol w="2480083">
                  <a:extLst>
                    <a:ext uri="{9D8B030D-6E8A-4147-A177-3AD203B41FA5}">
                      <a16:colId xmlns:a16="http://schemas.microsoft.com/office/drawing/2014/main" val="2184019199"/>
                    </a:ext>
                  </a:extLst>
                </a:gridCol>
                <a:gridCol w="2151609">
                  <a:extLst>
                    <a:ext uri="{9D8B030D-6E8A-4147-A177-3AD203B41FA5}">
                      <a16:colId xmlns:a16="http://schemas.microsoft.com/office/drawing/2014/main" val="1212563153"/>
                    </a:ext>
                  </a:extLst>
                </a:gridCol>
              </a:tblGrid>
              <a:tr h="309665">
                <a:tc>
                  <a:txBody>
                    <a:bodyPr/>
                    <a:lstStyle/>
                    <a:p>
                      <a:r>
                        <a:rPr lang="en-US" sz="1400">
                          <a:solidFill>
                            <a:schemeClr val="tx1"/>
                          </a:solidFill>
                          <a:latin typeface="Open Sans"/>
                          <a:ea typeface="Open Sans" panose="020B0606030504020204" pitchFamily="34" charset="0"/>
                          <a:cs typeface="Open Sans" panose="020B0606030504020204" pitchFamily="34" charset="0"/>
                        </a:rPr>
                        <a:t>Iteration #</a:t>
                      </a:r>
                    </a:p>
                  </a:txBody>
                  <a:tcPr marT="45721" marB="45721">
                    <a:solidFill>
                      <a:schemeClr val="accent1"/>
                    </a:solidFill>
                  </a:tcPr>
                </a:tc>
                <a:tc>
                  <a:txBody>
                    <a:bodyPr/>
                    <a:lstStyle/>
                    <a:p>
                      <a:pPr marL="0" algn="l" defTabSz="914400" rtl="0" eaLnBrk="1" latinLnBrk="0" hangingPunct="1"/>
                      <a:r>
                        <a:rPr lang="en-US" sz="1400" b="1" kern="1200">
                          <a:solidFill>
                            <a:schemeClr val="tx1"/>
                          </a:solidFill>
                          <a:latin typeface="Open Sans"/>
                          <a:ea typeface="Open Sans" panose="020B0606030504020204" pitchFamily="34" charset="0"/>
                          <a:cs typeface="Open Sans" panose="020B0606030504020204" pitchFamily="34" charset="0"/>
                        </a:rPr>
                        <a:t>Start Date</a:t>
                      </a:r>
                    </a:p>
                  </a:txBody>
                  <a:tcPr marT="45721" marB="45721">
                    <a:solidFill>
                      <a:schemeClr val="accent1"/>
                    </a:solidFill>
                  </a:tcPr>
                </a:tc>
                <a:tc>
                  <a:txBody>
                    <a:bodyPr/>
                    <a:lstStyle/>
                    <a:p>
                      <a:pPr marL="0" algn="l" defTabSz="914400" rtl="0" eaLnBrk="1" latinLnBrk="0" hangingPunct="1"/>
                      <a:r>
                        <a:rPr lang="en-US" sz="1400" b="1" kern="1200">
                          <a:solidFill>
                            <a:schemeClr val="tx1"/>
                          </a:solidFill>
                          <a:latin typeface="Open Sans"/>
                          <a:ea typeface="Open Sans" panose="020B0606030504020204" pitchFamily="34" charset="0"/>
                          <a:cs typeface="Open Sans" panose="020B0606030504020204" pitchFamily="34" charset="0"/>
                        </a:rPr>
                        <a:t>Finish Date</a:t>
                      </a:r>
                    </a:p>
                  </a:txBody>
                  <a:tcPr marT="45721" marB="45721">
                    <a:solidFill>
                      <a:schemeClr val="accent1"/>
                    </a:solidFill>
                  </a:tcPr>
                </a:tc>
                <a:tc>
                  <a:txBody>
                    <a:bodyPr/>
                    <a:lstStyle/>
                    <a:p>
                      <a:r>
                        <a:rPr lang="en-US" sz="1400">
                          <a:latin typeface="Open Sans"/>
                          <a:ea typeface="Open Sans" panose="020B0606030504020204" pitchFamily="34" charset="0"/>
                          <a:cs typeface="Open Sans" panose="020B0606030504020204" pitchFamily="34" charset="0"/>
                        </a:rPr>
                        <a:t> </a:t>
                      </a:r>
                      <a:r>
                        <a:rPr lang="en-US" sz="1400" b="1" kern="1200">
                          <a:solidFill>
                            <a:schemeClr val="tx1"/>
                          </a:solidFill>
                          <a:latin typeface="Open Sans"/>
                          <a:ea typeface="Open Sans" panose="020B0606030504020204" pitchFamily="34" charset="0"/>
                          <a:cs typeface="Open Sans" panose="020B0606030504020204" pitchFamily="34" charset="0"/>
                        </a:rPr>
                        <a:t>Release Date</a:t>
                      </a:r>
                    </a:p>
                  </a:txBody>
                  <a:tcPr marT="45721" marB="45721">
                    <a:solidFill>
                      <a:schemeClr val="accent1"/>
                    </a:solidFill>
                  </a:tcPr>
                </a:tc>
                <a:tc>
                  <a:txBody>
                    <a:bodyPr/>
                    <a:lstStyle/>
                    <a:p>
                      <a:pPr marL="0" algn="l" defTabSz="914400" rtl="0" eaLnBrk="1" latinLnBrk="0" hangingPunct="1"/>
                      <a:r>
                        <a:rPr lang="en-US" sz="1400" b="1" kern="1200">
                          <a:solidFill>
                            <a:schemeClr val="tx1"/>
                          </a:solidFill>
                          <a:latin typeface="Open Sans"/>
                          <a:ea typeface="Open Sans" panose="020B0606030504020204" pitchFamily="34" charset="0"/>
                          <a:cs typeface="Open Sans" panose="020B0606030504020204" pitchFamily="34" charset="0"/>
                        </a:rPr>
                        <a:t>PI Planning</a:t>
                      </a:r>
                    </a:p>
                  </a:txBody>
                  <a:tcPr marT="45721" marB="45721">
                    <a:solidFill>
                      <a:schemeClr val="accent1"/>
                    </a:solidFill>
                  </a:tcPr>
                </a:tc>
                <a:extLst>
                  <a:ext uri="{0D108BD9-81ED-4DB2-BD59-A6C34878D82A}">
                    <a16:rowId xmlns:a16="http://schemas.microsoft.com/office/drawing/2014/main" val="3882083586"/>
                  </a:ext>
                </a:extLst>
              </a:tr>
              <a:tr h="263215">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T="45721" marB="45721">
                    <a:solidFill>
                      <a:schemeClr val="accent1">
                        <a:lumMod val="20000"/>
                        <a:lumOff val="80000"/>
                      </a:schemeClr>
                    </a:solidFill>
                  </a:tcPr>
                </a:tc>
                <a:extLst>
                  <a:ext uri="{0D108BD9-81ED-4DB2-BD59-A6C34878D82A}">
                    <a16:rowId xmlns:a16="http://schemas.microsoft.com/office/drawing/2014/main" val="1697422921"/>
                  </a:ext>
                </a:extLst>
              </a:tr>
              <a:tr h="263215">
                <a:tc>
                  <a:txBody>
                    <a:bodyPr/>
                    <a:lstStyle/>
                    <a:p>
                      <a:pPr lvl="0">
                        <a:buNone/>
                      </a:pPr>
                      <a:r>
                        <a:rPr lang="en-US" sz="1100">
                          <a:latin typeface="Open Sans"/>
                          <a:ea typeface="Open Sans" panose="020B0606030504020204" pitchFamily="34" charset="0"/>
                          <a:cs typeface="Open Sans" panose="020B0606030504020204" pitchFamily="34" charset="0"/>
                        </a:rPr>
                        <a:t>116 – 1</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Apr 5, 2023</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Apr 25, 2023</a:t>
                      </a:r>
                      <a:endParaRPr lang="en-US"/>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3450736035"/>
                  </a:ext>
                </a:extLst>
              </a:tr>
              <a:tr h="303489">
                <a:tc>
                  <a:txBody>
                    <a:bodyPr/>
                    <a:lstStyle/>
                    <a:p>
                      <a:pPr lvl="0">
                        <a:buNone/>
                      </a:pPr>
                      <a:r>
                        <a:rPr lang="en-US" sz="1100">
                          <a:latin typeface="Open Sans"/>
                          <a:ea typeface="Open Sans" panose="020B0606030504020204" pitchFamily="34" charset="0"/>
                          <a:cs typeface="Open Sans" panose="020B0606030504020204" pitchFamily="34" charset="0"/>
                        </a:rPr>
                        <a:t>117 – 2</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Apr 26, 2023</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y 16, 2023</a:t>
                      </a:r>
                      <a:endParaRPr lang="en-US"/>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3490382453"/>
                  </a:ext>
                </a:extLst>
              </a:tr>
              <a:tr h="276209">
                <a:tc>
                  <a:txBody>
                    <a:bodyPr/>
                    <a:lstStyle/>
                    <a:p>
                      <a:pPr lvl="0">
                        <a:buNone/>
                      </a:pPr>
                      <a:r>
                        <a:rPr lang="en-US" sz="1100">
                          <a:latin typeface="Open Sans"/>
                          <a:ea typeface="Open Sans" panose="020B0606030504020204" pitchFamily="34" charset="0"/>
                          <a:cs typeface="Open Sans" panose="020B0606030504020204" pitchFamily="34" charset="0"/>
                        </a:rPr>
                        <a:t>118 – 3</a:t>
                      </a:r>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May 17, 2023</a:t>
                      </a:r>
                      <a:endParaRPr lang="en-US"/>
                    </a:p>
                  </a:txBody>
                  <a:tcPr marT="45721" marB="45721" anchor="ctr">
                    <a:solidFill>
                      <a:schemeClr val="accent1">
                        <a:lumMod val="20000"/>
                        <a:lumOff val="80000"/>
                      </a:schemeClr>
                    </a:solidFill>
                  </a:tcPr>
                </a:tc>
                <a:tc>
                  <a:txBody>
                    <a:bodyPr/>
                    <a:lstStyle/>
                    <a:p>
                      <a:pPr lvl="0">
                        <a:buNone/>
                      </a:pPr>
                      <a:r>
                        <a:rPr lang="en-US" sz="1100" b="0" i="0" u="none" strike="noStrike" noProof="0">
                          <a:latin typeface="Open Sans"/>
                        </a:rPr>
                        <a:t>June 6, 2023</a:t>
                      </a:r>
                      <a:endParaRPr lang="en-US"/>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1756070128"/>
                  </a:ext>
                </a:extLst>
              </a:tr>
              <a:tr h="263215">
                <a:tc>
                  <a:txBody>
                    <a:bodyPr/>
                    <a:lstStyle/>
                    <a:p>
                      <a:pPr lvl="0">
                        <a:buNone/>
                      </a:pPr>
                      <a:r>
                        <a:rPr lang="en-US" sz="1100">
                          <a:latin typeface="Open Sans"/>
                          <a:ea typeface="Open Sans" panose="020B0606030504020204" pitchFamily="34" charset="0"/>
                          <a:cs typeface="Open Sans" panose="020B0606030504020204" pitchFamily="34" charset="0"/>
                        </a:rPr>
                        <a:t>119 – 4 ½ testing</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June 7,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June 27, 2023</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89428000"/>
                  </a:ext>
                </a:extLst>
              </a:tr>
              <a:tr h="263215">
                <a:tc>
                  <a:txBody>
                    <a:bodyPr/>
                    <a:lstStyle/>
                    <a:p>
                      <a:pPr lvl="0">
                        <a:buNone/>
                      </a:pPr>
                      <a:r>
                        <a:rPr lang="en-US" sz="1100">
                          <a:latin typeface="Open Sans"/>
                          <a:ea typeface="Open Sans" panose="020B0606030504020204" pitchFamily="34" charset="0"/>
                          <a:cs typeface="Open Sans" panose="020B0606030504020204" pitchFamily="34" charset="0"/>
                        </a:rPr>
                        <a:t>120 – 5</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June 28,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July 18, 2023</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929313035"/>
                  </a:ext>
                </a:extLst>
              </a:tr>
              <a:tr h="268804">
                <a:tc>
                  <a:txBody>
                    <a:bodyPr/>
                    <a:lstStyle/>
                    <a:p>
                      <a:pPr lvl="0">
                        <a:buNone/>
                      </a:pPr>
                      <a:r>
                        <a:rPr lang="en-US" sz="1100">
                          <a:latin typeface="Open Sans"/>
                          <a:ea typeface="Open Sans" panose="020B0606030504020204" pitchFamily="34" charset="0"/>
                          <a:cs typeface="Open Sans" panose="020B0606030504020204" pitchFamily="34" charset="0"/>
                        </a:rPr>
                        <a:t>121 - 6</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July 19,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Aug 8, 2023</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741992201"/>
                  </a:ext>
                </a:extLst>
              </a:tr>
              <a:tr h="263215">
                <a:tc>
                  <a:txBody>
                    <a:bodyPr/>
                    <a:lstStyle/>
                    <a:p>
                      <a:pPr lvl="0">
                        <a:buNone/>
                      </a:pPr>
                      <a:r>
                        <a:rPr lang="en-US" sz="1100">
                          <a:latin typeface="Open Sans"/>
                          <a:ea typeface="Open Sans" panose="020B0606030504020204" pitchFamily="34" charset="0"/>
                          <a:cs typeface="Open Sans" panose="020B0606030504020204" pitchFamily="34" charset="0"/>
                        </a:rPr>
                        <a:t>122 – 7 – ½ testing</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Aug 9,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Aug 29, 2023</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685265763"/>
                  </a:ext>
                </a:extLst>
              </a:tr>
              <a:tr h="263215">
                <a:tc>
                  <a:txBody>
                    <a:bodyPr/>
                    <a:lstStyle/>
                    <a:p>
                      <a:pPr lvl="0">
                        <a:buNone/>
                      </a:pPr>
                      <a:r>
                        <a:rPr lang="en-US" sz="1100">
                          <a:latin typeface="Open Sans"/>
                          <a:ea typeface="Open Sans" panose="020B0606030504020204" pitchFamily="34" charset="0"/>
                          <a:cs typeface="Open Sans" panose="020B0606030504020204" pitchFamily="34" charset="0"/>
                        </a:rPr>
                        <a:t>123 – Testing</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Aug 29,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Sep 19,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Sept 10</a:t>
                      </a: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989826033"/>
                  </a:ext>
                </a:extLst>
              </a:tr>
              <a:tr h="263215">
                <a:tc>
                  <a:txBody>
                    <a:bodyPr/>
                    <a:lstStyle/>
                    <a:p>
                      <a:pPr lvl="0">
                        <a:buNone/>
                      </a:pPr>
                      <a:r>
                        <a:rPr lang="en-US" sz="1100">
                          <a:latin typeface="Open Sans"/>
                          <a:ea typeface="Open Sans" panose="020B0606030504020204" pitchFamily="34" charset="0"/>
                          <a:cs typeface="Open Sans" panose="020B0606030504020204" pitchFamily="34" charset="0"/>
                        </a:rPr>
                        <a:t>124 – IP</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Sep 20,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Oct 10,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Sep 30, 2023</a:t>
                      </a:r>
                    </a:p>
                  </a:txBody>
                  <a:tcPr marT="45721" marB="45721" anchor="ctr">
                    <a:solidFill>
                      <a:schemeClr val="accent1">
                        <a:lumMod val="20000"/>
                        <a:lumOff val="80000"/>
                      </a:schemeClr>
                    </a:solidFill>
                  </a:tcPr>
                </a:tc>
                <a:tc>
                  <a:txBody>
                    <a:bodyPr/>
                    <a:lstStyle/>
                    <a:p>
                      <a:pPr lvl="0">
                        <a:buNone/>
                      </a:pPr>
                      <a:r>
                        <a:rPr lang="en-US" sz="1100">
                          <a:latin typeface="Open Sans"/>
                          <a:ea typeface="Open Sans" panose="020B0606030504020204" pitchFamily="34" charset="0"/>
                          <a:cs typeface="Open Sans" panose="020B0606030504020204" pitchFamily="34" charset="0"/>
                        </a:rPr>
                        <a:t>PI 11 - Oct 3 – 4, 2023 (Oct 2 will be USI holiday) </a:t>
                      </a:r>
                    </a:p>
                  </a:txBody>
                  <a:tcPr marT="45721" marB="45721" anchor="ctr">
                    <a:solidFill>
                      <a:schemeClr val="accent1">
                        <a:lumMod val="20000"/>
                        <a:lumOff val="80000"/>
                      </a:schemeClr>
                    </a:solidFill>
                  </a:tcPr>
                </a:tc>
                <a:extLst>
                  <a:ext uri="{0D108BD9-81ED-4DB2-BD59-A6C34878D82A}">
                    <a16:rowId xmlns:a16="http://schemas.microsoft.com/office/drawing/2014/main" val="1563862988"/>
                  </a:ext>
                </a:extLst>
              </a:tr>
              <a:tr h="263215">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ndParaRPr>
                    </a:p>
                  </a:txBody>
                  <a:tcPr marT="45721" marB="45721" anchor="ctr">
                    <a:solidFill>
                      <a:schemeClr val="accent1">
                        <a:lumMod val="20000"/>
                        <a:lumOff val="80000"/>
                      </a:schemeClr>
                    </a:solidFill>
                  </a:tcPr>
                </a:tc>
                <a:tc>
                  <a:txBody>
                    <a:bodyPr/>
                    <a:lstStyle/>
                    <a:p>
                      <a:pPr lvl="0">
                        <a:buNone/>
                      </a:pPr>
                      <a:endParaRPr lang="en-US" sz="1100">
                        <a:latin typeface="Open Sans"/>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1819729046"/>
                  </a:ext>
                </a:extLst>
              </a:tr>
              <a:tr h="263215">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4022432366"/>
                  </a:ext>
                </a:extLst>
              </a:tr>
              <a:tr h="263215">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497590329"/>
                  </a:ext>
                </a:extLst>
              </a:tr>
              <a:tr h="263215">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693658067"/>
                  </a:ext>
                </a:extLst>
              </a:tr>
              <a:tr h="263215">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2042965555"/>
                  </a:ext>
                </a:extLst>
              </a:tr>
              <a:tr h="263215">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3592493564"/>
                  </a:ext>
                </a:extLst>
              </a:tr>
              <a:tr h="263215">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820373374"/>
                  </a:ext>
                </a:extLst>
              </a:tr>
              <a:tr h="263215">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tc>
                  <a:txBody>
                    <a:bodyPr/>
                    <a:lstStyle/>
                    <a:p>
                      <a:pPr lvl="0">
                        <a:buNone/>
                      </a:pPr>
                      <a:endParaRPr lang="en-US" sz="1100">
                        <a:latin typeface="Open Sans"/>
                        <a:ea typeface="Open Sans" panose="020B0606030504020204" pitchFamily="34" charset="0"/>
                        <a:cs typeface="Open Sans" panose="020B0606030504020204" pitchFamily="34" charset="0"/>
                      </a:endParaRPr>
                    </a:p>
                  </a:txBody>
                  <a:tcPr marT="45721" marB="45721" anchor="ctr">
                    <a:solidFill>
                      <a:schemeClr val="accent1">
                        <a:lumMod val="20000"/>
                        <a:lumOff val="80000"/>
                      </a:schemeClr>
                    </a:solidFill>
                  </a:tcPr>
                </a:tc>
                <a:extLst>
                  <a:ext uri="{0D108BD9-81ED-4DB2-BD59-A6C34878D82A}">
                    <a16:rowId xmlns:a16="http://schemas.microsoft.com/office/drawing/2014/main" val="641266149"/>
                  </a:ext>
                </a:extLst>
              </a:tr>
            </a:tbl>
          </a:graphicData>
        </a:graphic>
      </p:graphicFrame>
      <p:sp>
        <p:nvSpPr>
          <p:cNvPr id="5" name="Title 1">
            <a:extLst>
              <a:ext uri="{FF2B5EF4-FFF2-40B4-BE49-F238E27FC236}">
                <a16:creationId xmlns:a16="http://schemas.microsoft.com/office/drawing/2014/main" id="{D2891B24-4023-41DF-AA3B-BADB48402D05}"/>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defRPr/>
            </a:pPr>
            <a:r>
              <a:rPr lang="en-US" sz="1801" b="1">
                <a:solidFill>
                  <a:prstClr val="black"/>
                </a:solidFill>
                <a:latin typeface="Open Sans" panose="020B0606030504020204" pitchFamily="34" charset="0"/>
                <a:ea typeface="Open Sans" panose="020B0606030504020204" pitchFamily="34" charset="0"/>
                <a:cs typeface="Open Sans" panose="020B0606030504020204" pitchFamily="34" charset="0"/>
              </a:rPr>
              <a:t>Audit Transformations: </a:t>
            </a:r>
            <a:r>
              <a:rPr lang="en-US" sz="1801" b="1">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rPr>
              <a:t>PI Cadence &amp; Release Dates</a:t>
            </a:r>
          </a:p>
        </p:txBody>
      </p:sp>
    </p:spTree>
    <p:extLst>
      <p:ext uri="{BB962C8B-B14F-4D97-AF65-F5344CB8AC3E}">
        <p14:creationId xmlns:p14="http://schemas.microsoft.com/office/powerpoint/2010/main" val="1096705808"/>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6B8ACF-BD03-4479-A703-3358E93E937F}"/>
              </a:ext>
            </a:extLst>
          </p:cNvPr>
          <p:cNvPicPr>
            <a:picLocks noChangeAspect="1"/>
          </p:cNvPicPr>
          <p:nvPr/>
        </p:nvPicPr>
        <p:blipFill>
          <a:blip r:embed="rId2"/>
          <a:stretch>
            <a:fillRect/>
          </a:stretch>
        </p:blipFill>
        <p:spPr>
          <a:xfrm>
            <a:off x="1524000" y="194299"/>
            <a:ext cx="9144000" cy="6469402"/>
          </a:xfrm>
          <a:prstGeom prst="rect">
            <a:avLst/>
          </a:prstGeom>
        </p:spPr>
      </p:pic>
      <p:sp>
        <p:nvSpPr>
          <p:cNvPr id="5" name="Rectangle 4">
            <a:extLst>
              <a:ext uri="{FF2B5EF4-FFF2-40B4-BE49-F238E27FC236}">
                <a16:creationId xmlns:a16="http://schemas.microsoft.com/office/drawing/2014/main" id="{B9AE732A-3455-43F6-894A-CB844DC2481A}"/>
              </a:ext>
            </a:extLst>
          </p:cNvPr>
          <p:cNvSpPr/>
          <p:nvPr/>
        </p:nvSpPr>
        <p:spPr>
          <a:xfrm>
            <a:off x="5490989" y="4125839"/>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86</a:t>
            </a:r>
          </a:p>
        </p:txBody>
      </p:sp>
      <p:sp>
        <p:nvSpPr>
          <p:cNvPr id="8" name="Rectangle 7">
            <a:extLst>
              <a:ext uri="{FF2B5EF4-FFF2-40B4-BE49-F238E27FC236}">
                <a16:creationId xmlns:a16="http://schemas.microsoft.com/office/drawing/2014/main" id="{5CC1DDC4-CA12-4653-A427-0BAFBD48701E}"/>
              </a:ext>
            </a:extLst>
          </p:cNvPr>
          <p:cNvSpPr/>
          <p:nvPr/>
        </p:nvSpPr>
        <p:spPr>
          <a:xfrm>
            <a:off x="3104322" y="1624148"/>
            <a:ext cx="5971320" cy="237368"/>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ch Deployment</a:t>
            </a:r>
          </a:p>
        </p:txBody>
      </p:sp>
      <p:sp>
        <p:nvSpPr>
          <p:cNvPr id="9" name="Rectangle 8">
            <a:extLst>
              <a:ext uri="{FF2B5EF4-FFF2-40B4-BE49-F238E27FC236}">
                <a16:creationId xmlns:a16="http://schemas.microsoft.com/office/drawing/2014/main" id="{FAE4E27C-01AA-42A0-BC1B-F5C6A08C3127}"/>
              </a:ext>
            </a:extLst>
          </p:cNvPr>
          <p:cNvSpPr/>
          <p:nvPr/>
        </p:nvSpPr>
        <p:spPr>
          <a:xfrm>
            <a:off x="4325103" y="3846497"/>
            <a:ext cx="3557206" cy="19715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I Planning - 6</a:t>
            </a:r>
          </a:p>
        </p:txBody>
      </p:sp>
      <p:sp>
        <p:nvSpPr>
          <p:cNvPr id="11" name="Rectangle 10">
            <a:extLst>
              <a:ext uri="{FF2B5EF4-FFF2-40B4-BE49-F238E27FC236}">
                <a16:creationId xmlns:a16="http://schemas.microsoft.com/office/drawing/2014/main" id="{5A1CAE29-60E3-454B-BD76-2CE96C226D29}"/>
              </a:ext>
            </a:extLst>
          </p:cNvPr>
          <p:cNvSpPr/>
          <p:nvPr/>
        </p:nvSpPr>
        <p:spPr>
          <a:xfrm>
            <a:off x="3104322" y="2949712"/>
            <a:ext cx="1113182" cy="268357"/>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 Holiday</a:t>
            </a:r>
          </a:p>
        </p:txBody>
      </p:sp>
      <p:pic>
        <p:nvPicPr>
          <p:cNvPr id="12" name="Picture 11" descr="A picture containing drawing, knife&#10;&#10;Description automatically generated">
            <a:extLst>
              <a:ext uri="{FF2B5EF4-FFF2-40B4-BE49-F238E27FC236}">
                <a16:creationId xmlns:a16="http://schemas.microsoft.com/office/drawing/2014/main" id="{358072C3-5582-48F1-B5A8-0B1A58F53070}"/>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464098" y="3491520"/>
            <a:ext cx="414985" cy="414985"/>
          </a:xfrm>
          <a:prstGeom prst="rect">
            <a:avLst/>
          </a:prstGeom>
        </p:spPr>
      </p:pic>
      <p:sp>
        <p:nvSpPr>
          <p:cNvPr id="13" name="TextBox 12">
            <a:extLst>
              <a:ext uri="{FF2B5EF4-FFF2-40B4-BE49-F238E27FC236}">
                <a16:creationId xmlns:a16="http://schemas.microsoft.com/office/drawing/2014/main" id="{6141AC9F-953C-478F-9CA1-4A1580C43DD0}"/>
              </a:ext>
            </a:extLst>
          </p:cNvPr>
          <p:cNvSpPr txBox="1"/>
          <p:nvPr/>
        </p:nvSpPr>
        <p:spPr>
          <a:xfrm>
            <a:off x="9075642" y="4043650"/>
            <a:ext cx="1197986" cy="246221"/>
          </a:xfrm>
          <a:prstGeom prst="rect">
            <a:avLst/>
          </a:prstGeom>
          <a:noFill/>
        </p:spPr>
        <p:txBody>
          <a:bodyPr wrap="square" lIns="91440" tIns="45720" rIns="91440" bIns="45720" rtlCol="0" anchor="t">
            <a:spAutoFit/>
          </a:bodyPr>
          <a:lstStyle/>
          <a:p>
            <a:pPr algn="ctr"/>
            <a:r>
              <a:rPr lang="en-US" sz="1000"/>
              <a:t>AO/DAD Deploy</a:t>
            </a:r>
          </a:p>
        </p:txBody>
      </p:sp>
      <p:pic>
        <p:nvPicPr>
          <p:cNvPr id="16" name="Picture 15" descr="A picture containing food&#10;&#10;Description automatically generated">
            <a:extLst>
              <a:ext uri="{FF2B5EF4-FFF2-40B4-BE49-F238E27FC236}">
                <a16:creationId xmlns:a16="http://schemas.microsoft.com/office/drawing/2014/main" id="{0F103226-EFD8-40D2-BE0C-353210ACF8A8}"/>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5874590" y="3326925"/>
            <a:ext cx="322079" cy="322079"/>
          </a:xfrm>
          <a:prstGeom prst="rect">
            <a:avLst/>
          </a:prstGeom>
        </p:spPr>
      </p:pic>
      <p:sp>
        <p:nvSpPr>
          <p:cNvPr id="17" name="TextBox 16">
            <a:extLst>
              <a:ext uri="{FF2B5EF4-FFF2-40B4-BE49-F238E27FC236}">
                <a16:creationId xmlns:a16="http://schemas.microsoft.com/office/drawing/2014/main" id="{1484552B-8A18-4EC2-977A-23127ACF74B4}"/>
              </a:ext>
            </a:extLst>
          </p:cNvPr>
          <p:cNvSpPr txBox="1"/>
          <p:nvPr/>
        </p:nvSpPr>
        <p:spPr>
          <a:xfrm>
            <a:off x="5436635" y="3636988"/>
            <a:ext cx="1197986" cy="246221"/>
          </a:xfrm>
          <a:prstGeom prst="rect">
            <a:avLst/>
          </a:prstGeom>
          <a:noFill/>
        </p:spPr>
        <p:txBody>
          <a:bodyPr wrap="square" rtlCol="0">
            <a:spAutoFit/>
          </a:bodyPr>
          <a:lstStyle/>
          <a:p>
            <a:pPr algn="ctr"/>
            <a:r>
              <a:rPr lang="en-US" sz="1000"/>
              <a:t>AO Start</a:t>
            </a:r>
          </a:p>
        </p:txBody>
      </p:sp>
      <p:sp>
        <p:nvSpPr>
          <p:cNvPr id="14" name="TextBox 13">
            <a:extLst>
              <a:ext uri="{FF2B5EF4-FFF2-40B4-BE49-F238E27FC236}">
                <a16:creationId xmlns:a16="http://schemas.microsoft.com/office/drawing/2014/main" id="{1FBD4A40-7E1B-462A-AD44-2E28380BB53D}"/>
              </a:ext>
            </a:extLst>
          </p:cNvPr>
          <p:cNvSpPr txBox="1"/>
          <p:nvPr/>
        </p:nvSpPr>
        <p:spPr>
          <a:xfrm>
            <a:off x="9087678" y="1515933"/>
            <a:ext cx="1197986" cy="400110"/>
          </a:xfrm>
          <a:prstGeom prst="rect">
            <a:avLst/>
          </a:prstGeom>
          <a:noFill/>
        </p:spPr>
        <p:txBody>
          <a:bodyPr wrap="square" rtlCol="0">
            <a:spAutoFit/>
          </a:bodyPr>
          <a:lstStyle/>
          <a:p>
            <a:pPr algn="ctr"/>
            <a:r>
              <a:rPr lang="en-US" sz="1000"/>
              <a:t>AO/ER Code Package</a:t>
            </a:r>
          </a:p>
        </p:txBody>
      </p:sp>
      <p:pic>
        <p:nvPicPr>
          <p:cNvPr id="15" name="Picture 14" descr="A picture containing drawing, knife&#10;&#10;Description automatically generated">
            <a:extLst>
              <a:ext uri="{FF2B5EF4-FFF2-40B4-BE49-F238E27FC236}">
                <a16:creationId xmlns:a16="http://schemas.microsoft.com/office/drawing/2014/main" id="{0E5390D4-31E4-42E1-B939-296F8108BCA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324093" y="2374278"/>
            <a:ext cx="414985" cy="414985"/>
          </a:xfrm>
          <a:prstGeom prst="rect">
            <a:avLst/>
          </a:prstGeom>
        </p:spPr>
      </p:pic>
      <p:sp>
        <p:nvSpPr>
          <p:cNvPr id="6" name="TextBox 5">
            <a:extLst>
              <a:ext uri="{FF2B5EF4-FFF2-40B4-BE49-F238E27FC236}">
                <a16:creationId xmlns:a16="http://schemas.microsoft.com/office/drawing/2014/main" id="{BAFDF251-1B3D-4FC1-A68C-2260D8AA4EF7}"/>
              </a:ext>
            </a:extLst>
          </p:cNvPr>
          <p:cNvSpPr txBox="1"/>
          <p:nvPr/>
        </p:nvSpPr>
        <p:spPr>
          <a:xfrm>
            <a:off x="7974498" y="2869681"/>
            <a:ext cx="1023258"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AQMM Deploy</a:t>
            </a:r>
          </a:p>
        </p:txBody>
      </p:sp>
      <p:sp>
        <p:nvSpPr>
          <p:cNvPr id="18" name="Rectangle 17">
            <a:extLst>
              <a:ext uri="{FF2B5EF4-FFF2-40B4-BE49-F238E27FC236}">
                <a16:creationId xmlns:a16="http://schemas.microsoft.com/office/drawing/2014/main" id="{C926C9B4-890E-4FA8-9CED-311E384898C6}"/>
              </a:ext>
            </a:extLst>
          </p:cNvPr>
          <p:cNvSpPr/>
          <p:nvPr/>
        </p:nvSpPr>
        <p:spPr>
          <a:xfrm>
            <a:off x="7947329" y="1916043"/>
            <a:ext cx="1113182" cy="268357"/>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 Holiday</a:t>
            </a:r>
          </a:p>
        </p:txBody>
      </p:sp>
    </p:spTree>
    <p:extLst>
      <p:ext uri="{BB962C8B-B14F-4D97-AF65-F5344CB8AC3E}">
        <p14:creationId xmlns:p14="http://schemas.microsoft.com/office/powerpoint/2010/main" val="12984146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C7AF6D-FB02-4960-B2A7-441D46B61C21}"/>
              </a:ext>
            </a:extLst>
          </p:cNvPr>
          <p:cNvPicPr>
            <a:picLocks noChangeAspect="1"/>
          </p:cNvPicPr>
          <p:nvPr/>
        </p:nvPicPr>
        <p:blipFill>
          <a:blip r:embed="rId2"/>
          <a:stretch>
            <a:fillRect/>
          </a:stretch>
        </p:blipFill>
        <p:spPr>
          <a:xfrm>
            <a:off x="1524000" y="222945"/>
            <a:ext cx="9144000" cy="6412110"/>
          </a:xfrm>
          <a:prstGeom prst="rect">
            <a:avLst/>
          </a:prstGeom>
        </p:spPr>
      </p:pic>
      <p:sp>
        <p:nvSpPr>
          <p:cNvPr id="5" name="Rectangle 4">
            <a:extLst>
              <a:ext uri="{FF2B5EF4-FFF2-40B4-BE49-F238E27FC236}">
                <a16:creationId xmlns:a16="http://schemas.microsoft.com/office/drawing/2014/main" id="{EF56FE92-1C4C-45C1-87EB-31AF5B8E6A10}"/>
              </a:ext>
            </a:extLst>
          </p:cNvPr>
          <p:cNvSpPr/>
          <p:nvPr/>
        </p:nvSpPr>
        <p:spPr>
          <a:xfrm>
            <a:off x="5497007" y="2005063"/>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87</a:t>
            </a:r>
          </a:p>
        </p:txBody>
      </p:sp>
      <p:sp>
        <p:nvSpPr>
          <p:cNvPr id="6" name="Rectangle 5">
            <a:extLst>
              <a:ext uri="{FF2B5EF4-FFF2-40B4-BE49-F238E27FC236}">
                <a16:creationId xmlns:a16="http://schemas.microsoft.com/office/drawing/2014/main" id="{4F351C80-8B16-4CCC-A581-CA32F16B4EAC}"/>
              </a:ext>
            </a:extLst>
          </p:cNvPr>
          <p:cNvSpPr/>
          <p:nvPr/>
        </p:nvSpPr>
        <p:spPr>
          <a:xfrm>
            <a:off x="5497007" y="5129263"/>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88</a:t>
            </a:r>
          </a:p>
        </p:txBody>
      </p:sp>
    </p:spTree>
    <p:extLst>
      <p:ext uri="{BB962C8B-B14F-4D97-AF65-F5344CB8AC3E}">
        <p14:creationId xmlns:p14="http://schemas.microsoft.com/office/powerpoint/2010/main" val="8792753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60753E-7F8A-45C7-BA44-E1CBA8112ADC}"/>
              </a:ext>
            </a:extLst>
          </p:cNvPr>
          <p:cNvPicPr>
            <a:picLocks noChangeAspect="1"/>
          </p:cNvPicPr>
          <p:nvPr/>
        </p:nvPicPr>
        <p:blipFill>
          <a:blip r:embed="rId2"/>
          <a:stretch>
            <a:fillRect/>
          </a:stretch>
        </p:blipFill>
        <p:spPr>
          <a:xfrm>
            <a:off x="1524000" y="193031"/>
            <a:ext cx="9144000" cy="6471939"/>
          </a:xfrm>
          <a:prstGeom prst="rect">
            <a:avLst/>
          </a:prstGeom>
        </p:spPr>
      </p:pic>
      <p:sp>
        <p:nvSpPr>
          <p:cNvPr id="5" name="Rectangle 4">
            <a:extLst>
              <a:ext uri="{FF2B5EF4-FFF2-40B4-BE49-F238E27FC236}">
                <a16:creationId xmlns:a16="http://schemas.microsoft.com/office/drawing/2014/main" id="{383D65FE-D76A-4A68-8812-0D7ABE13F917}"/>
              </a:ext>
            </a:extLst>
          </p:cNvPr>
          <p:cNvSpPr/>
          <p:nvPr/>
        </p:nvSpPr>
        <p:spPr>
          <a:xfrm>
            <a:off x="5497007" y="4079975"/>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89</a:t>
            </a:r>
          </a:p>
        </p:txBody>
      </p:sp>
      <p:sp>
        <p:nvSpPr>
          <p:cNvPr id="6" name="Rectangle 5">
            <a:extLst>
              <a:ext uri="{FF2B5EF4-FFF2-40B4-BE49-F238E27FC236}">
                <a16:creationId xmlns:a16="http://schemas.microsoft.com/office/drawing/2014/main" id="{D510E899-E7BE-48C0-B8AB-E7537413FDED}"/>
              </a:ext>
            </a:extLst>
          </p:cNvPr>
          <p:cNvSpPr/>
          <p:nvPr/>
        </p:nvSpPr>
        <p:spPr>
          <a:xfrm>
            <a:off x="3154017" y="2971800"/>
            <a:ext cx="1113182" cy="268357"/>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 Holiday</a:t>
            </a:r>
          </a:p>
        </p:txBody>
      </p:sp>
      <p:sp>
        <p:nvSpPr>
          <p:cNvPr id="7" name="Rectangle 6">
            <a:extLst>
              <a:ext uri="{FF2B5EF4-FFF2-40B4-BE49-F238E27FC236}">
                <a16:creationId xmlns:a16="http://schemas.microsoft.com/office/drawing/2014/main" id="{08874D39-55B8-4F66-A3A2-ACAB4E29C817}"/>
              </a:ext>
            </a:extLst>
          </p:cNvPr>
          <p:cNvSpPr/>
          <p:nvPr/>
        </p:nvSpPr>
        <p:spPr>
          <a:xfrm>
            <a:off x="7862117" y="3105978"/>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pic>
        <p:nvPicPr>
          <p:cNvPr id="8" name="Picture 7" descr="A close up of a sign&#10;&#10;Description automatically generated">
            <a:extLst>
              <a:ext uri="{FF2B5EF4-FFF2-40B4-BE49-F238E27FC236}">
                <a16:creationId xmlns:a16="http://schemas.microsoft.com/office/drawing/2014/main" id="{DCCB7AC7-6E34-4F20-914E-9AE2AAF15228}"/>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359105" y="4747755"/>
            <a:ext cx="317932" cy="317932"/>
          </a:xfrm>
          <a:prstGeom prst="rect">
            <a:avLst/>
          </a:prstGeom>
        </p:spPr>
      </p:pic>
      <p:sp>
        <p:nvSpPr>
          <p:cNvPr id="9" name="TextBox 2">
            <a:extLst>
              <a:ext uri="{FF2B5EF4-FFF2-40B4-BE49-F238E27FC236}">
                <a16:creationId xmlns:a16="http://schemas.microsoft.com/office/drawing/2014/main" id="{867EAE35-6EDD-44E1-9128-279BA8CE17A2}"/>
              </a:ext>
            </a:extLst>
          </p:cNvPr>
          <p:cNvSpPr txBox="1"/>
          <p:nvPr/>
        </p:nvSpPr>
        <p:spPr>
          <a:xfrm>
            <a:off x="7919078" y="5025740"/>
            <a:ext cx="1197986"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a:t>AO Code Freeze</a:t>
            </a:r>
          </a:p>
        </p:txBody>
      </p:sp>
      <p:sp>
        <p:nvSpPr>
          <p:cNvPr id="2" name="Rectangle 1">
            <a:extLst>
              <a:ext uri="{FF2B5EF4-FFF2-40B4-BE49-F238E27FC236}">
                <a16:creationId xmlns:a16="http://schemas.microsoft.com/office/drawing/2014/main" id="{8309D99B-2608-40D7-B337-A7EEDA1CA136}"/>
              </a:ext>
            </a:extLst>
          </p:cNvPr>
          <p:cNvSpPr/>
          <p:nvPr/>
        </p:nvSpPr>
        <p:spPr>
          <a:xfrm>
            <a:off x="3115245" y="5874912"/>
            <a:ext cx="6061412" cy="36347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pic>
        <p:nvPicPr>
          <p:cNvPr id="3" name="Picture 2" descr="A picture containing drawing, knife&#10;&#10;Description automatically generated">
            <a:extLst>
              <a:ext uri="{FF2B5EF4-FFF2-40B4-BE49-F238E27FC236}">
                <a16:creationId xmlns:a16="http://schemas.microsoft.com/office/drawing/2014/main" id="{7A963009-6FA2-43E9-8F94-5C0CC10AF29B}"/>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9392573" y="3431022"/>
            <a:ext cx="414985" cy="414985"/>
          </a:xfrm>
          <a:prstGeom prst="rect">
            <a:avLst/>
          </a:prstGeom>
        </p:spPr>
      </p:pic>
      <p:sp>
        <p:nvSpPr>
          <p:cNvPr id="13" name="TextBox 12">
            <a:extLst>
              <a:ext uri="{FF2B5EF4-FFF2-40B4-BE49-F238E27FC236}">
                <a16:creationId xmlns:a16="http://schemas.microsoft.com/office/drawing/2014/main" id="{4D1E270B-F5FA-4ADB-BD04-F3EFCB65977C}"/>
              </a:ext>
            </a:extLst>
          </p:cNvPr>
          <p:cNvSpPr txBox="1"/>
          <p:nvPr/>
        </p:nvSpPr>
        <p:spPr>
          <a:xfrm>
            <a:off x="8988821" y="3930637"/>
            <a:ext cx="1284018" cy="246221"/>
          </a:xfrm>
          <a:prstGeom prst="rect">
            <a:avLst/>
          </a:prstGeom>
          <a:noFill/>
        </p:spPr>
        <p:txBody>
          <a:bodyPr wrap="square" lIns="91440" tIns="45720" rIns="91440" bIns="45720" rtlCol="0" anchor="t">
            <a:spAutoFit/>
          </a:bodyPr>
          <a:lstStyle/>
          <a:p>
            <a:pPr algn="ctr"/>
            <a:r>
              <a:rPr lang="en-US" sz="1000"/>
              <a:t>ER Deploy</a:t>
            </a:r>
            <a:endParaRPr lang="en-US" sz="1000">
              <a:cs typeface="Calibri"/>
            </a:endParaRPr>
          </a:p>
        </p:txBody>
      </p:sp>
    </p:spTree>
    <p:extLst>
      <p:ext uri="{BB962C8B-B14F-4D97-AF65-F5344CB8AC3E}">
        <p14:creationId xmlns:p14="http://schemas.microsoft.com/office/powerpoint/2010/main" val="2823402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88F2756D-BFEC-4C0E-A280-EEE3D75C996A}"/>
              </a:ext>
            </a:extLst>
          </p:cNvPr>
          <p:cNvSpPr/>
          <p:nvPr/>
        </p:nvSpPr>
        <p:spPr>
          <a:xfrm>
            <a:off x="1460971" y="5712548"/>
            <a:ext cx="10209513" cy="337919"/>
          </a:xfrm>
          <a:prstGeom prst="roundRect">
            <a:avLst/>
          </a:prstGeom>
          <a:solidFill>
            <a:schemeClr val="tx1">
              <a:lumMod val="50000"/>
              <a:lumOff val="50000"/>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92"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rPr>
              <a:t>Content (2)  | Tech Controls (4) | Learning  (2)  | Tech Deployment (</a:t>
            </a:r>
            <a:r>
              <a:rPr lang="en-US" sz="1100">
                <a:solidFill>
                  <a:prstClr val="black"/>
                </a:solidFill>
                <a:latin typeface="Open Sans Light"/>
                <a:ea typeface="Open Sans Light" panose="020B0306030504020204" pitchFamily="34" charset="0"/>
                <a:cs typeface="Open Sans Light" panose="020B0306030504020204" pitchFamily="34" charset="0"/>
              </a:rPr>
              <a:t>2)</a:t>
            </a:r>
            <a:r>
              <a:rPr kumimoji="0" lang="en-US" sz="1100" b="0"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rPr>
              <a:t>  | Business Deployment (2)  | Support (3) | Control Data (1)</a:t>
            </a:r>
          </a:p>
        </p:txBody>
      </p:sp>
      <p:sp>
        <p:nvSpPr>
          <p:cNvPr id="3" name="Rectangle: Rounded Corners 2">
            <a:extLst>
              <a:ext uri="{FF2B5EF4-FFF2-40B4-BE49-F238E27FC236}">
                <a16:creationId xmlns:a16="http://schemas.microsoft.com/office/drawing/2014/main" id="{221918E3-ABCE-4B86-AAE5-097AF77F6E06}"/>
              </a:ext>
            </a:extLst>
          </p:cNvPr>
          <p:cNvSpPr/>
          <p:nvPr/>
        </p:nvSpPr>
        <p:spPr>
          <a:xfrm>
            <a:off x="1424100" y="6145460"/>
            <a:ext cx="10215302" cy="319484"/>
          </a:xfrm>
          <a:prstGeom prst="roundRect">
            <a:avLst/>
          </a:prstGeom>
          <a:solidFill>
            <a:srgbClr val="FF9900">
              <a:alpha val="2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92"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rPr>
              <a:t>Performance Testing (1)  | Security Testing (1) | Ops Testing (1)</a:t>
            </a:r>
          </a:p>
        </p:txBody>
      </p:sp>
      <p:graphicFrame>
        <p:nvGraphicFramePr>
          <p:cNvPr id="4" name="Table 3">
            <a:extLst>
              <a:ext uri="{FF2B5EF4-FFF2-40B4-BE49-F238E27FC236}">
                <a16:creationId xmlns:a16="http://schemas.microsoft.com/office/drawing/2014/main" id="{FE664A44-2B52-48E1-842B-86373307A2AD}"/>
              </a:ext>
            </a:extLst>
          </p:cNvPr>
          <p:cNvGraphicFramePr>
            <a:graphicFrameLocks noGrp="1"/>
          </p:cNvGraphicFramePr>
          <p:nvPr>
            <p:extLst>
              <p:ext uri="{D42A27DB-BD31-4B8C-83A1-F6EECF244321}">
                <p14:modId xmlns:p14="http://schemas.microsoft.com/office/powerpoint/2010/main" val="557974333"/>
              </p:ext>
            </p:extLst>
          </p:nvPr>
        </p:nvGraphicFramePr>
        <p:xfrm>
          <a:off x="381413" y="3947834"/>
          <a:ext cx="11371912" cy="1784396"/>
        </p:xfrm>
        <a:graphic>
          <a:graphicData uri="http://schemas.openxmlformats.org/drawingml/2006/table">
            <a:tbl>
              <a:tblPr firstRow="1" bandRow="1">
                <a:tableStyleId>{5A111915-BE36-4E01-A7E5-04B1672EAD32}</a:tableStyleId>
              </a:tblPr>
              <a:tblGrid>
                <a:gridCol w="642926">
                  <a:extLst>
                    <a:ext uri="{9D8B030D-6E8A-4147-A177-3AD203B41FA5}">
                      <a16:colId xmlns:a16="http://schemas.microsoft.com/office/drawing/2014/main" val="490868266"/>
                    </a:ext>
                  </a:extLst>
                </a:gridCol>
                <a:gridCol w="691330">
                  <a:extLst>
                    <a:ext uri="{9D8B030D-6E8A-4147-A177-3AD203B41FA5}">
                      <a16:colId xmlns:a16="http://schemas.microsoft.com/office/drawing/2014/main" val="1360615403"/>
                    </a:ext>
                  </a:extLst>
                </a:gridCol>
                <a:gridCol w="953121">
                  <a:extLst>
                    <a:ext uri="{9D8B030D-6E8A-4147-A177-3AD203B41FA5}">
                      <a16:colId xmlns:a16="http://schemas.microsoft.com/office/drawing/2014/main" val="218933133"/>
                    </a:ext>
                  </a:extLst>
                </a:gridCol>
                <a:gridCol w="800576">
                  <a:extLst>
                    <a:ext uri="{9D8B030D-6E8A-4147-A177-3AD203B41FA5}">
                      <a16:colId xmlns:a16="http://schemas.microsoft.com/office/drawing/2014/main" val="3069890019"/>
                    </a:ext>
                  </a:extLst>
                </a:gridCol>
                <a:gridCol w="717181">
                  <a:extLst>
                    <a:ext uri="{9D8B030D-6E8A-4147-A177-3AD203B41FA5}">
                      <a16:colId xmlns:a16="http://schemas.microsoft.com/office/drawing/2014/main" val="2527660415"/>
                    </a:ext>
                  </a:extLst>
                </a:gridCol>
                <a:gridCol w="742199">
                  <a:extLst>
                    <a:ext uri="{9D8B030D-6E8A-4147-A177-3AD203B41FA5}">
                      <a16:colId xmlns:a16="http://schemas.microsoft.com/office/drawing/2014/main" val="2006530107"/>
                    </a:ext>
                  </a:extLst>
                </a:gridCol>
                <a:gridCol w="833933">
                  <a:extLst>
                    <a:ext uri="{9D8B030D-6E8A-4147-A177-3AD203B41FA5}">
                      <a16:colId xmlns:a16="http://schemas.microsoft.com/office/drawing/2014/main" val="184342286"/>
                    </a:ext>
                  </a:extLst>
                </a:gridCol>
                <a:gridCol w="883969">
                  <a:extLst>
                    <a:ext uri="{9D8B030D-6E8A-4147-A177-3AD203B41FA5}">
                      <a16:colId xmlns:a16="http://schemas.microsoft.com/office/drawing/2014/main" val="1374490487"/>
                    </a:ext>
                  </a:extLst>
                </a:gridCol>
                <a:gridCol w="850611">
                  <a:extLst>
                    <a:ext uri="{9D8B030D-6E8A-4147-A177-3AD203B41FA5}">
                      <a16:colId xmlns:a16="http://schemas.microsoft.com/office/drawing/2014/main" val="2103432557"/>
                    </a:ext>
                  </a:extLst>
                </a:gridCol>
                <a:gridCol w="1000719">
                  <a:extLst>
                    <a:ext uri="{9D8B030D-6E8A-4147-A177-3AD203B41FA5}">
                      <a16:colId xmlns:a16="http://schemas.microsoft.com/office/drawing/2014/main" val="4170342295"/>
                    </a:ext>
                  </a:extLst>
                </a:gridCol>
                <a:gridCol w="1000719">
                  <a:extLst>
                    <a:ext uri="{9D8B030D-6E8A-4147-A177-3AD203B41FA5}">
                      <a16:colId xmlns:a16="http://schemas.microsoft.com/office/drawing/2014/main" val="3193646302"/>
                    </a:ext>
                  </a:extLst>
                </a:gridCol>
                <a:gridCol w="750540">
                  <a:extLst>
                    <a:ext uri="{9D8B030D-6E8A-4147-A177-3AD203B41FA5}">
                      <a16:colId xmlns:a16="http://schemas.microsoft.com/office/drawing/2014/main" val="1331743773"/>
                    </a:ext>
                  </a:extLst>
                </a:gridCol>
                <a:gridCol w="783897">
                  <a:extLst>
                    <a:ext uri="{9D8B030D-6E8A-4147-A177-3AD203B41FA5}">
                      <a16:colId xmlns:a16="http://schemas.microsoft.com/office/drawing/2014/main" val="3013377269"/>
                    </a:ext>
                  </a:extLst>
                </a:gridCol>
                <a:gridCol w="720191">
                  <a:extLst>
                    <a:ext uri="{9D8B030D-6E8A-4147-A177-3AD203B41FA5}">
                      <a16:colId xmlns:a16="http://schemas.microsoft.com/office/drawing/2014/main" val="2907981492"/>
                    </a:ext>
                  </a:extLst>
                </a:gridCol>
              </a:tblGrid>
              <a:tr h="457962">
                <a:tc>
                  <a:txBody>
                    <a:bodyPr/>
                    <a:lstStyle/>
                    <a:p>
                      <a:pPr algn="ctr"/>
                      <a:r>
                        <a:rPr lang="en-US" sz="1050">
                          <a:latin typeface="Open Sans"/>
                          <a:ea typeface="Open Sans"/>
                          <a:cs typeface="Open Sans"/>
                        </a:rPr>
                        <a:t>Team</a:t>
                      </a:r>
                    </a:p>
                  </a:txBody>
                  <a:tcPr marL="68580" marR="68580" marT="28340" marB="28340" anchor="ctr">
                    <a:solidFill>
                      <a:schemeClr val="accent4"/>
                    </a:solidFill>
                  </a:tcPr>
                </a:tc>
                <a:tc>
                  <a:txBody>
                    <a:bodyPr/>
                    <a:lstStyle/>
                    <a:p>
                      <a:pPr algn="ctr"/>
                      <a:r>
                        <a:rPr lang="en-US" sz="1050">
                          <a:latin typeface="Open Sans"/>
                          <a:ea typeface="Open Sans"/>
                          <a:cs typeface="Open Sans"/>
                        </a:rPr>
                        <a:t>Jaguars</a:t>
                      </a:r>
                    </a:p>
                  </a:txBody>
                  <a:tcPr marL="68580" marR="68580" marT="28340" marB="28340" anchor="ctr">
                    <a:solidFill>
                      <a:schemeClr val="accent3"/>
                    </a:solidFill>
                  </a:tcPr>
                </a:tc>
                <a:tc>
                  <a:txBody>
                    <a:bodyPr/>
                    <a:lstStyle/>
                    <a:p>
                      <a:pPr algn="ctr"/>
                      <a:r>
                        <a:rPr lang="en-US" sz="1050">
                          <a:latin typeface="Open Sans"/>
                          <a:ea typeface="Open Sans"/>
                          <a:cs typeface="Open Sans"/>
                        </a:rPr>
                        <a:t>Technokats</a:t>
                      </a:r>
                      <a:endParaRPr lang="en-US" sz="1050" err="1">
                        <a:latin typeface="Open Sans"/>
                        <a:ea typeface="Open Sans"/>
                        <a:cs typeface="Open Sans"/>
                      </a:endParaRPr>
                    </a:p>
                  </a:txBody>
                  <a:tcPr marL="68580" marR="68580" marT="28340" marB="28340" anchor="ctr">
                    <a:solidFill>
                      <a:schemeClr val="accent3"/>
                    </a:solidFill>
                  </a:tcPr>
                </a:tc>
                <a:tc>
                  <a:txBody>
                    <a:bodyPr/>
                    <a:lstStyle/>
                    <a:p>
                      <a:pPr algn="ctr"/>
                      <a:r>
                        <a:rPr lang="en-US" sz="1050">
                          <a:latin typeface="Open Sans"/>
                          <a:ea typeface="Open Sans"/>
                          <a:cs typeface="Open Sans"/>
                        </a:rPr>
                        <a:t>Autocrats</a:t>
                      </a:r>
                    </a:p>
                  </a:txBody>
                  <a:tcPr marL="68580" marR="68580" marT="28340" marB="28340" anchor="ctr">
                    <a:solidFill>
                      <a:schemeClr val="accent3"/>
                    </a:solidFill>
                  </a:tcPr>
                </a:tc>
                <a:tc>
                  <a:txBody>
                    <a:bodyPr/>
                    <a:lstStyle/>
                    <a:p>
                      <a:pPr algn="ctr"/>
                      <a:r>
                        <a:rPr lang="en-US" sz="1050">
                          <a:latin typeface="Open Sans"/>
                          <a:ea typeface="Open Sans"/>
                          <a:cs typeface="Open Sans"/>
                        </a:rPr>
                        <a:t>Apex</a:t>
                      </a:r>
                    </a:p>
                  </a:txBody>
                  <a:tcPr marL="68580" marR="68580" marT="28340" marB="28340" anchor="ctr">
                    <a:solidFill>
                      <a:schemeClr val="accent3">
                        <a:lumMod val="75000"/>
                      </a:schemeClr>
                    </a:solidFill>
                  </a:tcPr>
                </a:tc>
                <a:tc>
                  <a:txBody>
                    <a:bodyPr/>
                    <a:lstStyle/>
                    <a:p>
                      <a:pPr lvl="0" algn="ctr">
                        <a:buNone/>
                      </a:pPr>
                      <a:r>
                        <a:rPr lang="en-US" sz="1050">
                          <a:latin typeface="Open Sans"/>
                          <a:ea typeface="Open Sans"/>
                          <a:cs typeface="Open Sans"/>
                        </a:rPr>
                        <a:t>Jamaica</a:t>
                      </a:r>
                    </a:p>
                  </a:txBody>
                  <a:tcPr marL="68580" marR="68580" marT="28340" marB="28340" anchor="ctr"/>
                </a:tc>
                <a:tc>
                  <a:txBody>
                    <a:bodyPr/>
                    <a:lstStyle/>
                    <a:p>
                      <a:pPr algn="ctr"/>
                      <a:r>
                        <a:rPr lang="en-US" sz="1050">
                          <a:latin typeface="Open Sans"/>
                          <a:ea typeface="Open Sans"/>
                          <a:cs typeface="Open Sans"/>
                        </a:rPr>
                        <a:t>Bahamas</a:t>
                      </a:r>
                    </a:p>
                  </a:txBody>
                  <a:tcPr marL="68580" marR="68580" marT="28340" marB="28340" anchor="ctr"/>
                </a:tc>
                <a:tc>
                  <a:txBody>
                    <a:bodyPr/>
                    <a:lstStyle/>
                    <a:p>
                      <a:pPr lvl="0" algn="ctr">
                        <a:buNone/>
                      </a:pPr>
                      <a:r>
                        <a:rPr lang="en-US" sz="1050">
                          <a:latin typeface="Open Sans"/>
                          <a:ea typeface="Open Sans"/>
                          <a:cs typeface="Open Sans"/>
                        </a:rPr>
                        <a:t>Amigos</a:t>
                      </a:r>
                    </a:p>
                  </a:txBody>
                  <a:tcPr marL="68580" marR="68580" marT="28340" marB="28340" anchor="ctr"/>
                </a:tc>
                <a:tc>
                  <a:txBody>
                    <a:bodyPr/>
                    <a:lstStyle/>
                    <a:p>
                      <a:pPr algn="ctr"/>
                      <a:r>
                        <a:rPr lang="en-US" sz="1050">
                          <a:latin typeface="Open Sans"/>
                          <a:ea typeface="Open Sans"/>
                          <a:cs typeface="Open Sans"/>
                        </a:rPr>
                        <a:t>Content Fosters</a:t>
                      </a:r>
                    </a:p>
                  </a:txBody>
                  <a:tcPr marL="68580" marR="68580" marT="28340" marB="28340" anchor="ctr"/>
                </a:tc>
                <a:tc>
                  <a:txBody>
                    <a:bodyPr/>
                    <a:lstStyle/>
                    <a:p>
                      <a:pPr lvl="0" algn="ctr">
                        <a:buNone/>
                      </a:pPr>
                      <a:r>
                        <a:rPr lang="en-US" sz="1050">
                          <a:latin typeface="Open Sans"/>
                          <a:ea typeface="Open Sans"/>
                          <a:cs typeface="Open Sans"/>
                        </a:rPr>
                        <a:t>Data Warriors</a:t>
                      </a:r>
                    </a:p>
                  </a:txBody>
                  <a:tcPr marL="68580" marR="68580" marT="28340" marB="28340">
                    <a:solidFill>
                      <a:srgbClr val="62B5E5"/>
                    </a:solidFill>
                  </a:tcPr>
                </a:tc>
                <a:tc>
                  <a:txBody>
                    <a:bodyPr/>
                    <a:lstStyle/>
                    <a:p>
                      <a:pPr algn="ctr"/>
                      <a:r>
                        <a:rPr lang="en-US" sz="1050">
                          <a:latin typeface="Open Sans"/>
                          <a:ea typeface="Open Sans"/>
                          <a:cs typeface="Open Sans"/>
                        </a:rPr>
                        <a:t>Data Routers</a:t>
                      </a:r>
                    </a:p>
                    <a:p>
                      <a:pPr algn="ctr"/>
                      <a:r>
                        <a:rPr lang="en-US" sz="1050">
                          <a:latin typeface="Open Sans"/>
                          <a:ea typeface="Open Sans"/>
                          <a:cs typeface="Open Sans"/>
                        </a:rPr>
                        <a:t>(Kanini)</a:t>
                      </a:r>
                    </a:p>
                  </a:txBody>
                  <a:tcPr marL="68580" marR="68580" marT="28340" marB="28340" anchor="ctr">
                    <a:solidFill>
                      <a:srgbClr val="62B5E5"/>
                    </a:solidFill>
                  </a:tcPr>
                </a:tc>
                <a:tc>
                  <a:txBody>
                    <a:bodyPr/>
                    <a:lstStyle/>
                    <a:p>
                      <a:pPr algn="ctr"/>
                      <a:r>
                        <a:rPr lang="en-US" sz="1050">
                          <a:latin typeface="Open Sans"/>
                          <a:ea typeface="Open Sans"/>
                          <a:cs typeface="Open Sans"/>
                        </a:rPr>
                        <a:t>Data Dynamics</a:t>
                      </a:r>
                    </a:p>
                  </a:txBody>
                  <a:tcPr marL="68580" marR="68580" marT="28340" marB="28340" anchor="ctr">
                    <a:solidFill>
                      <a:srgbClr val="62B5E5"/>
                    </a:solidFill>
                  </a:tcPr>
                </a:tc>
                <a:tc>
                  <a:txBody>
                    <a:bodyPr/>
                    <a:lstStyle/>
                    <a:p>
                      <a:pPr lvl="0" algn="ctr">
                        <a:buNone/>
                      </a:pPr>
                      <a:r>
                        <a:rPr lang="en-US" sz="1050">
                          <a:latin typeface="Open Sans"/>
                          <a:ea typeface="Open Sans"/>
                          <a:cs typeface="Open Sans"/>
                        </a:rPr>
                        <a:t>Falcon Heavy</a:t>
                      </a:r>
                    </a:p>
                  </a:txBody>
                  <a:tcPr marL="68580" marR="68580" marT="28340" marB="28340" anchor="ctr">
                    <a:solidFill>
                      <a:srgbClr val="62B5E5"/>
                    </a:solidFill>
                  </a:tcPr>
                </a:tc>
                <a:tc>
                  <a:txBody>
                    <a:bodyPr/>
                    <a:lstStyle/>
                    <a:p>
                      <a:pPr lvl="0" algn="ctr">
                        <a:buNone/>
                      </a:pPr>
                      <a:r>
                        <a:rPr lang="en-US" sz="1050">
                          <a:latin typeface="Open Sans"/>
                          <a:ea typeface="Open Sans"/>
                          <a:cs typeface="Open Sans"/>
                        </a:rPr>
                        <a:t>Saturn V</a:t>
                      </a:r>
                    </a:p>
                  </a:txBody>
                  <a:tcPr marL="68580" marR="68580" marT="28340" marB="28340" anchor="ctr">
                    <a:solidFill>
                      <a:srgbClr val="62B5E5"/>
                    </a:solidFill>
                  </a:tcPr>
                </a:tc>
                <a:extLst>
                  <a:ext uri="{0D108BD9-81ED-4DB2-BD59-A6C34878D82A}">
                    <a16:rowId xmlns:a16="http://schemas.microsoft.com/office/drawing/2014/main" val="3312786368"/>
                  </a:ext>
                </a:extLst>
              </a:tr>
              <a:tr h="614282">
                <a:tc>
                  <a:txBody>
                    <a:bodyPr/>
                    <a:lstStyle/>
                    <a:p>
                      <a:pPr algn="ctr"/>
                      <a:r>
                        <a:rPr lang="en-US" sz="1050" b="1">
                          <a:latin typeface="Open Sans"/>
                          <a:ea typeface="Open Sans"/>
                          <a:cs typeface="Open Sans"/>
                        </a:rPr>
                        <a:t>PO</a:t>
                      </a:r>
                      <a:endParaRPr lang="en-US" sz="1050" b="1">
                        <a:solidFill>
                          <a:schemeClr val="tx2">
                            <a:lumMod val="50000"/>
                          </a:schemeClr>
                        </a:solidFill>
                        <a:latin typeface="Open Sans"/>
                        <a:ea typeface="Open Sans"/>
                        <a:cs typeface="Open Sans"/>
                      </a:endParaRPr>
                    </a:p>
                  </a:txBody>
                  <a:tcPr marL="68580" marR="68580" marT="28340" marB="28340" anchor="ctr"/>
                </a:tc>
                <a:tc>
                  <a:txBody>
                    <a:bodyPr/>
                    <a:lstStyle/>
                    <a:p>
                      <a:pPr algn="ctr"/>
                      <a:r>
                        <a:rPr lang="en-US" sz="1050">
                          <a:solidFill>
                            <a:schemeClr val="tx2">
                              <a:lumMod val="50000"/>
                            </a:schemeClr>
                          </a:solidFill>
                          <a:latin typeface="Open Sans"/>
                          <a:ea typeface="Open Sans"/>
                          <a:cs typeface="Open Sans"/>
                        </a:rPr>
                        <a:t>Bhavita M </a:t>
                      </a:r>
                    </a:p>
                    <a:p>
                      <a:pPr lvl="0" algn="ctr">
                        <a:buNone/>
                      </a:pPr>
                      <a:r>
                        <a:rPr lang="en-US" sz="1050">
                          <a:solidFill>
                            <a:schemeClr val="tx2">
                              <a:lumMod val="50000"/>
                            </a:schemeClr>
                          </a:solidFill>
                          <a:latin typeface="Open Sans"/>
                          <a:ea typeface="Open Sans"/>
                          <a:cs typeface="Open Sans"/>
                        </a:rPr>
                        <a:t>Zois B </a:t>
                      </a:r>
                    </a:p>
                  </a:txBody>
                  <a:tcPr marL="68580" marR="68580" marT="28340" marB="28340" anchor="ctr"/>
                </a:tc>
                <a:tc>
                  <a:txBody>
                    <a:bodyPr/>
                    <a:lstStyle/>
                    <a:p>
                      <a:pPr algn="ctr"/>
                      <a:r>
                        <a:rPr lang="en-US" sz="1050" kern="1200" noProof="0">
                          <a:latin typeface="Open Sans"/>
                          <a:ea typeface="Open Sans"/>
                          <a:cs typeface="Open Sans"/>
                        </a:rPr>
                        <a:t>Manohar P</a:t>
                      </a:r>
                    </a:p>
                    <a:p>
                      <a:pPr lvl="0" algn="ctr">
                        <a:buNone/>
                      </a:pPr>
                      <a:r>
                        <a:rPr lang="en-US" sz="1050" kern="1200" noProof="0">
                          <a:latin typeface="Open Sans"/>
                          <a:ea typeface="Open Sans"/>
                          <a:cs typeface="Open Sans"/>
                        </a:rPr>
                        <a:t>Bornita B</a:t>
                      </a:r>
                    </a:p>
                  </a:txBody>
                  <a:tcPr marL="68580" marR="68580" marT="28340" marB="28340" anchor="ctr"/>
                </a:tc>
                <a:tc>
                  <a:txBody>
                    <a:bodyPr/>
                    <a:lstStyle/>
                    <a:p>
                      <a:pPr algn="ctr"/>
                      <a:r>
                        <a:rPr lang="en-US" sz="1050">
                          <a:solidFill>
                            <a:schemeClr val="tx2">
                              <a:lumMod val="50000"/>
                            </a:schemeClr>
                          </a:solidFill>
                          <a:latin typeface="Open Sans"/>
                          <a:ea typeface="Open Sans"/>
                          <a:cs typeface="Open Sans"/>
                        </a:rPr>
                        <a:t>Ramana G</a:t>
                      </a:r>
                    </a:p>
                    <a:p>
                      <a:pPr lvl="0" algn="ctr">
                        <a:buNone/>
                      </a:pPr>
                      <a:r>
                        <a:rPr lang="en-US" sz="1050">
                          <a:solidFill>
                            <a:schemeClr val="tx2">
                              <a:lumMod val="50000"/>
                            </a:schemeClr>
                          </a:solidFill>
                          <a:latin typeface="Open Sans"/>
                        </a:rPr>
                        <a:t>John K</a:t>
                      </a:r>
                    </a:p>
                  </a:txBody>
                  <a:tcPr marL="68580" marR="68580" marT="28340" marB="28340" anchor="ctr"/>
                </a:tc>
                <a:tc>
                  <a:txBody>
                    <a:bodyPr/>
                    <a:lstStyle/>
                    <a:p>
                      <a:pPr algn="ctr"/>
                      <a:r>
                        <a:rPr lang="en-US" sz="1050">
                          <a:solidFill>
                            <a:schemeClr val="tx2">
                              <a:lumMod val="50000"/>
                            </a:schemeClr>
                          </a:solidFill>
                          <a:latin typeface="Open Sans"/>
                          <a:ea typeface="Open Sans"/>
                          <a:cs typeface="Open Sans"/>
                        </a:rPr>
                        <a:t>Bhavita M </a:t>
                      </a:r>
                    </a:p>
                    <a:p>
                      <a:pPr lvl="0" algn="ctr">
                        <a:buNone/>
                      </a:pPr>
                      <a:r>
                        <a:rPr lang="en-US" sz="1050">
                          <a:solidFill>
                            <a:schemeClr val="tx2">
                              <a:lumMod val="50000"/>
                            </a:schemeClr>
                          </a:solidFill>
                          <a:latin typeface="Open Sans"/>
                          <a:ea typeface="Open Sans"/>
                          <a:cs typeface="Open Sans"/>
                        </a:rPr>
                        <a:t>Zois B </a:t>
                      </a:r>
                    </a:p>
                  </a:txBody>
                  <a:tcPr marL="68580" marR="68580" marT="28340" marB="28340" anchor="ctr"/>
                </a:tc>
                <a:tc>
                  <a:txBody>
                    <a:bodyPr/>
                    <a:lstStyle/>
                    <a:p>
                      <a:pPr lvl="0" algn="ctr">
                        <a:buNone/>
                      </a:pPr>
                      <a:r>
                        <a:rPr lang="en-US" sz="1050">
                          <a:latin typeface="Open Sans"/>
                          <a:ea typeface="Open Sans"/>
                          <a:cs typeface="Open Sans"/>
                        </a:rPr>
                        <a:t>Rakesh S </a:t>
                      </a:r>
                    </a:p>
                    <a:p>
                      <a:pPr lvl="0" algn="ctr">
                        <a:buNone/>
                      </a:pPr>
                      <a:r>
                        <a:rPr lang="en-US" sz="1050" kern="1200" noProof="0">
                          <a:solidFill>
                            <a:schemeClr val="tx1"/>
                          </a:solidFill>
                          <a:latin typeface="Open Sans"/>
                          <a:ea typeface="+mn-ea"/>
                          <a:cs typeface="+mn-cs"/>
                        </a:rPr>
                        <a:t>Usha M</a:t>
                      </a:r>
                    </a:p>
                  </a:txBody>
                  <a:tcPr marL="68580" marR="68580" marT="28340" marB="28340" anchor="ctr"/>
                </a:tc>
                <a:tc>
                  <a:txBody>
                    <a:bodyPr/>
                    <a:lstStyle/>
                    <a:p>
                      <a:pPr algn="ctr"/>
                      <a:r>
                        <a:rPr lang="en-US" sz="1050">
                          <a:latin typeface="Open Sans"/>
                          <a:ea typeface="Open Sans"/>
                          <a:cs typeface="Open Sans"/>
                        </a:rPr>
                        <a:t>Rakesh S</a:t>
                      </a:r>
                    </a:p>
                    <a:p>
                      <a:pPr lvl="0" algn="ctr">
                        <a:buNone/>
                      </a:pPr>
                      <a:r>
                        <a:rPr lang="en-US" sz="1050" kern="1200" noProof="0">
                          <a:solidFill>
                            <a:schemeClr val="tx1"/>
                          </a:solidFill>
                          <a:latin typeface="Open Sans"/>
                        </a:rPr>
                        <a:t>Vani V</a:t>
                      </a:r>
                    </a:p>
                  </a:txBody>
                  <a:tcPr marL="68580" marR="68580" marT="28340" marB="28340" anchor="ctr"/>
                </a:tc>
                <a:tc>
                  <a:txBody>
                    <a:bodyPr/>
                    <a:lstStyle/>
                    <a:p>
                      <a:pPr lvl="0" algn="ctr">
                        <a:buNone/>
                      </a:pPr>
                      <a:endParaRPr lang="en-US" sz="1050" kern="1200" noProof="0">
                        <a:solidFill>
                          <a:schemeClr val="tx1"/>
                        </a:solidFill>
                        <a:latin typeface="Open Sans"/>
                        <a:ea typeface="+mn-ea"/>
                        <a:cs typeface="+mn-cs"/>
                      </a:endParaRPr>
                    </a:p>
                    <a:p>
                      <a:pPr lvl="0" algn="ctr">
                        <a:buNone/>
                      </a:pPr>
                      <a:r>
                        <a:rPr lang="en-US" sz="1050" kern="1200" noProof="0">
                          <a:solidFill>
                            <a:schemeClr val="tx1"/>
                          </a:solidFill>
                          <a:latin typeface="Open Sans"/>
                          <a:ea typeface="+mn-ea"/>
                          <a:cs typeface="+mn-cs"/>
                        </a:rPr>
                        <a:t>Debbie E, Rakesh S</a:t>
                      </a:r>
                    </a:p>
                  </a:txBody>
                  <a:tcPr marL="68580" marR="68580" marT="28340" marB="28340"/>
                </a:tc>
                <a:tc>
                  <a:txBody>
                    <a:bodyPr/>
                    <a:lstStyle/>
                    <a:p>
                      <a:pPr algn="ctr"/>
                      <a:endParaRPr lang="en-US" sz="1050">
                        <a:latin typeface="Open Sans"/>
                        <a:ea typeface="Open Sans" panose="020B0606030504020204" pitchFamily="34" charset="0"/>
                        <a:cs typeface="Open Sans" panose="020B0606030504020204" pitchFamily="34" charset="0"/>
                      </a:endParaRPr>
                    </a:p>
                    <a:p>
                      <a:pPr lvl="0" algn="ctr">
                        <a:buNone/>
                      </a:pPr>
                      <a:r>
                        <a:rPr lang="en-US" sz="1050">
                          <a:latin typeface="Open Sans"/>
                        </a:rPr>
                        <a:t>Kavya G,</a:t>
                      </a:r>
                    </a:p>
                    <a:p>
                      <a:pPr lvl="0" algn="ctr">
                        <a:buNone/>
                      </a:pPr>
                      <a:r>
                        <a:rPr lang="en-US" sz="1050">
                          <a:latin typeface="Open Sans"/>
                        </a:rPr>
                        <a:t>Sonal S</a:t>
                      </a:r>
                    </a:p>
                  </a:txBody>
                  <a:tcPr marL="68580" marR="68580" marT="28340" marB="28340" anchor="ctr"/>
                </a:tc>
                <a:tc>
                  <a:txBody>
                    <a:bodyPr/>
                    <a:lstStyle/>
                    <a:p>
                      <a:pPr lvl="0" algn="ctr">
                        <a:buNone/>
                      </a:pPr>
                      <a:r>
                        <a:rPr lang="en-US" sz="1050">
                          <a:solidFill>
                            <a:schemeClr val="tx1"/>
                          </a:solidFill>
                          <a:ea typeface="+mn-lt"/>
                          <a:cs typeface="+mn-lt"/>
                        </a:rPr>
                        <a:t>Abdullah Girach</a:t>
                      </a:r>
                      <a:endParaRPr lang="en-US" sz="1050" err="1">
                        <a:solidFill>
                          <a:schemeClr val="tx1"/>
                        </a:solidFill>
                        <a:ea typeface="+mn-lt"/>
                        <a:cs typeface="+mn-lt"/>
                      </a:endParaRPr>
                    </a:p>
                  </a:txBody>
                  <a:tcPr marL="68580" marR="68580" marT="28340" marB="28340" anchor="ctr"/>
                </a:tc>
                <a:tc>
                  <a:txBody>
                    <a:bodyPr/>
                    <a:lstStyle/>
                    <a:p>
                      <a:pPr algn="ctr"/>
                      <a:r>
                        <a:rPr lang="en-US" sz="1050">
                          <a:solidFill>
                            <a:schemeClr val="tx1"/>
                          </a:solidFill>
                          <a:latin typeface="Open Sans"/>
                          <a:ea typeface="+mn-lt"/>
                          <a:cs typeface="+mn-lt"/>
                        </a:rPr>
                        <a:t>TBD</a:t>
                      </a:r>
                      <a:endParaRPr lang="en-US" sz="1050">
                        <a:solidFill>
                          <a:schemeClr val="tx1"/>
                        </a:solidFill>
                        <a:latin typeface="Open Sans"/>
                        <a:ea typeface="Open Sans"/>
                        <a:cs typeface="Open Sans"/>
                      </a:endParaRPr>
                    </a:p>
                  </a:txBody>
                  <a:tcPr marL="68580" marR="68580" marT="28340" marB="28340" anchor="ctr"/>
                </a:tc>
                <a:tc>
                  <a:txBody>
                    <a:bodyPr/>
                    <a:lstStyle/>
                    <a:p>
                      <a:pPr algn="ctr"/>
                      <a:r>
                        <a:rPr lang="en-US" sz="1050">
                          <a:latin typeface="Open Sans"/>
                          <a:ea typeface="Open Sans"/>
                          <a:cs typeface="Open Sans"/>
                        </a:rPr>
                        <a:t>Ezra H, Koyal M</a:t>
                      </a:r>
                      <a:endParaRPr lang="en-US" sz="1050">
                        <a:solidFill>
                          <a:schemeClr val="tx2">
                            <a:lumMod val="50000"/>
                          </a:schemeClr>
                        </a:solidFill>
                        <a:latin typeface="Open Sans"/>
                        <a:ea typeface="Open Sans"/>
                        <a:cs typeface="Open Sans"/>
                      </a:endParaRPr>
                    </a:p>
                  </a:txBody>
                  <a:tcPr marL="68580" marR="68580" marT="28340" marB="28340" anchor="ctr"/>
                </a:tc>
                <a:tc>
                  <a:txBody>
                    <a:bodyPr/>
                    <a:lstStyle/>
                    <a:p>
                      <a:pPr lvl="0" algn="ctr">
                        <a:buNone/>
                      </a:pPr>
                      <a:r>
                        <a:rPr lang="en-US" sz="1050">
                          <a:latin typeface="Open Sans"/>
                        </a:rPr>
                        <a:t>Krishnendu M,</a:t>
                      </a:r>
                      <a:br>
                        <a:rPr lang="en-US" sz="1050">
                          <a:latin typeface="Open Sans"/>
                        </a:rPr>
                      </a:br>
                      <a:r>
                        <a:rPr lang="en-US" sz="1050">
                          <a:latin typeface="Open Sans"/>
                        </a:rPr>
                        <a:t>Vibha U</a:t>
                      </a:r>
                    </a:p>
                  </a:txBody>
                  <a:tcPr marL="68580" marR="68580" marT="28340" marB="28340" anchor="ctr"/>
                </a:tc>
                <a:tc>
                  <a:txBody>
                    <a:bodyPr/>
                    <a:lstStyle/>
                    <a:p>
                      <a:pPr lvl="0" algn="ctr">
                        <a:buNone/>
                      </a:pPr>
                      <a:r>
                        <a:rPr lang="en-US" sz="1050">
                          <a:latin typeface="Open Sans"/>
                        </a:rPr>
                        <a:t>Vajravel B</a:t>
                      </a:r>
                    </a:p>
                  </a:txBody>
                  <a:tcPr marL="68580" marR="68580" marT="28340" marB="28340" anchor="ctr"/>
                </a:tc>
                <a:extLst>
                  <a:ext uri="{0D108BD9-81ED-4DB2-BD59-A6C34878D82A}">
                    <a16:rowId xmlns:a16="http://schemas.microsoft.com/office/drawing/2014/main" val="1773069859"/>
                  </a:ext>
                </a:extLst>
              </a:tr>
              <a:tr h="331080">
                <a:tc>
                  <a:txBody>
                    <a:bodyPr/>
                    <a:lstStyle/>
                    <a:p>
                      <a:pPr algn="ctr"/>
                      <a:r>
                        <a:rPr lang="en-US" sz="1050" b="1">
                          <a:latin typeface="Open Sans"/>
                          <a:ea typeface="Open Sans"/>
                          <a:cs typeface="Open Sans"/>
                        </a:rPr>
                        <a:t>Scrum Master</a:t>
                      </a:r>
                    </a:p>
                  </a:txBody>
                  <a:tcPr marL="68580" marR="68580" marT="28340" marB="28340" anchor="ctr"/>
                </a:tc>
                <a:tc>
                  <a:txBody>
                    <a:bodyPr/>
                    <a:lstStyle/>
                    <a:p>
                      <a:pPr algn="ctr"/>
                      <a:r>
                        <a:rPr lang="en-US" sz="1050">
                          <a:latin typeface="Open Sans"/>
                          <a:ea typeface="Open Sans"/>
                          <a:cs typeface="Open Sans"/>
                        </a:rPr>
                        <a:t>Dharini J</a:t>
                      </a:r>
                      <a:endParaRPr lang="en-US" sz="1050">
                        <a:solidFill>
                          <a:schemeClr val="tx2">
                            <a:lumMod val="50000"/>
                          </a:schemeClr>
                        </a:solidFill>
                        <a:latin typeface="Open Sans"/>
                        <a:ea typeface="Open Sans"/>
                        <a:cs typeface="Open Sans"/>
                      </a:endParaRPr>
                    </a:p>
                  </a:txBody>
                  <a:tcPr marL="68580" marR="68580" marT="28340" marB="28340" anchor="ctr"/>
                </a:tc>
                <a:tc>
                  <a:txBody>
                    <a:bodyPr/>
                    <a:lstStyle/>
                    <a:p>
                      <a:pPr algn="ctr"/>
                      <a:r>
                        <a:rPr lang="en-US" sz="1050">
                          <a:solidFill>
                            <a:schemeClr val="tx2">
                              <a:lumMod val="50000"/>
                            </a:schemeClr>
                          </a:solidFill>
                          <a:latin typeface="Open Sans"/>
                          <a:ea typeface="Open Sans"/>
                          <a:cs typeface="Open Sans"/>
                        </a:rPr>
                        <a:t>Padmini S</a:t>
                      </a:r>
                    </a:p>
                  </a:txBody>
                  <a:tcPr marL="68580" marR="68580" marT="28340" marB="28340" anchor="ctr"/>
                </a:tc>
                <a:tc>
                  <a:txBody>
                    <a:bodyPr/>
                    <a:lstStyle/>
                    <a:p>
                      <a:pPr algn="ctr"/>
                      <a:r>
                        <a:rPr lang="en-US" sz="1050">
                          <a:latin typeface="Open Sans"/>
                          <a:ea typeface="Open Sans"/>
                          <a:cs typeface="Open Sans"/>
                        </a:rPr>
                        <a:t> Padmini S</a:t>
                      </a:r>
                      <a:endParaRPr lang="en-US" sz="1050">
                        <a:solidFill>
                          <a:schemeClr val="tx2">
                            <a:lumMod val="50000"/>
                          </a:schemeClr>
                        </a:solidFill>
                        <a:latin typeface="Open Sans"/>
                        <a:ea typeface="Open Sans"/>
                        <a:cs typeface="Open Sans"/>
                      </a:endParaRPr>
                    </a:p>
                  </a:txBody>
                  <a:tcPr marL="68580" marR="68580" marT="28340" marB="28340" anchor="ctr"/>
                </a:tc>
                <a:tc>
                  <a:txBody>
                    <a:bodyPr/>
                    <a:lstStyle/>
                    <a:p>
                      <a:pPr marL="0" marR="0" lvl="0" indent="0" algn="ctr" rtl="0" eaLnBrk="1" fontAlgn="auto" latinLnBrk="0" hangingPunct="1">
                        <a:lnSpc>
                          <a:spcPct val="100000"/>
                        </a:lnSpc>
                        <a:spcBef>
                          <a:spcPts val="0"/>
                        </a:spcBef>
                        <a:spcAft>
                          <a:spcPts val="0"/>
                        </a:spcAft>
                        <a:buFontTx/>
                        <a:buNone/>
                      </a:pPr>
                      <a:r>
                        <a:rPr lang="en-US" sz="1050">
                          <a:solidFill>
                            <a:schemeClr val="tx2">
                              <a:lumMod val="50000"/>
                            </a:schemeClr>
                          </a:solidFill>
                          <a:latin typeface="Open Sans"/>
                          <a:ea typeface="Open Sans"/>
                          <a:cs typeface="Open Sans"/>
                        </a:rPr>
                        <a:t>?</a:t>
                      </a:r>
                    </a:p>
                  </a:txBody>
                  <a:tcPr marL="68580" marR="68580" marT="28340" marB="28340" anchor="ctr"/>
                </a:tc>
                <a:tc>
                  <a:txBody>
                    <a:bodyPr/>
                    <a:lstStyle/>
                    <a:p>
                      <a:pPr lvl="0" algn="ctr">
                        <a:buNone/>
                      </a:pPr>
                      <a:r>
                        <a:rPr lang="en-US" sz="1050">
                          <a:solidFill>
                            <a:schemeClr val="tx2">
                              <a:lumMod val="50000"/>
                            </a:schemeClr>
                          </a:solidFill>
                          <a:latin typeface="Open Sans"/>
                          <a:ea typeface="Open Sans"/>
                          <a:cs typeface="Open Sans"/>
                        </a:rPr>
                        <a:t>Jyothi</a:t>
                      </a:r>
                      <a:endParaRPr lang="en-US"/>
                    </a:p>
                  </a:txBody>
                  <a:tcPr marL="68580" marR="68580" marT="28340" marB="28340" anchor="ctr"/>
                </a:tc>
                <a:tc>
                  <a:txBody>
                    <a:bodyPr/>
                    <a:lstStyle/>
                    <a:p>
                      <a:pPr lvl="0" algn="ctr">
                        <a:buNone/>
                      </a:pPr>
                      <a:r>
                        <a:rPr lang="en-US" sz="1050">
                          <a:solidFill>
                            <a:schemeClr val="tx2">
                              <a:lumMod val="50000"/>
                            </a:schemeClr>
                          </a:solidFill>
                          <a:latin typeface="Open Sans"/>
                          <a:ea typeface="Open Sans"/>
                          <a:cs typeface="Open Sans"/>
                        </a:rPr>
                        <a:t>Jyothi</a:t>
                      </a:r>
                      <a:endParaRPr lang="en-US"/>
                    </a:p>
                  </a:txBody>
                  <a:tcPr marL="68580" marR="68580" marT="28340" marB="28340" anchor="ctr"/>
                </a:tc>
                <a:tc>
                  <a:txBody>
                    <a:bodyPr/>
                    <a:lstStyle/>
                    <a:p>
                      <a:pPr lvl="0" algn="ctr">
                        <a:buNone/>
                      </a:pPr>
                      <a:r>
                        <a:rPr lang="en-US" sz="1050">
                          <a:solidFill>
                            <a:schemeClr val="tx2">
                              <a:lumMod val="50000"/>
                            </a:schemeClr>
                          </a:solidFill>
                          <a:latin typeface="Open Sans"/>
                          <a:ea typeface="Open Sans"/>
                          <a:cs typeface="Open Sans"/>
                        </a:rPr>
                        <a:t>Vijaya R</a:t>
                      </a:r>
                    </a:p>
                  </a:txBody>
                  <a:tcPr marL="68580" marR="68580" marT="28340" marB="28340" anchor="ctr"/>
                </a:tc>
                <a:tc>
                  <a:txBody>
                    <a:bodyPr/>
                    <a:lstStyle/>
                    <a:p>
                      <a:pPr algn="ctr"/>
                      <a:r>
                        <a:rPr lang="en-US" sz="1050">
                          <a:solidFill>
                            <a:schemeClr val="tx2">
                              <a:lumMod val="50000"/>
                            </a:schemeClr>
                          </a:solidFill>
                          <a:latin typeface="Open Sans"/>
                          <a:ea typeface="Open Sans"/>
                          <a:cs typeface="Open Sans"/>
                        </a:rPr>
                        <a:t>Sowjanya C</a:t>
                      </a:r>
                    </a:p>
                  </a:txBody>
                  <a:tcPr marL="68580" marR="68580" marT="28340" marB="28340" anchor="ctr"/>
                </a:tc>
                <a:tc>
                  <a:txBody>
                    <a:bodyPr/>
                    <a:lstStyle/>
                    <a:p>
                      <a:pPr marL="0" lvl="0" indent="0" algn="ctr">
                        <a:lnSpc>
                          <a:spcPct val="100000"/>
                        </a:lnSpc>
                        <a:spcBef>
                          <a:spcPts val="0"/>
                        </a:spcBef>
                        <a:spcAft>
                          <a:spcPts val="0"/>
                        </a:spcAft>
                        <a:buNone/>
                      </a:pPr>
                      <a:r>
                        <a:rPr lang="en-US" sz="1050">
                          <a:solidFill>
                            <a:schemeClr val="tx2">
                              <a:lumMod val="50000"/>
                            </a:schemeClr>
                          </a:solidFill>
                          <a:latin typeface="Open Sans"/>
                          <a:ea typeface="Open Sans"/>
                          <a:cs typeface="Open Sans"/>
                        </a:rPr>
                        <a:t>Abdullah G</a:t>
                      </a:r>
                      <a:endParaRPr lang="en-US" sz="1050" err="1">
                        <a:solidFill>
                          <a:schemeClr val="tx2">
                            <a:lumMod val="50000"/>
                          </a:schemeClr>
                        </a:solidFill>
                        <a:latin typeface="Open Sans"/>
                        <a:ea typeface="Open Sans"/>
                        <a:cs typeface="Open Sans"/>
                      </a:endParaRPr>
                    </a:p>
                  </a:txBody>
                  <a:tcPr marL="68580" marR="68580" marT="28340" marB="28340" anchor="ctr"/>
                </a:tc>
                <a:tc>
                  <a:txBody>
                    <a:bodyPr/>
                    <a:lstStyle/>
                    <a:p>
                      <a:pPr marL="0" marR="0" lvl="0" indent="0" algn="ctr" rtl="0" eaLnBrk="1" fontAlgn="auto" latinLnBrk="0" hangingPunct="1">
                        <a:lnSpc>
                          <a:spcPct val="100000"/>
                        </a:lnSpc>
                        <a:spcBef>
                          <a:spcPts val="0"/>
                        </a:spcBef>
                        <a:spcAft>
                          <a:spcPts val="0"/>
                        </a:spcAft>
                        <a:buFontTx/>
                        <a:buNone/>
                      </a:pPr>
                      <a:r>
                        <a:rPr lang="en-US" sz="1050">
                          <a:solidFill>
                            <a:schemeClr val="tx2">
                              <a:lumMod val="50000"/>
                            </a:schemeClr>
                          </a:solidFill>
                          <a:latin typeface="Open Sans"/>
                          <a:ea typeface="Open Sans"/>
                          <a:cs typeface="Open Sans"/>
                        </a:rPr>
                        <a:t>Abdullah G</a:t>
                      </a:r>
                    </a:p>
                  </a:txBody>
                  <a:tcPr marL="68580" marR="68580" marT="28340" marB="28340" anchor="ctr"/>
                </a:tc>
                <a:tc>
                  <a:txBody>
                    <a:bodyPr/>
                    <a:lstStyle/>
                    <a:p>
                      <a:pPr algn="ctr"/>
                      <a:r>
                        <a:rPr lang="en-US" sz="1050">
                          <a:solidFill>
                            <a:schemeClr val="tx2">
                              <a:lumMod val="50000"/>
                            </a:schemeClr>
                          </a:solidFill>
                          <a:latin typeface="Open Sans"/>
                          <a:ea typeface="Open Sans"/>
                          <a:cs typeface="Open Sans"/>
                        </a:rPr>
                        <a:t>Kalyan L</a:t>
                      </a:r>
                    </a:p>
                  </a:txBody>
                  <a:tcPr marL="68580" marR="68580" marT="28340" marB="28340" anchor="ctr"/>
                </a:tc>
                <a:tc>
                  <a:txBody>
                    <a:bodyPr/>
                    <a:lstStyle/>
                    <a:p>
                      <a:pPr lvl="0" algn="ctr">
                        <a:buNone/>
                      </a:pPr>
                      <a:r>
                        <a:rPr lang="en-US" sz="1050">
                          <a:solidFill>
                            <a:schemeClr val="tx2">
                              <a:lumMod val="50000"/>
                            </a:schemeClr>
                          </a:solidFill>
                          <a:latin typeface="Open Sans"/>
                          <a:ea typeface="Open Sans"/>
                          <a:cs typeface="Open Sans"/>
                        </a:rPr>
                        <a:t>Kalyan L</a:t>
                      </a:r>
                    </a:p>
                  </a:txBody>
                  <a:tcPr marL="68580" marR="68580" marT="28340" marB="28340" anchor="ctr"/>
                </a:tc>
                <a:tc>
                  <a:txBody>
                    <a:bodyPr/>
                    <a:lstStyle/>
                    <a:p>
                      <a:pPr lvl="0" algn="ctr">
                        <a:buNone/>
                      </a:pPr>
                      <a:r>
                        <a:rPr lang="en-US" sz="1050">
                          <a:solidFill>
                            <a:schemeClr val="tx2">
                              <a:lumMod val="50000"/>
                            </a:schemeClr>
                          </a:solidFill>
                          <a:latin typeface="Open Sans"/>
                          <a:ea typeface="Open Sans"/>
                          <a:cs typeface="Open Sans"/>
                        </a:rPr>
                        <a:t>Lakshmi D</a:t>
                      </a:r>
                    </a:p>
                  </a:txBody>
                  <a:tcPr marL="68580" marR="68580" marT="28340" marB="28340" anchor="ctr"/>
                </a:tc>
                <a:extLst>
                  <a:ext uri="{0D108BD9-81ED-4DB2-BD59-A6C34878D82A}">
                    <a16:rowId xmlns:a16="http://schemas.microsoft.com/office/drawing/2014/main" val="462342793"/>
                  </a:ext>
                </a:extLst>
              </a:tr>
              <a:tr h="256654">
                <a:tc>
                  <a:txBody>
                    <a:bodyPr/>
                    <a:lstStyle/>
                    <a:p>
                      <a:pPr algn="ctr"/>
                      <a:r>
                        <a:rPr lang="en-US" sz="1050" b="1">
                          <a:latin typeface="Open Sans"/>
                          <a:ea typeface="Open Sans"/>
                          <a:cs typeface="Open Sans"/>
                        </a:rPr>
                        <a:t>Team</a:t>
                      </a:r>
                    </a:p>
                  </a:txBody>
                  <a:tcPr marL="68580" marR="68580" marT="28340" marB="28340" anchor="ctr"/>
                </a:tc>
                <a:tc>
                  <a:txBody>
                    <a:bodyPr/>
                    <a:lstStyle/>
                    <a:p>
                      <a:pPr algn="ctr"/>
                      <a:r>
                        <a:rPr lang="en-US" sz="1050">
                          <a:latin typeface="Open Sans"/>
                          <a:ea typeface="Open Sans"/>
                          <a:cs typeface="Open Sans"/>
                        </a:rPr>
                        <a:t>10</a:t>
                      </a:r>
                    </a:p>
                  </a:txBody>
                  <a:tcPr marL="68580" marR="68580" marT="28340" marB="28340" anchor="ctr"/>
                </a:tc>
                <a:tc>
                  <a:txBody>
                    <a:bodyPr/>
                    <a:lstStyle/>
                    <a:p>
                      <a:pPr algn="ctr"/>
                      <a:r>
                        <a:rPr lang="en-US" sz="1050">
                          <a:solidFill>
                            <a:schemeClr val="tx2">
                              <a:lumMod val="50000"/>
                            </a:schemeClr>
                          </a:solidFill>
                          <a:latin typeface="Open Sans"/>
                          <a:ea typeface="Open Sans"/>
                          <a:cs typeface="Open Sans"/>
                        </a:rPr>
                        <a:t>10</a:t>
                      </a:r>
                    </a:p>
                  </a:txBody>
                  <a:tcPr marL="68580" marR="68580" marT="28340" marB="28340" anchor="ctr"/>
                </a:tc>
                <a:tc>
                  <a:txBody>
                    <a:bodyPr/>
                    <a:lstStyle/>
                    <a:p>
                      <a:pPr algn="ctr"/>
                      <a:r>
                        <a:rPr lang="en-US" sz="1050">
                          <a:solidFill>
                            <a:schemeClr val="tx2">
                              <a:lumMod val="50000"/>
                            </a:schemeClr>
                          </a:solidFill>
                          <a:latin typeface="Open Sans"/>
                          <a:ea typeface="Open Sans"/>
                          <a:cs typeface="Open Sans"/>
                        </a:rPr>
                        <a:t>10</a:t>
                      </a:r>
                    </a:p>
                  </a:txBody>
                  <a:tcPr marL="68580" marR="68580" marT="28340" marB="28340" anchor="ctr"/>
                </a:tc>
                <a:tc>
                  <a:txBody>
                    <a:bodyPr/>
                    <a:lstStyle/>
                    <a:p>
                      <a:pPr algn="ctr"/>
                      <a:r>
                        <a:rPr lang="en-US" sz="1050">
                          <a:latin typeface="Open Sans"/>
                          <a:ea typeface="Open Sans"/>
                          <a:cs typeface="Open Sans"/>
                        </a:rPr>
                        <a:t>?</a:t>
                      </a:r>
                    </a:p>
                  </a:txBody>
                  <a:tcPr marL="68580" marR="68580" marT="28340" marB="28340" anchor="ctr"/>
                </a:tc>
                <a:tc>
                  <a:txBody>
                    <a:bodyPr/>
                    <a:lstStyle/>
                    <a:p>
                      <a:pPr lvl="0" algn="ctr">
                        <a:buNone/>
                      </a:pPr>
                      <a:r>
                        <a:rPr lang="en-US" sz="1050">
                          <a:latin typeface="Open Sans"/>
                          <a:ea typeface="Open Sans"/>
                          <a:cs typeface="Open Sans"/>
                        </a:rPr>
                        <a:t>7</a:t>
                      </a:r>
                    </a:p>
                  </a:txBody>
                  <a:tcPr marL="68580" marR="68580" marT="28340" marB="28340" anchor="ctr"/>
                </a:tc>
                <a:tc>
                  <a:txBody>
                    <a:bodyPr/>
                    <a:lstStyle/>
                    <a:p>
                      <a:pPr algn="ctr"/>
                      <a:r>
                        <a:rPr lang="en-US" sz="1050">
                          <a:solidFill>
                            <a:schemeClr val="tx2">
                              <a:lumMod val="50000"/>
                            </a:schemeClr>
                          </a:solidFill>
                          <a:latin typeface="Open Sans"/>
                          <a:ea typeface="Open Sans"/>
                          <a:cs typeface="Open Sans"/>
                        </a:rPr>
                        <a:t>11</a:t>
                      </a:r>
                    </a:p>
                  </a:txBody>
                  <a:tcPr marL="68580" marR="68580" marT="28340" marB="28340" anchor="ctr"/>
                </a:tc>
                <a:tc>
                  <a:txBody>
                    <a:bodyPr/>
                    <a:lstStyle/>
                    <a:p>
                      <a:pPr lvl="0" algn="ctr">
                        <a:buNone/>
                      </a:pPr>
                      <a:r>
                        <a:rPr lang="en-US" sz="1050">
                          <a:latin typeface="Open Sans"/>
                          <a:ea typeface="Open Sans"/>
                          <a:cs typeface="Open Sans"/>
                        </a:rPr>
                        <a:t>6</a:t>
                      </a:r>
                    </a:p>
                  </a:txBody>
                  <a:tcPr marL="68580" marR="68580" marT="28340" marB="28340" anchor="ctr"/>
                </a:tc>
                <a:tc>
                  <a:txBody>
                    <a:bodyPr/>
                    <a:lstStyle/>
                    <a:p>
                      <a:pPr algn="ctr"/>
                      <a:r>
                        <a:rPr lang="en-US" sz="1050">
                          <a:latin typeface="Open Sans"/>
                          <a:ea typeface="Open Sans"/>
                          <a:cs typeface="Open Sans"/>
                        </a:rPr>
                        <a:t>3</a:t>
                      </a:r>
                    </a:p>
                  </a:txBody>
                  <a:tcPr marL="68580" marR="68580" marT="28340" marB="28340" anchor="ctr"/>
                </a:tc>
                <a:tc>
                  <a:txBody>
                    <a:bodyPr/>
                    <a:lstStyle/>
                    <a:p>
                      <a:pPr lvl="0" algn="ctr">
                        <a:buNone/>
                      </a:pPr>
                      <a:r>
                        <a:rPr lang="en-US" sz="1050">
                          <a:latin typeface="Open Sans"/>
                          <a:ea typeface="Open Sans"/>
                          <a:cs typeface="Open Sans"/>
                        </a:rPr>
                        <a:t>10</a:t>
                      </a:r>
                    </a:p>
                  </a:txBody>
                  <a:tcPr marL="68580" marR="68580" marT="28340" marB="28340"/>
                </a:tc>
                <a:tc>
                  <a:txBody>
                    <a:bodyPr/>
                    <a:lstStyle/>
                    <a:p>
                      <a:pPr algn="ctr"/>
                      <a:r>
                        <a:rPr lang="en-US" sz="1050">
                          <a:latin typeface="Open Sans"/>
                          <a:ea typeface="Open Sans"/>
                          <a:cs typeface="Open Sans"/>
                        </a:rPr>
                        <a:t>10</a:t>
                      </a:r>
                    </a:p>
                  </a:txBody>
                  <a:tcPr marL="68580" marR="68580" marT="28340" marB="28340" anchor="ctr"/>
                </a:tc>
                <a:tc>
                  <a:txBody>
                    <a:bodyPr/>
                    <a:lstStyle/>
                    <a:p>
                      <a:pPr algn="ctr"/>
                      <a:r>
                        <a:rPr lang="en-US" sz="1050">
                          <a:latin typeface="Open Sans"/>
                          <a:ea typeface="Open Sans"/>
                          <a:cs typeface="Open Sans"/>
                        </a:rPr>
                        <a:t>6</a:t>
                      </a:r>
                    </a:p>
                  </a:txBody>
                  <a:tcPr marL="68580" marR="68580" marT="28340" marB="28340" anchor="ctr"/>
                </a:tc>
                <a:tc>
                  <a:txBody>
                    <a:bodyPr/>
                    <a:lstStyle/>
                    <a:p>
                      <a:pPr lvl="0" algn="ctr">
                        <a:buNone/>
                      </a:pPr>
                      <a:r>
                        <a:rPr lang="en-US" sz="1050">
                          <a:latin typeface="Open Sans"/>
                          <a:ea typeface="Open Sans"/>
                          <a:cs typeface="Open Sans"/>
                        </a:rPr>
                        <a:t>11</a:t>
                      </a:r>
                    </a:p>
                  </a:txBody>
                  <a:tcPr marL="68580" marR="68580" marT="28340" marB="28340" anchor="ctr"/>
                </a:tc>
                <a:tc>
                  <a:txBody>
                    <a:bodyPr/>
                    <a:lstStyle/>
                    <a:p>
                      <a:pPr lvl="0" algn="ctr">
                        <a:buNone/>
                      </a:pPr>
                      <a:r>
                        <a:rPr lang="en-US" sz="1050">
                          <a:latin typeface="Open Sans"/>
                          <a:ea typeface="Open Sans"/>
                          <a:cs typeface="Open Sans"/>
                        </a:rPr>
                        <a:t>9</a:t>
                      </a:r>
                    </a:p>
                  </a:txBody>
                  <a:tcPr marL="68580" marR="68580" marT="28340" marB="28340" anchor="ctr"/>
                </a:tc>
                <a:extLst>
                  <a:ext uri="{0D108BD9-81ED-4DB2-BD59-A6C34878D82A}">
                    <a16:rowId xmlns:a16="http://schemas.microsoft.com/office/drawing/2014/main" val="2876868721"/>
                  </a:ext>
                </a:extLst>
              </a:tr>
            </a:tbl>
          </a:graphicData>
        </a:graphic>
      </p:graphicFrame>
      <p:grpSp>
        <p:nvGrpSpPr>
          <p:cNvPr id="6" name="Group 5">
            <a:extLst>
              <a:ext uri="{FF2B5EF4-FFF2-40B4-BE49-F238E27FC236}">
                <a16:creationId xmlns:a16="http://schemas.microsoft.com/office/drawing/2014/main" id="{E07FABE6-2EC8-4D51-A59C-8476977608C6}"/>
              </a:ext>
            </a:extLst>
          </p:cNvPr>
          <p:cNvGrpSpPr/>
          <p:nvPr/>
        </p:nvGrpSpPr>
        <p:grpSpPr>
          <a:xfrm>
            <a:off x="750652" y="404206"/>
            <a:ext cx="9988601" cy="549804"/>
            <a:chOff x="1704952" y="399595"/>
            <a:chExt cx="10788387" cy="733083"/>
          </a:xfrm>
        </p:grpSpPr>
        <p:sp>
          <p:nvSpPr>
            <p:cNvPr id="7" name="Arrow: Right 6">
              <a:extLst>
                <a:ext uri="{FF2B5EF4-FFF2-40B4-BE49-F238E27FC236}">
                  <a16:creationId xmlns:a16="http://schemas.microsoft.com/office/drawing/2014/main" id="{68196D27-3A21-4D2B-8DC0-3C8EA954D7E7}"/>
                </a:ext>
              </a:extLst>
            </p:cNvPr>
            <p:cNvSpPr/>
            <p:nvPr/>
          </p:nvSpPr>
          <p:spPr>
            <a:xfrm>
              <a:off x="1704952" y="520244"/>
              <a:ext cx="10023467" cy="485775"/>
            </a:xfrm>
            <a:prstGeom prst="rightArrow">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Rectangle: Rounded Corners 7">
              <a:extLst>
                <a:ext uri="{FF2B5EF4-FFF2-40B4-BE49-F238E27FC236}">
                  <a16:creationId xmlns:a16="http://schemas.microsoft.com/office/drawing/2014/main" id="{2CC35DBE-634B-4032-BC0B-E20F31EE64A9}"/>
                </a:ext>
              </a:extLst>
            </p:cNvPr>
            <p:cNvSpPr/>
            <p:nvPr/>
          </p:nvSpPr>
          <p:spPr>
            <a:xfrm>
              <a:off x="2353047" y="532371"/>
              <a:ext cx="1381125" cy="425253"/>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r>
                <a:rPr kumimoji="0" lang="en-US" sz="1001"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efine</a:t>
              </a:r>
            </a:p>
          </p:txBody>
        </p:sp>
        <p:sp>
          <p:nvSpPr>
            <p:cNvPr id="9" name="Rectangle: Rounded Corners 8">
              <a:extLst>
                <a:ext uri="{FF2B5EF4-FFF2-40B4-BE49-F238E27FC236}">
                  <a16:creationId xmlns:a16="http://schemas.microsoft.com/office/drawing/2014/main" id="{64FF473D-2E8E-409B-A046-892768596A61}"/>
                </a:ext>
              </a:extLst>
            </p:cNvPr>
            <p:cNvSpPr/>
            <p:nvPr/>
          </p:nvSpPr>
          <p:spPr>
            <a:xfrm>
              <a:off x="3842526" y="530955"/>
              <a:ext cx="1381125" cy="425253"/>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r>
                <a:rPr kumimoji="0" lang="en-US" sz="1001"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Implement</a:t>
              </a:r>
            </a:p>
          </p:txBody>
        </p:sp>
        <p:sp>
          <p:nvSpPr>
            <p:cNvPr id="10" name="Rectangle: Rounded Corners 9">
              <a:extLst>
                <a:ext uri="{FF2B5EF4-FFF2-40B4-BE49-F238E27FC236}">
                  <a16:creationId xmlns:a16="http://schemas.microsoft.com/office/drawing/2014/main" id="{A89DD25A-8F48-4E12-AB1B-06F77C16AA06}"/>
                </a:ext>
              </a:extLst>
            </p:cNvPr>
            <p:cNvSpPr/>
            <p:nvPr/>
          </p:nvSpPr>
          <p:spPr>
            <a:xfrm>
              <a:off x="5332005" y="514950"/>
              <a:ext cx="1381125" cy="454621"/>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r>
                <a:rPr kumimoji="0" lang="en-US" sz="1001"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eploy</a:t>
              </a:r>
            </a:p>
          </p:txBody>
        </p:sp>
        <p:pic>
          <p:nvPicPr>
            <p:cNvPr id="11" name="Graphic 27">
              <a:extLst>
                <a:ext uri="{FF2B5EF4-FFF2-40B4-BE49-F238E27FC236}">
                  <a16:creationId xmlns:a16="http://schemas.microsoft.com/office/drawing/2014/main" id="{58F8C28A-6D73-43F9-931B-3D6645931E8F}"/>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47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11889366" y="399595"/>
              <a:ext cx="603973" cy="614040"/>
            </a:xfrm>
            <a:prstGeom prst="rect">
              <a:avLst/>
            </a:prstGeom>
            <a:noFill/>
          </p:spPr>
        </p:pic>
        <p:sp>
          <p:nvSpPr>
            <p:cNvPr id="12" name="Rectangle: Rounded Corners 11">
              <a:extLst>
                <a:ext uri="{FF2B5EF4-FFF2-40B4-BE49-F238E27FC236}">
                  <a16:creationId xmlns:a16="http://schemas.microsoft.com/office/drawing/2014/main" id="{1F7DB881-E607-41DF-816A-61B77C9746EC}"/>
                </a:ext>
              </a:extLst>
            </p:cNvPr>
            <p:cNvSpPr/>
            <p:nvPr/>
          </p:nvSpPr>
          <p:spPr>
            <a:xfrm>
              <a:off x="6821484" y="514950"/>
              <a:ext cx="1381125" cy="461984"/>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r>
                <a:rPr kumimoji="0" lang="en-US" sz="1001"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elease</a:t>
              </a:r>
            </a:p>
          </p:txBody>
        </p:sp>
        <p:sp>
          <p:nvSpPr>
            <p:cNvPr id="13" name="Rectangle: Rounded Corners 12">
              <a:extLst>
                <a:ext uri="{FF2B5EF4-FFF2-40B4-BE49-F238E27FC236}">
                  <a16:creationId xmlns:a16="http://schemas.microsoft.com/office/drawing/2014/main" id="{F1D6A1ED-1861-42CD-B724-D645C5DA8E67}"/>
                </a:ext>
              </a:extLst>
            </p:cNvPr>
            <p:cNvSpPr/>
            <p:nvPr/>
          </p:nvSpPr>
          <p:spPr>
            <a:xfrm>
              <a:off x="8310963" y="513454"/>
              <a:ext cx="1421601" cy="454621"/>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r>
                <a:rPr kumimoji="0" lang="en-US" sz="1001"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Support</a:t>
              </a:r>
            </a:p>
          </p:txBody>
        </p:sp>
        <p:grpSp>
          <p:nvGrpSpPr>
            <p:cNvPr id="14" name="Group 13">
              <a:extLst>
                <a:ext uri="{FF2B5EF4-FFF2-40B4-BE49-F238E27FC236}">
                  <a16:creationId xmlns:a16="http://schemas.microsoft.com/office/drawing/2014/main" id="{672AAD47-EB4C-484C-8AAA-658738717E65}"/>
                </a:ext>
              </a:extLst>
            </p:cNvPr>
            <p:cNvGrpSpPr/>
            <p:nvPr/>
          </p:nvGrpSpPr>
          <p:grpSpPr>
            <a:xfrm>
              <a:off x="2537927" y="933197"/>
              <a:ext cx="1046956" cy="175666"/>
              <a:chOff x="2537927" y="933197"/>
              <a:chExt cx="1046956" cy="175666"/>
            </a:xfrm>
          </p:grpSpPr>
          <p:sp>
            <p:nvSpPr>
              <p:cNvPr id="35" name="Oval 34">
                <a:extLst>
                  <a:ext uri="{FF2B5EF4-FFF2-40B4-BE49-F238E27FC236}">
                    <a16:creationId xmlns:a16="http://schemas.microsoft.com/office/drawing/2014/main" id="{D21DEFD4-C6B5-4B67-86C0-8B9C63DB7BF3}"/>
                  </a:ext>
                </a:extLst>
              </p:cNvPr>
              <p:cNvSpPr/>
              <p:nvPr/>
            </p:nvSpPr>
            <p:spPr>
              <a:xfrm>
                <a:off x="2537927" y="939271"/>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F5CC4C77-E82F-4CAC-BC38-B508151E2B56}"/>
                  </a:ext>
                </a:extLst>
              </p:cNvPr>
              <p:cNvSpPr/>
              <p:nvPr/>
            </p:nvSpPr>
            <p:spPr>
              <a:xfrm>
                <a:off x="2725843" y="933197"/>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Oval 36">
                <a:extLst>
                  <a:ext uri="{FF2B5EF4-FFF2-40B4-BE49-F238E27FC236}">
                    <a16:creationId xmlns:a16="http://schemas.microsoft.com/office/drawing/2014/main" id="{A7D6EEAC-F757-4C08-8FCC-4212BB84F97D}"/>
                  </a:ext>
                </a:extLst>
              </p:cNvPr>
              <p:cNvSpPr/>
              <p:nvPr/>
            </p:nvSpPr>
            <p:spPr>
              <a:xfrm>
                <a:off x="3247678" y="943868"/>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4A0918E2-1B5A-459D-B24E-F4E1E16EA099}"/>
                  </a:ext>
                </a:extLst>
              </p:cNvPr>
              <p:cNvSpPr/>
              <p:nvPr/>
            </p:nvSpPr>
            <p:spPr>
              <a:xfrm>
                <a:off x="3435594" y="937794"/>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 name="Group 14">
              <a:extLst>
                <a:ext uri="{FF2B5EF4-FFF2-40B4-BE49-F238E27FC236}">
                  <a16:creationId xmlns:a16="http://schemas.microsoft.com/office/drawing/2014/main" id="{F02CD2F4-AAE8-419B-A81A-DAD16D1CA8FD}"/>
                </a:ext>
              </a:extLst>
            </p:cNvPr>
            <p:cNvGrpSpPr/>
            <p:nvPr/>
          </p:nvGrpSpPr>
          <p:grpSpPr>
            <a:xfrm>
              <a:off x="3993907" y="939359"/>
              <a:ext cx="1046955" cy="193319"/>
              <a:chOff x="2537927" y="933197"/>
              <a:chExt cx="1046955" cy="193319"/>
            </a:xfrm>
          </p:grpSpPr>
          <p:sp>
            <p:nvSpPr>
              <p:cNvPr id="31" name="Oval 30">
                <a:extLst>
                  <a:ext uri="{FF2B5EF4-FFF2-40B4-BE49-F238E27FC236}">
                    <a16:creationId xmlns:a16="http://schemas.microsoft.com/office/drawing/2014/main" id="{1AD19F05-341C-49BA-BBC1-45E785BE3BEA}"/>
                  </a:ext>
                </a:extLst>
              </p:cNvPr>
              <p:cNvSpPr/>
              <p:nvPr/>
            </p:nvSpPr>
            <p:spPr>
              <a:xfrm>
                <a:off x="2537927" y="939271"/>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CE82C07F-24DE-49AC-93AE-8ECC57BC5D25}"/>
                  </a:ext>
                </a:extLst>
              </p:cNvPr>
              <p:cNvSpPr/>
              <p:nvPr/>
            </p:nvSpPr>
            <p:spPr>
              <a:xfrm>
                <a:off x="2725843" y="933197"/>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812196BB-31BD-429F-8235-FBBC644C51A1}"/>
                  </a:ext>
                </a:extLst>
              </p:cNvPr>
              <p:cNvSpPr/>
              <p:nvPr/>
            </p:nvSpPr>
            <p:spPr>
              <a:xfrm>
                <a:off x="3247678" y="943868"/>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a16="http://schemas.microsoft.com/office/drawing/2014/main" id="{EEE24A91-8FF1-4DC0-B812-8107E3802F24}"/>
                  </a:ext>
                </a:extLst>
              </p:cNvPr>
              <p:cNvSpPr/>
              <p:nvPr/>
            </p:nvSpPr>
            <p:spPr>
              <a:xfrm>
                <a:off x="3435594" y="937794"/>
                <a:ext cx="149288" cy="1887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D9132287-16EE-4E0B-9246-6440B319DAC0}"/>
                </a:ext>
              </a:extLst>
            </p:cNvPr>
            <p:cNvGrpSpPr/>
            <p:nvPr/>
          </p:nvGrpSpPr>
          <p:grpSpPr>
            <a:xfrm>
              <a:off x="5521966" y="943868"/>
              <a:ext cx="1046956" cy="175666"/>
              <a:chOff x="2537927" y="933197"/>
              <a:chExt cx="1046956" cy="175666"/>
            </a:xfrm>
          </p:grpSpPr>
          <p:sp>
            <p:nvSpPr>
              <p:cNvPr id="27" name="Oval 26">
                <a:extLst>
                  <a:ext uri="{FF2B5EF4-FFF2-40B4-BE49-F238E27FC236}">
                    <a16:creationId xmlns:a16="http://schemas.microsoft.com/office/drawing/2014/main" id="{DCC1CFF7-A33F-4790-83B3-670069444E94}"/>
                  </a:ext>
                </a:extLst>
              </p:cNvPr>
              <p:cNvSpPr/>
              <p:nvPr/>
            </p:nvSpPr>
            <p:spPr>
              <a:xfrm>
                <a:off x="2537927" y="939271"/>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43BE22F1-B22C-4D38-AAFF-618252542BB4}"/>
                  </a:ext>
                </a:extLst>
              </p:cNvPr>
              <p:cNvSpPr/>
              <p:nvPr/>
            </p:nvSpPr>
            <p:spPr>
              <a:xfrm>
                <a:off x="2725843" y="933197"/>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0B8A426F-C196-4C33-A3DD-1A3B61FDFB6E}"/>
                  </a:ext>
                </a:extLst>
              </p:cNvPr>
              <p:cNvSpPr/>
              <p:nvPr/>
            </p:nvSpPr>
            <p:spPr>
              <a:xfrm>
                <a:off x="3247678" y="943868"/>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6D306C3-74C5-4D1D-B76E-97E094359576}"/>
                  </a:ext>
                </a:extLst>
              </p:cNvPr>
              <p:cNvSpPr/>
              <p:nvPr/>
            </p:nvSpPr>
            <p:spPr>
              <a:xfrm>
                <a:off x="3435594" y="937794"/>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7" name="Group 16">
              <a:extLst>
                <a:ext uri="{FF2B5EF4-FFF2-40B4-BE49-F238E27FC236}">
                  <a16:creationId xmlns:a16="http://schemas.microsoft.com/office/drawing/2014/main" id="{8E5555BB-67DF-4F0B-B403-990D4C348798}"/>
                </a:ext>
              </a:extLst>
            </p:cNvPr>
            <p:cNvGrpSpPr/>
            <p:nvPr/>
          </p:nvGrpSpPr>
          <p:grpSpPr>
            <a:xfrm>
              <a:off x="6977946" y="950030"/>
              <a:ext cx="1046956" cy="175666"/>
              <a:chOff x="2537927" y="933197"/>
              <a:chExt cx="1046956" cy="175666"/>
            </a:xfrm>
          </p:grpSpPr>
          <p:sp>
            <p:nvSpPr>
              <p:cNvPr id="23" name="Oval 22">
                <a:extLst>
                  <a:ext uri="{FF2B5EF4-FFF2-40B4-BE49-F238E27FC236}">
                    <a16:creationId xmlns:a16="http://schemas.microsoft.com/office/drawing/2014/main" id="{B48C2ADC-163C-40BD-AB3B-72FBF7754A21}"/>
                  </a:ext>
                </a:extLst>
              </p:cNvPr>
              <p:cNvSpPr/>
              <p:nvPr/>
            </p:nvSpPr>
            <p:spPr>
              <a:xfrm>
                <a:off x="2537927" y="939271"/>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AC1A18EC-908E-42A3-A7E1-2BA510F6BB78}"/>
                  </a:ext>
                </a:extLst>
              </p:cNvPr>
              <p:cNvSpPr/>
              <p:nvPr/>
            </p:nvSpPr>
            <p:spPr>
              <a:xfrm>
                <a:off x="2725843" y="933197"/>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0E4B687C-A373-4E98-85C8-A8FD2DE42249}"/>
                  </a:ext>
                </a:extLst>
              </p:cNvPr>
              <p:cNvSpPr/>
              <p:nvPr/>
            </p:nvSpPr>
            <p:spPr>
              <a:xfrm>
                <a:off x="3247678" y="943868"/>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013695E8-4A1F-4203-87E9-423C3A78F87C}"/>
                  </a:ext>
                </a:extLst>
              </p:cNvPr>
              <p:cNvSpPr/>
              <p:nvPr/>
            </p:nvSpPr>
            <p:spPr>
              <a:xfrm>
                <a:off x="3435594" y="937794"/>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CE62ADD1-901F-4D9F-9A7F-52567C55E1AB}"/>
                </a:ext>
              </a:extLst>
            </p:cNvPr>
            <p:cNvGrpSpPr/>
            <p:nvPr/>
          </p:nvGrpSpPr>
          <p:grpSpPr>
            <a:xfrm>
              <a:off x="8517667" y="940097"/>
              <a:ext cx="1046956" cy="175666"/>
              <a:chOff x="2537927" y="933197"/>
              <a:chExt cx="1046956" cy="175666"/>
            </a:xfrm>
          </p:grpSpPr>
          <p:sp>
            <p:nvSpPr>
              <p:cNvPr id="19" name="Oval 18">
                <a:extLst>
                  <a:ext uri="{FF2B5EF4-FFF2-40B4-BE49-F238E27FC236}">
                    <a16:creationId xmlns:a16="http://schemas.microsoft.com/office/drawing/2014/main" id="{986DE127-BD35-4EB4-8A2E-48510130CA60}"/>
                  </a:ext>
                </a:extLst>
              </p:cNvPr>
              <p:cNvSpPr/>
              <p:nvPr/>
            </p:nvSpPr>
            <p:spPr>
              <a:xfrm>
                <a:off x="2537927" y="939271"/>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CD46CF42-1010-43D9-AB96-4FB82A8C0E15}"/>
                  </a:ext>
                </a:extLst>
              </p:cNvPr>
              <p:cNvSpPr/>
              <p:nvPr/>
            </p:nvSpPr>
            <p:spPr>
              <a:xfrm>
                <a:off x="2725843" y="933197"/>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75D2626C-85C0-4F9C-B24E-806674E2B021}"/>
                  </a:ext>
                </a:extLst>
              </p:cNvPr>
              <p:cNvSpPr/>
              <p:nvPr/>
            </p:nvSpPr>
            <p:spPr>
              <a:xfrm>
                <a:off x="3247678" y="943868"/>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DE2DA906-AC89-4427-9E74-2F6E30F8324C}"/>
                  </a:ext>
                </a:extLst>
              </p:cNvPr>
              <p:cNvSpPr/>
              <p:nvPr/>
            </p:nvSpPr>
            <p:spPr>
              <a:xfrm>
                <a:off x="3435594" y="937794"/>
                <a:ext cx="149289" cy="1649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45" name="TextBox 44">
            <a:extLst>
              <a:ext uri="{FF2B5EF4-FFF2-40B4-BE49-F238E27FC236}">
                <a16:creationId xmlns:a16="http://schemas.microsoft.com/office/drawing/2014/main" id="{E5B82C08-FE36-4E7A-91B6-C4E259006D5B}"/>
              </a:ext>
            </a:extLst>
          </p:cNvPr>
          <p:cNvSpPr txBox="1"/>
          <p:nvPr/>
        </p:nvSpPr>
        <p:spPr>
          <a:xfrm>
            <a:off x="138319" y="5755880"/>
            <a:ext cx="1230067" cy="254044"/>
          </a:xfrm>
          <a:prstGeom prst="rect">
            <a:avLst/>
          </a:prstGeom>
          <a:noFill/>
        </p:spPr>
        <p:txBody>
          <a:bodyPr wrap="square" rtlCol="0">
            <a:spAutoFit/>
          </a:bodyPr>
          <a:lstStyle/>
          <a:p>
            <a:pPr marL="0" marR="0" lvl="0" indent="0" algn="ctr" defTabSz="685792"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ystem Teams</a:t>
            </a:r>
          </a:p>
        </p:txBody>
      </p:sp>
      <p:grpSp>
        <p:nvGrpSpPr>
          <p:cNvPr id="46" name="Group 854">
            <a:extLst>
              <a:ext uri="{FF2B5EF4-FFF2-40B4-BE49-F238E27FC236}">
                <a16:creationId xmlns:a16="http://schemas.microsoft.com/office/drawing/2014/main" id="{152F95C6-4FAD-48B0-A3D0-EC9793A6D117}"/>
              </a:ext>
            </a:extLst>
          </p:cNvPr>
          <p:cNvGrpSpPr>
            <a:grpSpLocks noChangeAspect="1"/>
          </p:cNvGrpSpPr>
          <p:nvPr/>
        </p:nvGrpSpPr>
        <p:grpSpPr bwMode="auto">
          <a:xfrm>
            <a:off x="396554" y="5978759"/>
            <a:ext cx="681845" cy="681844"/>
            <a:chOff x="3903" y="3039"/>
            <a:chExt cx="340" cy="340"/>
          </a:xfrm>
          <a:solidFill>
            <a:srgbClr val="FF9900">
              <a:alpha val="30000"/>
            </a:srgbClr>
          </a:solidFill>
        </p:grpSpPr>
        <p:sp>
          <p:nvSpPr>
            <p:cNvPr id="47" name="Oval 855">
              <a:extLst>
                <a:ext uri="{FF2B5EF4-FFF2-40B4-BE49-F238E27FC236}">
                  <a16:creationId xmlns:a16="http://schemas.microsoft.com/office/drawing/2014/main" id="{721C8949-1CA0-4F36-83A3-E63177BB65A2}"/>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marL="0" marR="0" lvl="0" indent="0" algn="l" defTabSz="685792"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856">
              <a:extLst>
                <a:ext uri="{FF2B5EF4-FFF2-40B4-BE49-F238E27FC236}">
                  <a16:creationId xmlns:a16="http://schemas.microsoft.com/office/drawing/2014/main" id="{D0536F56-7110-44C1-BD98-6C00618D142A}"/>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marL="0" marR="0" lvl="0" indent="0" algn="l" defTabSz="685792"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857">
              <a:extLst>
                <a:ext uri="{FF2B5EF4-FFF2-40B4-BE49-F238E27FC236}">
                  <a16:creationId xmlns:a16="http://schemas.microsoft.com/office/drawing/2014/main" id="{FEBEBE7A-3065-435F-8315-F02DEAC1733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marL="0" marR="0" lvl="0" indent="0" algn="l" defTabSz="685792"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Oval 858">
              <a:extLst>
                <a:ext uri="{FF2B5EF4-FFF2-40B4-BE49-F238E27FC236}">
                  <a16:creationId xmlns:a16="http://schemas.microsoft.com/office/drawing/2014/main" id="{8A21EE79-9D4E-40D0-9AB5-DA1CE339ABEC}"/>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marL="0" marR="0" lvl="0" indent="0" algn="l" defTabSz="685792"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Oval 859">
              <a:extLst>
                <a:ext uri="{FF2B5EF4-FFF2-40B4-BE49-F238E27FC236}">
                  <a16:creationId xmlns:a16="http://schemas.microsoft.com/office/drawing/2014/main" id="{A9E2FD15-3141-4857-9B80-85BED5E8CD1F}"/>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marL="0" marR="0" lvl="0" indent="0" algn="l" defTabSz="685792"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860">
              <a:extLst>
                <a:ext uri="{FF2B5EF4-FFF2-40B4-BE49-F238E27FC236}">
                  <a16:creationId xmlns:a16="http://schemas.microsoft.com/office/drawing/2014/main" id="{EB88502C-33E8-41A4-9E95-C9EC7CDD1478}"/>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marL="0" marR="0" lvl="0" indent="0" algn="l" defTabSz="685792"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861">
              <a:extLst>
                <a:ext uri="{FF2B5EF4-FFF2-40B4-BE49-F238E27FC236}">
                  <a16:creationId xmlns:a16="http://schemas.microsoft.com/office/drawing/2014/main" id="{74993E18-676D-4853-8065-4EB0F7C61465}"/>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marL="0" marR="0" lvl="0" indent="0" algn="l" defTabSz="685792"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4" name="TextBox 53">
            <a:extLst>
              <a:ext uri="{FF2B5EF4-FFF2-40B4-BE49-F238E27FC236}">
                <a16:creationId xmlns:a16="http://schemas.microsoft.com/office/drawing/2014/main" id="{1DC588A9-0F60-4ECE-9B83-FDDC5B618045}"/>
              </a:ext>
            </a:extLst>
          </p:cNvPr>
          <p:cNvSpPr txBox="1"/>
          <p:nvPr/>
        </p:nvSpPr>
        <p:spPr>
          <a:xfrm>
            <a:off x="295710" y="6165073"/>
            <a:ext cx="912431" cy="415498"/>
          </a:xfrm>
          <a:prstGeom prst="rect">
            <a:avLst/>
          </a:prstGeom>
          <a:noFill/>
        </p:spPr>
        <p:txBody>
          <a:bodyPr wrap="square" rtlCol="0">
            <a:spAutoFit/>
          </a:bodyPr>
          <a:lstStyle/>
          <a:p>
            <a:pPr marL="0" marR="0" lvl="0" indent="0" algn="ctr" defTabSz="685792"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pport</a:t>
            </a:r>
          </a:p>
          <a:p>
            <a:pPr marL="0" marR="0" lvl="0" indent="0" algn="ctr" defTabSz="685792"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eams</a:t>
            </a:r>
          </a:p>
        </p:txBody>
      </p:sp>
      <p:sp>
        <p:nvSpPr>
          <p:cNvPr id="56" name="Title 1">
            <a:extLst>
              <a:ext uri="{FF2B5EF4-FFF2-40B4-BE49-F238E27FC236}">
                <a16:creationId xmlns:a16="http://schemas.microsoft.com/office/drawing/2014/main" id="{71F38AEC-52B4-4D9C-BDA3-E432D301F243}"/>
              </a:ext>
            </a:extLst>
          </p:cNvPr>
          <p:cNvSpPr txBox="1">
            <a:spLocks/>
          </p:cNvSpPr>
          <p:nvPr/>
        </p:nvSpPr>
        <p:spPr>
          <a:xfrm>
            <a:off x="381412" y="171442"/>
            <a:ext cx="11257989" cy="168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685792" rtl="0" eaLnBrk="1" fontAlgn="auto" latinLnBrk="0" hangingPunct="1">
              <a:lnSpc>
                <a:spcPct val="90000"/>
              </a:lnSpc>
              <a:spcBef>
                <a:spcPct val="0"/>
              </a:spcBef>
              <a:spcAft>
                <a:spcPts val="0"/>
              </a:spcAft>
              <a:buClrTx/>
              <a:buSzTx/>
              <a:buFontTx/>
              <a:buNone/>
              <a:tabLst/>
              <a:defRPr/>
            </a:pPr>
            <a:r>
              <a:rPr kumimoji="0" lang="en-US" sz="1801"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dit Transformations: </a:t>
            </a:r>
            <a:r>
              <a:rPr kumimoji="0" lang="en-US" sz="1801" b="1" i="0" u="none" strike="noStrike" kern="1200" cap="none" spc="0" normalizeH="0" baseline="0" noProof="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gile Release Train</a:t>
            </a:r>
          </a:p>
        </p:txBody>
      </p:sp>
      <p:sp>
        <p:nvSpPr>
          <p:cNvPr id="55" name="Rectangle: Rounded Corners 54">
            <a:extLst>
              <a:ext uri="{FF2B5EF4-FFF2-40B4-BE49-F238E27FC236}">
                <a16:creationId xmlns:a16="http://schemas.microsoft.com/office/drawing/2014/main" id="{1CA2DF33-807F-41CA-B003-47F123AFF75B}"/>
              </a:ext>
            </a:extLst>
          </p:cNvPr>
          <p:cNvSpPr/>
          <p:nvPr/>
        </p:nvSpPr>
        <p:spPr>
          <a:xfrm>
            <a:off x="378210" y="946322"/>
            <a:ext cx="11433628" cy="643021"/>
          </a:xfrm>
          <a:prstGeom prst="roundRect">
            <a:avLst/>
          </a:prstGeom>
          <a:solidFill>
            <a:schemeClr val="accent4">
              <a:lumMod val="60000"/>
              <a:lumOff val="40000"/>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685792">
              <a:lnSpc>
                <a:spcPct val="150000"/>
              </a:lnSpc>
            </a:pPr>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Business Owner: </a:t>
            </a: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Arnold B [AO, EMS, CMS,  AAT], Ben H [Diagnostics, Extended Reporting, AQMM]</a:t>
            </a:r>
            <a:endPar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defTabSz="685792">
              <a:lnSpc>
                <a:spcPct val="150000"/>
              </a:lnSpc>
            </a:pPr>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Technical Owner: </a:t>
            </a: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Shabab H (US), </a:t>
            </a:r>
            <a:r>
              <a:rPr lang="en-US" sz="1100" err="1">
                <a:solidFill>
                  <a:schemeClr val="tx1"/>
                </a:solidFill>
                <a:latin typeface="Open Sans" panose="020B0606030504020204" pitchFamily="34" charset="0"/>
                <a:ea typeface="Open Sans" panose="020B0606030504020204" pitchFamily="34" charset="0"/>
                <a:cs typeface="Open Sans" panose="020B0606030504020204" pitchFamily="34" charset="0"/>
              </a:rPr>
              <a:t>Mythili</a:t>
            </a: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 P. (Audit Online), Sravanthi J (ER/AQMM.), Suresh T (USI)</a:t>
            </a:r>
          </a:p>
        </p:txBody>
      </p:sp>
      <p:graphicFrame>
        <p:nvGraphicFramePr>
          <p:cNvPr id="58" name="Table 57">
            <a:extLst>
              <a:ext uri="{FF2B5EF4-FFF2-40B4-BE49-F238E27FC236}">
                <a16:creationId xmlns:a16="http://schemas.microsoft.com/office/drawing/2014/main" id="{A6EBFF0D-1699-4F57-AC1F-62AAC56A13FE}"/>
              </a:ext>
            </a:extLst>
          </p:cNvPr>
          <p:cNvGraphicFramePr>
            <a:graphicFrameLocks noGrp="1"/>
          </p:cNvGraphicFramePr>
          <p:nvPr>
            <p:extLst>
              <p:ext uri="{D42A27DB-BD31-4B8C-83A1-F6EECF244321}">
                <p14:modId xmlns:p14="http://schemas.microsoft.com/office/powerpoint/2010/main" val="2101287770"/>
              </p:ext>
            </p:extLst>
          </p:nvPr>
        </p:nvGraphicFramePr>
        <p:xfrm>
          <a:off x="381413" y="1634732"/>
          <a:ext cx="11371932" cy="2318789"/>
        </p:xfrm>
        <a:graphic>
          <a:graphicData uri="http://schemas.openxmlformats.org/drawingml/2006/table">
            <a:tbl>
              <a:tblPr firstRow="1" bandRow="1">
                <a:tableStyleId>{5A111915-BE36-4E01-A7E5-04B1672EAD32}</a:tableStyleId>
              </a:tblPr>
              <a:tblGrid>
                <a:gridCol w="1222038">
                  <a:extLst>
                    <a:ext uri="{9D8B030D-6E8A-4147-A177-3AD203B41FA5}">
                      <a16:colId xmlns:a16="http://schemas.microsoft.com/office/drawing/2014/main" val="490868266"/>
                    </a:ext>
                  </a:extLst>
                </a:gridCol>
                <a:gridCol w="1457006">
                  <a:extLst>
                    <a:ext uri="{9D8B030D-6E8A-4147-A177-3AD203B41FA5}">
                      <a16:colId xmlns:a16="http://schemas.microsoft.com/office/drawing/2014/main" val="1360615403"/>
                    </a:ext>
                  </a:extLst>
                </a:gridCol>
                <a:gridCol w="1609343">
                  <a:extLst>
                    <a:ext uri="{9D8B030D-6E8A-4147-A177-3AD203B41FA5}">
                      <a16:colId xmlns:a16="http://schemas.microsoft.com/office/drawing/2014/main" val="3193646302"/>
                    </a:ext>
                  </a:extLst>
                </a:gridCol>
                <a:gridCol w="1471683">
                  <a:extLst>
                    <a:ext uri="{9D8B030D-6E8A-4147-A177-3AD203B41FA5}">
                      <a16:colId xmlns:a16="http://schemas.microsoft.com/office/drawing/2014/main" val="1331743773"/>
                    </a:ext>
                  </a:extLst>
                </a:gridCol>
                <a:gridCol w="1405590">
                  <a:extLst>
                    <a:ext uri="{9D8B030D-6E8A-4147-A177-3AD203B41FA5}">
                      <a16:colId xmlns:a16="http://schemas.microsoft.com/office/drawing/2014/main" val="3064761255"/>
                    </a:ext>
                  </a:extLst>
                </a:gridCol>
                <a:gridCol w="1405590">
                  <a:extLst>
                    <a:ext uri="{9D8B030D-6E8A-4147-A177-3AD203B41FA5}">
                      <a16:colId xmlns:a16="http://schemas.microsoft.com/office/drawing/2014/main" val="461945815"/>
                    </a:ext>
                  </a:extLst>
                </a:gridCol>
                <a:gridCol w="1400341">
                  <a:extLst>
                    <a:ext uri="{9D8B030D-6E8A-4147-A177-3AD203B41FA5}">
                      <a16:colId xmlns:a16="http://schemas.microsoft.com/office/drawing/2014/main" val="891740523"/>
                    </a:ext>
                  </a:extLst>
                </a:gridCol>
                <a:gridCol w="1400341">
                  <a:extLst>
                    <a:ext uri="{9D8B030D-6E8A-4147-A177-3AD203B41FA5}">
                      <a16:colId xmlns:a16="http://schemas.microsoft.com/office/drawing/2014/main" val="2364113285"/>
                    </a:ext>
                  </a:extLst>
                </a:gridCol>
              </a:tblGrid>
              <a:tr h="366892">
                <a:tc>
                  <a:txBody>
                    <a:bodyPr/>
                    <a:lstStyle/>
                    <a:p>
                      <a:pPr algn="ctr"/>
                      <a:r>
                        <a:rPr lang="en-US" sz="1050">
                          <a:latin typeface="Open Sans"/>
                          <a:ea typeface="Open Sans"/>
                          <a:cs typeface="Open Sans"/>
                        </a:rPr>
                        <a:t>Product</a:t>
                      </a:r>
                    </a:p>
                  </a:txBody>
                  <a:tcPr marL="68580" marR="68580" marT="28340" marB="28340" anchor="ctr">
                    <a:solidFill>
                      <a:schemeClr val="accent4"/>
                    </a:solidFill>
                  </a:tcPr>
                </a:tc>
                <a:tc>
                  <a:txBody>
                    <a:bodyPr/>
                    <a:lstStyle/>
                    <a:p>
                      <a:pPr algn="ctr"/>
                      <a:r>
                        <a:rPr lang="en-US" sz="1050">
                          <a:latin typeface="Open Sans"/>
                          <a:ea typeface="Open Sans"/>
                          <a:cs typeface="Open Sans"/>
                        </a:rPr>
                        <a:t>Audit Online</a:t>
                      </a:r>
                    </a:p>
                  </a:txBody>
                  <a:tcPr marL="68580" marR="68580" marT="28340" marB="28340" anchor="ctr">
                    <a:solidFill>
                      <a:schemeClr val="accent3"/>
                    </a:solidFill>
                  </a:tcPr>
                </a:tc>
                <a:tc>
                  <a:txBody>
                    <a:bodyPr/>
                    <a:lstStyle/>
                    <a:p>
                      <a:pPr algn="ctr"/>
                      <a:r>
                        <a:rPr lang="en-US" sz="1050">
                          <a:latin typeface="Open Sans"/>
                          <a:ea typeface="Open Sans"/>
                          <a:cs typeface="Open Sans"/>
                        </a:rPr>
                        <a:t>EMS</a:t>
                      </a:r>
                    </a:p>
                  </a:txBody>
                  <a:tcPr marL="68580" marR="68580" marT="28340" marB="28340" anchor="ctr">
                    <a:solidFill>
                      <a:srgbClr val="30ABB9"/>
                    </a:solidFill>
                  </a:tcPr>
                </a:tc>
                <a:tc>
                  <a:txBody>
                    <a:bodyPr/>
                    <a:lstStyle/>
                    <a:p>
                      <a:pPr algn="ctr"/>
                      <a:r>
                        <a:rPr lang="en-US" sz="1050">
                          <a:latin typeface="Open Sans"/>
                          <a:ea typeface="Open Sans"/>
                          <a:cs typeface="Open Sans"/>
                        </a:rPr>
                        <a:t>AAT</a:t>
                      </a:r>
                    </a:p>
                  </a:txBody>
                  <a:tcPr marL="68580" marR="68580" marT="28340" marB="28340" anchor="ctr">
                    <a:solidFill>
                      <a:srgbClr val="30ABB9"/>
                    </a:solidFill>
                  </a:tcPr>
                </a:tc>
                <a:tc>
                  <a:txBody>
                    <a:bodyPr/>
                    <a:lstStyle/>
                    <a:p>
                      <a:pPr algn="ctr"/>
                      <a:r>
                        <a:rPr lang="en-US" sz="1050">
                          <a:latin typeface="Open Sans"/>
                          <a:ea typeface="Open Sans"/>
                          <a:cs typeface="Open Sans"/>
                        </a:rPr>
                        <a:t>CMS</a:t>
                      </a:r>
                    </a:p>
                  </a:txBody>
                  <a:tcPr marL="68580" marR="68580" marT="28340" marB="28340" anchor="ctr"/>
                </a:tc>
                <a:tc>
                  <a:txBody>
                    <a:bodyPr/>
                    <a:lstStyle/>
                    <a:p>
                      <a:pPr algn="ctr"/>
                      <a:r>
                        <a:rPr lang="en-US" sz="1050">
                          <a:latin typeface="Open Sans"/>
                          <a:ea typeface="Open Sans"/>
                          <a:cs typeface="Open Sans"/>
                        </a:rPr>
                        <a:t>Extended Reporting</a:t>
                      </a:r>
                    </a:p>
                  </a:txBody>
                  <a:tcPr marL="68580" marR="68580" marT="28340" marB="28340" anchor="ctr">
                    <a:solidFill>
                      <a:srgbClr val="62B5E5"/>
                    </a:solidFill>
                  </a:tcPr>
                </a:tc>
                <a:tc>
                  <a:txBody>
                    <a:bodyPr/>
                    <a:lstStyle/>
                    <a:p>
                      <a:pPr lvl="0" algn="ctr">
                        <a:buNone/>
                      </a:pPr>
                      <a:r>
                        <a:rPr lang="en-US" sz="1050">
                          <a:latin typeface="Open Sans"/>
                          <a:ea typeface="Open Sans"/>
                          <a:cs typeface="Open Sans"/>
                        </a:rPr>
                        <a:t>Diagnostics</a:t>
                      </a:r>
                    </a:p>
                  </a:txBody>
                  <a:tcPr marL="68580" marR="68580" marT="28340" marB="28340" anchor="ctr">
                    <a:solidFill>
                      <a:srgbClr val="62B5E5"/>
                    </a:solidFill>
                  </a:tcPr>
                </a:tc>
                <a:tc>
                  <a:txBody>
                    <a:bodyPr/>
                    <a:lstStyle/>
                    <a:p>
                      <a:pPr lvl="0" algn="ctr">
                        <a:buNone/>
                      </a:pPr>
                      <a:r>
                        <a:rPr lang="en-US" sz="1050">
                          <a:latin typeface="Open Sans"/>
                          <a:ea typeface="Open Sans"/>
                          <a:cs typeface="Open Sans"/>
                        </a:rPr>
                        <a:t>AQMM</a:t>
                      </a:r>
                    </a:p>
                  </a:txBody>
                  <a:tcPr marL="68580" marR="68580" marT="28340" marB="28340" anchor="ctr">
                    <a:solidFill>
                      <a:srgbClr val="62B5E5"/>
                    </a:solidFill>
                  </a:tcPr>
                </a:tc>
                <a:extLst>
                  <a:ext uri="{0D108BD9-81ED-4DB2-BD59-A6C34878D82A}">
                    <a16:rowId xmlns:a16="http://schemas.microsoft.com/office/drawing/2014/main" val="3312786368"/>
                  </a:ext>
                </a:extLst>
              </a:tr>
              <a:tr h="366892">
                <a:tc>
                  <a:txBody>
                    <a:bodyPr/>
                    <a:lstStyle/>
                    <a:p>
                      <a:pPr algn="ctr"/>
                      <a:r>
                        <a:rPr lang="en-US" sz="1050" b="1">
                          <a:latin typeface="Open Sans"/>
                          <a:ea typeface="Open Sans"/>
                          <a:cs typeface="Open Sans"/>
                        </a:rPr>
                        <a:t>Delivery Lead</a:t>
                      </a:r>
                      <a:endParaRPr lang="en-US" sz="1050" b="1">
                        <a:solidFill>
                          <a:schemeClr val="tx2">
                            <a:lumMod val="50000"/>
                          </a:schemeClr>
                        </a:solidFill>
                        <a:latin typeface="Open Sans"/>
                        <a:ea typeface="Open Sans"/>
                        <a:cs typeface="Open Sans"/>
                      </a:endParaRPr>
                    </a:p>
                  </a:txBody>
                  <a:tcPr marL="68580" marR="68580" marT="28340" marB="28340" anchor="ctr"/>
                </a:tc>
                <a:tc>
                  <a:txBody>
                    <a:bodyPr/>
                    <a:lstStyle/>
                    <a:p>
                      <a:pPr algn="ctr"/>
                      <a:r>
                        <a:rPr lang="en-US" sz="1050">
                          <a:solidFill>
                            <a:schemeClr val="tx1"/>
                          </a:solidFill>
                          <a:latin typeface="Open Sans"/>
                          <a:ea typeface="Open Sans"/>
                          <a:cs typeface="Open Sans"/>
                        </a:rPr>
                        <a:t>Mythili P </a:t>
                      </a:r>
                      <a:endParaRPr lang="en-US" sz="1050">
                        <a:solidFill>
                          <a:schemeClr val="tx2">
                            <a:lumMod val="50000"/>
                          </a:schemeClr>
                        </a:solidFill>
                        <a:latin typeface="Open Sans"/>
                        <a:ea typeface="Open Sans"/>
                        <a:cs typeface="Open Sans"/>
                      </a:endParaRPr>
                    </a:p>
                  </a:txBody>
                  <a:tcPr marL="68580" marR="68580" marT="28340" marB="28340" anchor="ctr"/>
                </a:tc>
                <a:tc>
                  <a:txBody>
                    <a:bodyPr/>
                    <a:lstStyle/>
                    <a:p>
                      <a:pPr algn="ctr"/>
                      <a:r>
                        <a:rPr lang="en-US" sz="1050">
                          <a:latin typeface="Open Sans"/>
                          <a:ea typeface="Open Sans"/>
                          <a:cs typeface="Open Sans"/>
                        </a:rPr>
                        <a:t>Vijaya R</a:t>
                      </a:r>
                    </a:p>
                  </a:txBody>
                  <a:tcPr marL="68580" marR="68580" marT="28340" marB="28340" anchor="ctr"/>
                </a:tc>
                <a:tc>
                  <a:txBody>
                    <a:bodyPr/>
                    <a:lstStyle/>
                    <a:p>
                      <a:pPr algn="ctr"/>
                      <a:r>
                        <a:rPr lang="en-US" sz="1050">
                          <a:latin typeface="Open Sans"/>
                          <a:ea typeface="Open Sans"/>
                          <a:cs typeface="Open Sans"/>
                        </a:rPr>
                        <a:t>Vijaya R</a:t>
                      </a:r>
                    </a:p>
                  </a:txBody>
                  <a:tcPr marL="68580" marR="68580" marT="28340" marB="28340" anchor="ctr"/>
                </a:tc>
                <a:tc>
                  <a:txBody>
                    <a:bodyPr/>
                    <a:lstStyle/>
                    <a:p>
                      <a:pPr algn="ctr"/>
                      <a:r>
                        <a:rPr lang="en-US" sz="1050" kern="1200" noProof="0">
                          <a:solidFill>
                            <a:schemeClr val="tx1"/>
                          </a:solidFill>
                          <a:latin typeface="Open Sans"/>
                        </a:rPr>
                        <a:t>Prathap R</a:t>
                      </a:r>
                    </a:p>
                  </a:txBody>
                  <a:tcPr marL="68580" marR="68580" marT="28340" marB="28340" anchor="ctr"/>
                </a:tc>
                <a:tc>
                  <a:txBody>
                    <a:bodyPr/>
                    <a:lstStyle/>
                    <a:p>
                      <a:pPr algn="ctr"/>
                      <a:r>
                        <a:rPr lang="en-US" sz="1050">
                          <a:solidFill>
                            <a:schemeClr val="tx1"/>
                          </a:solidFill>
                          <a:latin typeface="Open Sans"/>
                          <a:ea typeface="Open Sans"/>
                          <a:cs typeface="Open Sans"/>
                        </a:rPr>
                        <a:t>Sravanthi J, </a:t>
                      </a:r>
                    </a:p>
                    <a:p>
                      <a:pPr lvl="0" algn="ctr">
                        <a:buNone/>
                      </a:pPr>
                      <a:r>
                        <a:rPr lang="en-US" sz="1050">
                          <a:solidFill>
                            <a:schemeClr val="tx1"/>
                          </a:solidFill>
                          <a:latin typeface="Open Sans"/>
                          <a:ea typeface="Open Sans"/>
                          <a:cs typeface="Open Sans"/>
                        </a:rPr>
                        <a:t>Sowmya K</a:t>
                      </a:r>
                    </a:p>
                  </a:txBody>
                  <a:tcPr marL="68580" marR="68580" marT="28340" marB="28340"/>
                </a:tc>
                <a:tc>
                  <a:txBody>
                    <a:bodyPr/>
                    <a:lstStyle/>
                    <a:p>
                      <a:pPr lvl="0" algn="ctr">
                        <a:buNone/>
                      </a:pPr>
                      <a:r>
                        <a:rPr lang="en-US" sz="1050">
                          <a:solidFill>
                            <a:schemeClr val="tx1"/>
                          </a:solidFill>
                          <a:latin typeface="Open Sans"/>
                          <a:ea typeface="Open Sans"/>
                          <a:cs typeface="Open Sans"/>
                        </a:rPr>
                        <a:t>Sowmya K</a:t>
                      </a:r>
                      <a:endParaRPr lang="en-US" sz="1050" kern="1200" noProof="0">
                        <a:solidFill>
                          <a:schemeClr val="tx1"/>
                        </a:solidFill>
                        <a:latin typeface="Open Sans"/>
                        <a:ea typeface="+mn-ea"/>
                        <a:cs typeface="+mn-cs"/>
                      </a:endParaRPr>
                    </a:p>
                  </a:txBody>
                  <a:tcPr marL="68580" marR="68580" marT="28340" marB="28340" anchor="ctr"/>
                </a:tc>
                <a:tc>
                  <a:txBody>
                    <a:bodyPr/>
                    <a:lstStyle/>
                    <a:p>
                      <a:pPr lvl="0" algn="ctr">
                        <a:buNone/>
                      </a:pPr>
                      <a:r>
                        <a:rPr lang="en-US" sz="1050">
                          <a:solidFill>
                            <a:schemeClr val="tx1"/>
                          </a:solidFill>
                          <a:latin typeface="Open Sans"/>
                          <a:ea typeface="Open Sans"/>
                          <a:cs typeface="Open Sans"/>
                        </a:rPr>
                        <a:t>Sravanthi J </a:t>
                      </a:r>
                      <a:endParaRPr lang="en-US" sz="1050" kern="1200" noProof="0">
                        <a:solidFill>
                          <a:schemeClr val="tx1"/>
                        </a:solidFill>
                        <a:latin typeface="Open Sans"/>
                        <a:ea typeface="+mn-ea"/>
                        <a:cs typeface="+mn-cs"/>
                      </a:endParaRPr>
                    </a:p>
                  </a:txBody>
                  <a:tcPr marL="68580" marR="68580" marT="28340" marB="28340" anchor="ctr"/>
                </a:tc>
                <a:extLst>
                  <a:ext uri="{0D108BD9-81ED-4DB2-BD59-A6C34878D82A}">
                    <a16:rowId xmlns:a16="http://schemas.microsoft.com/office/drawing/2014/main" val="1773069859"/>
                  </a:ext>
                </a:extLst>
              </a:tr>
              <a:tr h="366892">
                <a:tc>
                  <a:txBody>
                    <a:bodyPr/>
                    <a:lstStyle/>
                    <a:p>
                      <a:pPr algn="ctr"/>
                      <a:r>
                        <a:rPr lang="en-US" sz="1050" b="1">
                          <a:solidFill>
                            <a:schemeClr val="tx1"/>
                          </a:solidFill>
                          <a:latin typeface="Open Sans"/>
                          <a:ea typeface="Open Sans"/>
                          <a:cs typeface="Open Sans"/>
                        </a:rPr>
                        <a:t>Product Manager</a:t>
                      </a:r>
                      <a:endParaRPr lang="en-US" sz="1050" b="1">
                        <a:latin typeface="Open Sans"/>
                        <a:ea typeface="Open Sans"/>
                        <a:cs typeface="Open Sans"/>
                      </a:endParaRPr>
                    </a:p>
                  </a:txBody>
                  <a:tcPr marL="68580" marR="68580" marT="28340" marB="28340" anchor="ctr"/>
                </a:tc>
                <a:tc>
                  <a:txBody>
                    <a:bodyPr/>
                    <a:lstStyle/>
                    <a:p>
                      <a:pPr algn="ctr"/>
                      <a:r>
                        <a:rPr lang="en-US" sz="1050">
                          <a:solidFill>
                            <a:schemeClr val="tx1"/>
                          </a:solidFill>
                          <a:latin typeface="Open Sans"/>
                          <a:ea typeface="Open Sans"/>
                          <a:cs typeface="Open Sans"/>
                        </a:rPr>
                        <a:t>Lauren J </a:t>
                      </a:r>
                      <a:endParaRPr lang="en-US" sz="1050">
                        <a:solidFill>
                          <a:schemeClr val="tx2">
                            <a:lumMod val="50000"/>
                          </a:schemeClr>
                        </a:solidFill>
                        <a:latin typeface="Open Sans"/>
                        <a:ea typeface="Open Sans"/>
                        <a:cs typeface="Open Sans"/>
                      </a:endParaRPr>
                    </a:p>
                  </a:txBody>
                  <a:tcPr marL="68580" marR="68580" marT="28340" marB="28340" anchor="ctr"/>
                </a:tc>
                <a:tc>
                  <a:txBody>
                    <a:bodyPr/>
                    <a:lstStyle/>
                    <a:p>
                      <a:pPr marL="0" marR="0" lvl="0" indent="0" algn="ctr" rtl="0" eaLnBrk="1" fontAlgn="auto" latinLnBrk="0" hangingPunct="1">
                        <a:lnSpc>
                          <a:spcPct val="100000"/>
                        </a:lnSpc>
                        <a:spcBef>
                          <a:spcPts val="0"/>
                        </a:spcBef>
                        <a:spcAft>
                          <a:spcPts val="0"/>
                        </a:spcAft>
                        <a:buFontTx/>
                        <a:buNone/>
                      </a:pPr>
                      <a:r>
                        <a:rPr lang="en-US" sz="1050">
                          <a:solidFill>
                            <a:schemeClr val="tx1"/>
                          </a:solidFill>
                          <a:latin typeface="Open Sans"/>
                          <a:ea typeface="Open Sans"/>
                          <a:cs typeface="Open Sans"/>
                        </a:rPr>
                        <a:t>Eduardo A </a:t>
                      </a:r>
                      <a:endParaRPr lang="en-US" sz="1050">
                        <a:solidFill>
                          <a:schemeClr val="tx2">
                            <a:lumMod val="50000"/>
                          </a:schemeClr>
                        </a:solidFill>
                        <a:latin typeface="Open Sans"/>
                        <a:ea typeface="Open Sans"/>
                        <a:cs typeface="Open Sans"/>
                      </a:endParaRPr>
                    </a:p>
                  </a:txBody>
                  <a:tcPr marL="68580" marR="68580" marT="28340" marB="28340" anchor="ctr"/>
                </a:tc>
                <a:tc>
                  <a:txBody>
                    <a:bodyPr/>
                    <a:lstStyle/>
                    <a:p>
                      <a:pPr algn="ctr"/>
                      <a:r>
                        <a:rPr lang="en-US" sz="1050">
                          <a:solidFill>
                            <a:schemeClr val="tx1"/>
                          </a:solidFill>
                          <a:latin typeface="Open Sans"/>
                          <a:ea typeface="Open Sans"/>
                          <a:cs typeface="Open Sans"/>
                        </a:rPr>
                        <a:t>Eduardo A </a:t>
                      </a:r>
                      <a:endParaRPr lang="en-US" sz="1050">
                        <a:solidFill>
                          <a:schemeClr val="tx2">
                            <a:lumMod val="50000"/>
                          </a:schemeClr>
                        </a:solidFill>
                        <a:latin typeface="Open Sans"/>
                        <a:ea typeface="Open Sans"/>
                        <a:cs typeface="Open Sans"/>
                      </a:endParaRPr>
                    </a:p>
                  </a:txBody>
                  <a:tcPr marL="68580" marR="68580" marT="28340" marB="28340" anchor="ctr"/>
                </a:tc>
                <a:tc>
                  <a:txBody>
                    <a:bodyPr/>
                    <a:lstStyle/>
                    <a:p>
                      <a:pPr lvl="0" algn="ctr">
                        <a:buNone/>
                      </a:pPr>
                      <a:r>
                        <a:rPr lang="en-US" sz="1050" kern="1200">
                          <a:solidFill>
                            <a:schemeClr val="tx1"/>
                          </a:solidFill>
                          <a:latin typeface="Open Sans"/>
                          <a:ea typeface="Open Sans"/>
                          <a:cs typeface="Open Sans"/>
                        </a:rPr>
                        <a:t>Swetha M</a:t>
                      </a:r>
                      <a:endParaRPr lang="en-US" sz="1050" kern="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28340" marB="28340" anchor="ctr"/>
                </a:tc>
                <a:tc>
                  <a:txBody>
                    <a:bodyPr/>
                    <a:lstStyle/>
                    <a:p>
                      <a:pPr lvl="0" algn="ctr">
                        <a:buNone/>
                      </a:pPr>
                      <a:r>
                        <a:rPr lang="en-US" sz="1050">
                          <a:solidFill>
                            <a:schemeClr val="tx1"/>
                          </a:solidFill>
                          <a:latin typeface="Open Sans"/>
                          <a:ea typeface="Open Sans"/>
                          <a:cs typeface="Open Sans"/>
                        </a:rPr>
                        <a:t>Andrew </a:t>
                      </a:r>
                      <a:r>
                        <a:rPr lang="en-US" sz="1050" kern="1200">
                          <a:solidFill>
                            <a:schemeClr val="tx1"/>
                          </a:solidFill>
                          <a:latin typeface="Open Sans"/>
                          <a:ea typeface="Open Sans"/>
                          <a:cs typeface="Open Sans"/>
                        </a:rPr>
                        <a:t>T , Spencer M, Jen K </a:t>
                      </a:r>
                      <a:endParaRPr lang="en-US" sz="1050" kern="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28340" marB="28340" anchor="ctr"/>
                </a:tc>
                <a:tc>
                  <a:txBody>
                    <a:bodyPr/>
                    <a:lstStyle/>
                    <a:p>
                      <a:pPr lvl="0" algn="ctr">
                        <a:buNone/>
                      </a:pPr>
                      <a:r>
                        <a:rPr lang="en-US" sz="1050">
                          <a:solidFill>
                            <a:schemeClr val="tx1"/>
                          </a:solidFill>
                          <a:latin typeface="Open Sans"/>
                          <a:ea typeface="Open Sans"/>
                          <a:cs typeface="Open Sans"/>
                        </a:rPr>
                        <a:t>Andrew T </a:t>
                      </a:r>
                      <a:endParaRPr lang="en-US"/>
                    </a:p>
                  </a:txBody>
                  <a:tcPr marL="68580" marR="68580" marT="28340" marB="28340" anchor="ctr"/>
                </a:tc>
                <a:tc>
                  <a:txBody>
                    <a:bodyPr/>
                    <a:lstStyle/>
                    <a:p>
                      <a:pPr lvl="0" algn="ctr">
                        <a:buNone/>
                      </a:pPr>
                      <a:r>
                        <a:rPr lang="en-US" sz="1050">
                          <a:solidFill>
                            <a:schemeClr val="tx1"/>
                          </a:solidFill>
                          <a:latin typeface="Open Sans"/>
                          <a:ea typeface="Open Sans"/>
                          <a:cs typeface="Open Sans"/>
                        </a:rPr>
                        <a:t>Jen K/Rose Z</a:t>
                      </a:r>
                      <a:endParaRPr lang="en-US" sz="1050">
                        <a:solidFill>
                          <a:schemeClr val="tx2">
                            <a:lumMod val="50000"/>
                          </a:schemeClr>
                        </a:solidFill>
                        <a:latin typeface="Open Sans"/>
                        <a:ea typeface="Open Sans"/>
                        <a:cs typeface="Open Sans"/>
                      </a:endParaRPr>
                    </a:p>
                  </a:txBody>
                  <a:tcPr marL="68580" marR="68580" marT="28340" marB="28340" anchor="ctr"/>
                </a:tc>
                <a:extLst>
                  <a:ext uri="{0D108BD9-81ED-4DB2-BD59-A6C34878D82A}">
                    <a16:rowId xmlns:a16="http://schemas.microsoft.com/office/drawing/2014/main" val="462342793"/>
                  </a:ext>
                </a:extLst>
              </a:tr>
              <a:tr h="525323">
                <a:tc>
                  <a:txBody>
                    <a:bodyPr/>
                    <a:lstStyle/>
                    <a:p>
                      <a:pPr algn="ctr"/>
                      <a:r>
                        <a:rPr lang="en-US" sz="1050" b="1">
                          <a:latin typeface="Open Sans"/>
                          <a:ea typeface="Open Sans"/>
                          <a:cs typeface="Open Sans"/>
                        </a:rPr>
                        <a:t>Architect</a:t>
                      </a:r>
                    </a:p>
                  </a:txBody>
                  <a:tcPr marL="68580" marR="68580" marT="28340" marB="28340" anchor="ctr"/>
                </a:tc>
                <a:tc>
                  <a:txBody>
                    <a:bodyPr/>
                    <a:lstStyle/>
                    <a:p>
                      <a:pPr algn="ctr"/>
                      <a:r>
                        <a:rPr lang="en-US" sz="1050">
                          <a:solidFill>
                            <a:schemeClr val="tx1"/>
                          </a:solidFill>
                          <a:latin typeface="Open Sans"/>
                          <a:ea typeface="Open Sans"/>
                          <a:cs typeface="Open Sans"/>
                        </a:rPr>
                        <a:t>Janine K</a:t>
                      </a:r>
                      <a:r>
                        <a:rPr lang="en-US" sz="1050">
                          <a:solidFill>
                            <a:schemeClr val="tx1"/>
                          </a:solidFill>
                          <a:latin typeface="Open Sans"/>
                        </a:rPr>
                        <a:t>, Anubha B, </a:t>
                      </a:r>
                      <a:r>
                        <a:rPr lang="en-US" sz="1050">
                          <a:solidFill>
                            <a:schemeClr val="tx1"/>
                          </a:solidFill>
                          <a:latin typeface="Open Sans"/>
                          <a:ea typeface="Open Sans"/>
                          <a:cs typeface="Open Sans"/>
                        </a:rPr>
                        <a:t>Jignesh P, Waseem N </a:t>
                      </a:r>
                      <a:endParaRPr lang="en-US" sz="1050">
                        <a:latin typeface="Open Sans"/>
                        <a:ea typeface="Open Sans"/>
                        <a:cs typeface="Open Sans"/>
                      </a:endParaRPr>
                    </a:p>
                  </a:txBody>
                  <a:tcPr marL="68580" marR="68580" marT="28340" marB="28340" anchor="ctr"/>
                </a:tc>
                <a:tc>
                  <a:txBody>
                    <a:bodyPr/>
                    <a:lstStyle/>
                    <a:p>
                      <a:pPr algn="ctr"/>
                      <a:r>
                        <a:rPr lang="en-US" sz="1050">
                          <a:solidFill>
                            <a:schemeClr val="tx1"/>
                          </a:solidFill>
                          <a:latin typeface="Open Sans"/>
                          <a:ea typeface="Open Sans"/>
                          <a:cs typeface="Open Sans"/>
                        </a:rPr>
                        <a:t>Manish S </a:t>
                      </a:r>
                      <a:endParaRPr lang="en-US" sz="1050">
                        <a:latin typeface="Open Sans"/>
                        <a:ea typeface="Open Sans"/>
                        <a:cs typeface="Open Sans"/>
                      </a:endParaRPr>
                    </a:p>
                  </a:txBody>
                  <a:tcPr marL="68580" marR="68580" marT="28340" marB="28340" anchor="ctr"/>
                </a:tc>
                <a:tc>
                  <a:txBody>
                    <a:bodyPr/>
                    <a:lstStyle/>
                    <a:p>
                      <a:pPr algn="ctr"/>
                      <a:r>
                        <a:rPr lang="en-US" sz="1050">
                          <a:latin typeface="Open Sans"/>
                          <a:ea typeface="Open Sans"/>
                          <a:cs typeface="Open Sans"/>
                        </a:rPr>
                        <a:t>Manish S</a:t>
                      </a:r>
                    </a:p>
                  </a:txBody>
                  <a:tcPr marL="68580" marR="68580" marT="28340" marB="28340" anchor="ctr"/>
                </a:tc>
                <a:tc>
                  <a:txBody>
                    <a:bodyPr/>
                    <a:lstStyle/>
                    <a:p>
                      <a:pPr algn="ctr"/>
                      <a:r>
                        <a:rPr lang="en-US" sz="1050">
                          <a:solidFill>
                            <a:schemeClr val="tx1"/>
                          </a:solidFill>
                          <a:latin typeface="Open Sans"/>
                          <a:ea typeface="Open Sans"/>
                          <a:cs typeface="Open Sans"/>
                        </a:rPr>
                        <a:t>Prathap R </a:t>
                      </a:r>
                      <a:endParaRPr lang="en-US" sz="1050">
                        <a:solidFill>
                          <a:schemeClr val="tx2">
                            <a:lumMod val="50000"/>
                          </a:schemeClr>
                        </a:solidFill>
                        <a:latin typeface="Open Sans"/>
                        <a:ea typeface="Open Sans"/>
                        <a:cs typeface="Open Sans"/>
                      </a:endParaRPr>
                    </a:p>
                  </a:txBody>
                  <a:tcPr marL="68580" marR="68580" marT="28340" marB="28340" anchor="ctr"/>
                </a:tc>
                <a:tc>
                  <a:txBody>
                    <a:bodyPr/>
                    <a:lstStyle/>
                    <a:p>
                      <a:pPr algn="ctr"/>
                      <a:r>
                        <a:rPr lang="en-US" sz="1050">
                          <a:solidFill>
                            <a:schemeClr val="tx1"/>
                          </a:solidFill>
                          <a:latin typeface="Open Sans"/>
                          <a:ea typeface="Open Sans"/>
                          <a:cs typeface="Open Sans"/>
                        </a:rPr>
                        <a:t>Ashok T </a:t>
                      </a:r>
                      <a:endParaRPr lang="en-US" sz="1050">
                        <a:solidFill>
                          <a:schemeClr val="tx2">
                            <a:lumMod val="50000"/>
                          </a:schemeClr>
                        </a:solidFill>
                        <a:latin typeface="Open Sans"/>
                        <a:ea typeface="Open Sans"/>
                        <a:cs typeface="Open Sans"/>
                      </a:endParaRPr>
                    </a:p>
                  </a:txBody>
                  <a:tcPr marL="68580" marR="68580" marT="28340" marB="28340" anchor="ctr"/>
                </a:tc>
                <a:tc>
                  <a:txBody>
                    <a:bodyPr/>
                    <a:lstStyle/>
                    <a:p>
                      <a:pPr lvl="0" algn="ctr">
                        <a:buNone/>
                      </a:pPr>
                      <a:r>
                        <a:rPr lang="en-US" sz="1050">
                          <a:latin typeface="Open Sans"/>
                          <a:ea typeface="Open Sans"/>
                          <a:cs typeface="Open Sans"/>
                        </a:rPr>
                        <a:t>Ramesh </a:t>
                      </a:r>
                    </a:p>
                  </a:txBody>
                  <a:tcPr marL="68580" marR="68580" marT="28340" marB="28340" anchor="ctr"/>
                </a:tc>
                <a:tc>
                  <a:txBody>
                    <a:bodyPr/>
                    <a:lstStyle/>
                    <a:p>
                      <a:pPr lvl="0" algn="ctr">
                        <a:buNone/>
                      </a:pPr>
                      <a:r>
                        <a:rPr lang="en-US" sz="1050">
                          <a:solidFill>
                            <a:schemeClr val="tx1"/>
                          </a:solidFill>
                          <a:latin typeface="Open Sans"/>
                          <a:ea typeface="Open Sans"/>
                          <a:cs typeface="Open Sans"/>
                        </a:rPr>
                        <a:t>Karthik C </a:t>
                      </a:r>
                      <a:endParaRPr lang="en-US" sz="1050">
                        <a:latin typeface="Open Sans"/>
                        <a:ea typeface="Open Sans"/>
                        <a:cs typeface="Open Sans"/>
                      </a:endParaRPr>
                    </a:p>
                  </a:txBody>
                  <a:tcPr marL="68580" marR="68580" marT="28340" marB="28340" anchor="ctr"/>
                </a:tc>
                <a:extLst>
                  <a:ext uri="{0D108BD9-81ED-4DB2-BD59-A6C34878D82A}">
                    <a16:rowId xmlns:a16="http://schemas.microsoft.com/office/drawing/2014/main" val="2876868721"/>
                  </a:ext>
                </a:extLst>
              </a:tr>
              <a:tr h="275169">
                <a:tc>
                  <a:txBody>
                    <a:bodyPr/>
                    <a:lstStyle/>
                    <a:p>
                      <a:pPr algn="ctr"/>
                      <a:r>
                        <a:rPr lang="en-US" sz="1050" b="1">
                          <a:latin typeface="Open Sans"/>
                          <a:ea typeface="Open Sans"/>
                          <a:cs typeface="Open Sans"/>
                        </a:rPr>
                        <a:t>DevOps</a:t>
                      </a:r>
                    </a:p>
                  </a:txBody>
                  <a:tcPr marL="68580" marR="68580" marT="28340" marB="28340" anchor="ctr"/>
                </a:tc>
                <a:tc>
                  <a:txBody>
                    <a:bodyPr/>
                    <a:lstStyle/>
                    <a:p>
                      <a:pPr algn="ctr"/>
                      <a:r>
                        <a:rPr lang="en-US" sz="1050">
                          <a:latin typeface="Open Sans"/>
                          <a:ea typeface="Open Sans"/>
                          <a:cs typeface="Open Sans"/>
                        </a:rPr>
                        <a:t>Vanessa M, Naveen J</a:t>
                      </a:r>
                    </a:p>
                    <a:p>
                      <a:pPr algn="ctr"/>
                      <a:r>
                        <a:rPr lang="en-US" sz="1050">
                          <a:latin typeface="Open Sans"/>
                          <a:ea typeface="Open Sans"/>
                          <a:cs typeface="Open Sans"/>
                        </a:rPr>
                        <a:t>Nitin K</a:t>
                      </a:r>
                    </a:p>
                  </a:txBody>
                  <a:tcPr marL="68580" marR="68580" marT="28340" marB="28340" anchor="ctr"/>
                </a:tc>
                <a:tc>
                  <a:txBody>
                    <a:bodyPr/>
                    <a:lstStyle/>
                    <a:p>
                      <a:pPr algn="ctr"/>
                      <a:r>
                        <a:rPr lang="en-US" sz="1050">
                          <a:latin typeface="Open Sans"/>
                          <a:ea typeface="Open Sans"/>
                          <a:cs typeface="Open Sans"/>
                        </a:rPr>
                        <a:t>Gajendra K, Santhosh K</a:t>
                      </a:r>
                    </a:p>
                  </a:txBody>
                  <a:tcPr marL="68580" marR="68580" marT="28340" marB="28340" anchor="ctr"/>
                </a:tc>
                <a:tc>
                  <a:txBody>
                    <a:bodyPr/>
                    <a:lstStyle/>
                    <a:p>
                      <a:pPr algn="ctr"/>
                      <a:r>
                        <a:rPr lang="en-US" sz="1050">
                          <a:latin typeface="Open Sans"/>
                          <a:ea typeface="Open Sans"/>
                          <a:cs typeface="Open Sans"/>
                        </a:rPr>
                        <a:t>Santhosh K, Navneeth K</a:t>
                      </a:r>
                    </a:p>
                  </a:txBody>
                  <a:tcPr marL="68580" marR="68580" marT="28340" marB="28340" anchor="ctr"/>
                </a:tc>
                <a:tc>
                  <a:txBody>
                    <a:bodyPr/>
                    <a:lstStyle/>
                    <a:p>
                      <a:pPr algn="ctr"/>
                      <a:r>
                        <a:rPr lang="en-US" sz="1050">
                          <a:solidFill>
                            <a:schemeClr val="tx2">
                              <a:lumMod val="50000"/>
                            </a:schemeClr>
                          </a:solidFill>
                          <a:latin typeface="Open Sans"/>
                          <a:ea typeface="Open Sans"/>
                          <a:cs typeface="Open Sans"/>
                        </a:rPr>
                        <a:t>Sadaiah G</a:t>
                      </a:r>
                    </a:p>
                  </a:txBody>
                  <a:tcPr marL="68580" marR="68580" marT="28340" marB="28340" anchor="ctr"/>
                </a:tc>
                <a:tc>
                  <a:txBody>
                    <a:bodyPr/>
                    <a:lstStyle/>
                    <a:p>
                      <a:pPr algn="ctr"/>
                      <a:r>
                        <a:rPr lang="en-US" sz="1050">
                          <a:solidFill>
                            <a:schemeClr val="tx2">
                              <a:lumMod val="50000"/>
                            </a:schemeClr>
                          </a:solidFill>
                          <a:latin typeface="Open Sans"/>
                          <a:ea typeface="Open Sans"/>
                          <a:cs typeface="Open Sans"/>
                        </a:rPr>
                        <a:t>Shravya R, Srinath R</a:t>
                      </a:r>
                    </a:p>
                  </a:txBody>
                  <a:tcPr marL="68580" marR="68580" marT="28340" marB="28340" anchor="ctr"/>
                </a:tc>
                <a:tc>
                  <a:txBody>
                    <a:bodyPr/>
                    <a:lstStyle/>
                    <a:p>
                      <a:pPr lvl="0" algn="ctr">
                        <a:buNone/>
                      </a:pPr>
                      <a:r>
                        <a:rPr lang="en-US" sz="1050">
                          <a:latin typeface="Open Sans"/>
                          <a:ea typeface="Open Sans"/>
                          <a:cs typeface="Open Sans"/>
                        </a:rPr>
                        <a:t>Rahul S, Navneeth K</a:t>
                      </a:r>
                    </a:p>
                  </a:txBody>
                  <a:tcPr marL="68580" marR="68580" marT="28340" marB="28340" anchor="ctr"/>
                </a:tc>
                <a:tc>
                  <a:txBody>
                    <a:bodyPr/>
                    <a:lstStyle/>
                    <a:p>
                      <a:pPr lvl="0" algn="ctr">
                        <a:buNone/>
                      </a:pPr>
                      <a:r>
                        <a:rPr lang="en-US" sz="1050">
                          <a:latin typeface="Open Sans"/>
                          <a:ea typeface="Open Sans"/>
                          <a:cs typeface="Open Sans"/>
                        </a:rPr>
                        <a:t>Santhosh K, Devi D</a:t>
                      </a:r>
                    </a:p>
                  </a:txBody>
                  <a:tcPr marL="68580" marR="68580" marT="28340" marB="28340" anchor="ctr"/>
                </a:tc>
                <a:extLst>
                  <a:ext uri="{0D108BD9-81ED-4DB2-BD59-A6C34878D82A}">
                    <a16:rowId xmlns:a16="http://schemas.microsoft.com/office/drawing/2014/main" val="4010093920"/>
                  </a:ext>
                </a:extLst>
              </a:tr>
              <a:tr h="275169">
                <a:tc>
                  <a:txBody>
                    <a:bodyPr/>
                    <a:lstStyle/>
                    <a:p>
                      <a:pPr algn="ctr"/>
                      <a:r>
                        <a:rPr lang="en-US" sz="1050" b="1">
                          <a:latin typeface="Open Sans"/>
                          <a:ea typeface="Open Sans"/>
                          <a:cs typeface="Open Sans"/>
                        </a:rPr>
                        <a:t>DBA</a:t>
                      </a:r>
                    </a:p>
                  </a:txBody>
                  <a:tcPr marL="68580" marR="68580" marT="28340" marB="28340" anchor="ctr"/>
                </a:tc>
                <a:tc>
                  <a:txBody>
                    <a:bodyPr/>
                    <a:lstStyle/>
                    <a:p>
                      <a:pPr algn="ctr"/>
                      <a:r>
                        <a:rPr lang="en-US" sz="1050">
                          <a:latin typeface="Open Sans"/>
                          <a:ea typeface="Open Sans"/>
                          <a:cs typeface="Open Sans"/>
                        </a:rPr>
                        <a:t>Mark S</a:t>
                      </a:r>
                    </a:p>
                  </a:txBody>
                  <a:tcPr marL="68580" marR="68580" marT="28340" marB="28340" anchor="ctr"/>
                </a:tc>
                <a:tc>
                  <a:txBody>
                    <a:bodyPr/>
                    <a:lstStyle/>
                    <a:p>
                      <a:pPr algn="ctr"/>
                      <a:endParaRPr lang="en-US" sz="1050">
                        <a:latin typeface="Open Sans"/>
                        <a:ea typeface="Open Sans"/>
                        <a:cs typeface="Open Sans"/>
                      </a:endParaRPr>
                    </a:p>
                  </a:txBody>
                  <a:tcPr marL="68580" marR="68580" marT="28340" marB="28340" anchor="ctr"/>
                </a:tc>
                <a:tc>
                  <a:txBody>
                    <a:bodyPr/>
                    <a:lstStyle/>
                    <a:p>
                      <a:pPr algn="ctr"/>
                      <a:endParaRPr lang="en-US" sz="1050">
                        <a:latin typeface="Open Sans"/>
                        <a:ea typeface="Open Sans"/>
                        <a:cs typeface="Open Sans"/>
                      </a:endParaRPr>
                    </a:p>
                  </a:txBody>
                  <a:tcPr marL="68580" marR="68580" marT="28340" marB="28340" anchor="ctr"/>
                </a:tc>
                <a:tc>
                  <a:txBody>
                    <a:bodyPr/>
                    <a:lstStyle/>
                    <a:p>
                      <a:pPr algn="ctr"/>
                      <a:endParaRPr lang="en-US" sz="1050">
                        <a:solidFill>
                          <a:schemeClr val="tx2">
                            <a:lumMod val="50000"/>
                          </a:schemeClr>
                        </a:solidFill>
                        <a:latin typeface="Open Sans"/>
                        <a:ea typeface="Open Sans"/>
                        <a:cs typeface="Open Sans"/>
                      </a:endParaRPr>
                    </a:p>
                  </a:txBody>
                  <a:tcPr marL="68580" marR="68580" marT="28340" marB="28340" anchor="ctr"/>
                </a:tc>
                <a:tc>
                  <a:txBody>
                    <a:bodyPr/>
                    <a:lstStyle/>
                    <a:p>
                      <a:pPr algn="ctr"/>
                      <a:endParaRPr lang="en-US" sz="1050">
                        <a:solidFill>
                          <a:schemeClr val="tx2">
                            <a:lumMod val="50000"/>
                          </a:schemeClr>
                        </a:solidFill>
                        <a:latin typeface="Open Sans"/>
                        <a:ea typeface="Open Sans"/>
                        <a:cs typeface="Open Sans"/>
                      </a:endParaRPr>
                    </a:p>
                  </a:txBody>
                  <a:tcPr marL="68580" marR="68580" marT="28340" marB="28340" anchor="ctr"/>
                </a:tc>
                <a:tc>
                  <a:txBody>
                    <a:bodyPr/>
                    <a:lstStyle/>
                    <a:p>
                      <a:pPr lvl="0" algn="ctr">
                        <a:buNone/>
                      </a:pPr>
                      <a:endParaRPr lang="en-US" sz="1050">
                        <a:latin typeface="Open Sans"/>
                        <a:ea typeface="Open Sans"/>
                        <a:cs typeface="Open Sans"/>
                      </a:endParaRPr>
                    </a:p>
                  </a:txBody>
                  <a:tcPr marL="68580" marR="68580" marT="28340" marB="28340" anchor="ctr"/>
                </a:tc>
                <a:tc>
                  <a:txBody>
                    <a:bodyPr/>
                    <a:lstStyle/>
                    <a:p>
                      <a:pPr lvl="0" algn="ctr">
                        <a:buNone/>
                      </a:pPr>
                      <a:endParaRPr lang="en-US" sz="1050">
                        <a:latin typeface="Open Sans"/>
                        <a:ea typeface="Open Sans"/>
                        <a:cs typeface="Open Sans"/>
                      </a:endParaRPr>
                    </a:p>
                  </a:txBody>
                  <a:tcPr marL="68580" marR="68580" marT="28340" marB="28340" anchor="ctr"/>
                </a:tc>
                <a:extLst>
                  <a:ext uri="{0D108BD9-81ED-4DB2-BD59-A6C34878D82A}">
                    <a16:rowId xmlns:a16="http://schemas.microsoft.com/office/drawing/2014/main" val="3254183870"/>
                  </a:ext>
                </a:extLst>
              </a:tr>
            </a:tbl>
          </a:graphicData>
        </a:graphic>
      </p:graphicFrame>
    </p:spTree>
    <p:extLst>
      <p:ext uri="{BB962C8B-B14F-4D97-AF65-F5344CB8AC3E}">
        <p14:creationId xmlns:p14="http://schemas.microsoft.com/office/powerpoint/2010/main" val="5316751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23AF564-5FE2-4403-A216-62D7E561ED0E}"/>
              </a:ext>
            </a:extLst>
          </p:cNvPr>
          <p:cNvPicPr>
            <a:picLocks noChangeAspect="1"/>
          </p:cNvPicPr>
          <p:nvPr/>
        </p:nvPicPr>
        <p:blipFill>
          <a:blip r:embed="rId2"/>
          <a:stretch>
            <a:fillRect/>
          </a:stretch>
        </p:blipFill>
        <p:spPr>
          <a:xfrm>
            <a:off x="1524000" y="-10795"/>
            <a:ext cx="9144000" cy="6556239"/>
          </a:xfrm>
          <a:prstGeom prst="rect">
            <a:avLst/>
          </a:prstGeom>
        </p:spPr>
      </p:pic>
      <p:sp>
        <p:nvSpPr>
          <p:cNvPr id="5" name="Rectangle 4">
            <a:extLst>
              <a:ext uri="{FF2B5EF4-FFF2-40B4-BE49-F238E27FC236}">
                <a16:creationId xmlns:a16="http://schemas.microsoft.com/office/drawing/2014/main" id="{9B3AF5DB-FAC4-4E54-91B7-7524EC0DAC2C}"/>
              </a:ext>
            </a:extLst>
          </p:cNvPr>
          <p:cNvSpPr/>
          <p:nvPr/>
        </p:nvSpPr>
        <p:spPr>
          <a:xfrm>
            <a:off x="5497007" y="2628862"/>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90</a:t>
            </a:r>
          </a:p>
        </p:txBody>
      </p:sp>
      <p:sp>
        <p:nvSpPr>
          <p:cNvPr id="6" name="Rectangle 5">
            <a:extLst>
              <a:ext uri="{FF2B5EF4-FFF2-40B4-BE49-F238E27FC236}">
                <a16:creationId xmlns:a16="http://schemas.microsoft.com/office/drawing/2014/main" id="{419F75BC-FC79-4C62-96EA-21605096D122}"/>
              </a:ext>
            </a:extLst>
          </p:cNvPr>
          <p:cNvSpPr/>
          <p:nvPr/>
        </p:nvSpPr>
        <p:spPr>
          <a:xfrm>
            <a:off x="5497007" y="5246167"/>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91</a:t>
            </a:r>
          </a:p>
        </p:txBody>
      </p:sp>
      <p:sp>
        <p:nvSpPr>
          <p:cNvPr id="7" name="Rectangle 6">
            <a:extLst>
              <a:ext uri="{FF2B5EF4-FFF2-40B4-BE49-F238E27FC236}">
                <a16:creationId xmlns:a16="http://schemas.microsoft.com/office/drawing/2014/main" id="{73910DC9-EB97-425F-95CE-BE5D2C1204FA}"/>
              </a:ext>
            </a:extLst>
          </p:cNvPr>
          <p:cNvSpPr/>
          <p:nvPr/>
        </p:nvSpPr>
        <p:spPr>
          <a:xfrm>
            <a:off x="3067840" y="3499660"/>
            <a:ext cx="6055267" cy="28359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
        <p:nvSpPr>
          <p:cNvPr id="8" name="Rectangle 7">
            <a:extLst>
              <a:ext uri="{FF2B5EF4-FFF2-40B4-BE49-F238E27FC236}">
                <a16:creationId xmlns:a16="http://schemas.microsoft.com/office/drawing/2014/main" id="{1BF581C5-99EE-4CD6-802D-BC3D044D3414}"/>
              </a:ext>
            </a:extLst>
          </p:cNvPr>
          <p:cNvSpPr/>
          <p:nvPr/>
        </p:nvSpPr>
        <p:spPr>
          <a:xfrm>
            <a:off x="3129293" y="3203901"/>
            <a:ext cx="5968861" cy="2936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a:t>Final UAT</a:t>
            </a:r>
          </a:p>
        </p:txBody>
      </p:sp>
      <p:sp>
        <p:nvSpPr>
          <p:cNvPr id="9" name="Rectangle 8">
            <a:extLst>
              <a:ext uri="{FF2B5EF4-FFF2-40B4-BE49-F238E27FC236}">
                <a16:creationId xmlns:a16="http://schemas.microsoft.com/office/drawing/2014/main" id="{8F5F516C-15FC-4717-BC43-68F154E34916}"/>
              </a:ext>
            </a:extLst>
          </p:cNvPr>
          <p:cNvSpPr/>
          <p:nvPr/>
        </p:nvSpPr>
        <p:spPr>
          <a:xfrm>
            <a:off x="3085901" y="4245582"/>
            <a:ext cx="6061412" cy="36347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pic>
        <p:nvPicPr>
          <p:cNvPr id="13" name="Picture 12" descr="A picture containing drawing&#10;&#10;Description automatically generated">
            <a:extLst>
              <a:ext uri="{FF2B5EF4-FFF2-40B4-BE49-F238E27FC236}">
                <a16:creationId xmlns:a16="http://schemas.microsoft.com/office/drawing/2014/main" id="{A54EA930-E23F-4249-BFD7-3EFA9F43C1B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213938" y="4691500"/>
            <a:ext cx="323259" cy="447546"/>
          </a:xfrm>
          <a:prstGeom prst="rect">
            <a:avLst/>
          </a:prstGeom>
        </p:spPr>
      </p:pic>
      <p:sp>
        <p:nvSpPr>
          <p:cNvPr id="14" name="TextBox 13">
            <a:extLst>
              <a:ext uri="{FF2B5EF4-FFF2-40B4-BE49-F238E27FC236}">
                <a16:creationId xmlns:a16="http://schemas.microsoft.com/office/drawing/2014/main" id="{686EB300-38D8-4709-9348-A12D9EF79B63}"/>
              </a:ext>
            </a:extLst>
          </p:cNvPr>
          <p:cNvSpPr txBox="1"/>
          <p:nvPr/>
        </p:nvSpPr>
        <p:spPr>
          <a:xfrm>
            <a:off x="7867434" y="5132069"/>
            <a:ext cx="1197986" cy="246221"/>
          </a:xfrm>
          <a:prstGeom prst="rect">
            <a:avLst/>
          </a:prstGeom>
          <a:noFill/>
        </p:spPr>
        <p:txBody>
          <a:bodyPr wrap="square" rtlCol="0">
            <a:spAutoFit/>
          </a:bodyPr>
          <a:lstStyle/>
          <a:p>
            <a:pPr algn="ctr"/>
            <a:r>
              <a:rPr lang="en-US" sz="1000"/>
              <a:t>AO Gold Code</a:t>
            </a:r>
          </a:p>
        </p:txBody>
      </p:sp>
      <p:sp>
        <p:nvSpPr>
          <p:cNvPr id="16" name="Rectangle 15">
            <a:extLst>
              <a:ext uri="{FF2B5EF4-FFF2-40B4-BE49-F238E27FC236}">
                <a16:creationId xmlns:a16="http://schemas.microsoft.com/office/drawing/2014/main" id="{D98A1277-D1F7-492E-B18D-7136C9D7C64F}"/>
              </a:ext>
            </a:extLst>
          </p:cNvPr>
          <p:cNvSpPr/>
          <p:nvPr/>
        </p:nvSpPr>
        <p:spPr>
          <a:xfrm>
            <a:off x="7867434" y="3545228"/>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sp>
        <p:nvSpPr>
          <p:cNvPr id="17" name="Rectangle 16">
            <a:extLst>
              <a:ext uri="{FF2B5EF4-FFF2-40B4-BE49-F238E27FC236}">
                <a16:creationId xmlns:a16="http://schemas.microsoft.com/office/drawing/2014/main" id="{3B131568-8EF8-46BE-8056-2344B9EFEBE5}"/>
              </a:ext>
            </a:extLst>
          </p:cNvPr>
          <p:cNvSpPr/>
          <p:nvPr/>
        </p:nvSpPr>
        <p:spPr>
          <a:xfrm>
            <a:off x="3131046" y="2344368"/>
            <a:ext cx="6061412" cy="252866"/>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
        <p:nvSpPr>
          <p:cNvPr id="18" name="Rectangle 17">
            <a:extLst>
              <a:ext uri="{FF2B5EF4-FFF2-40B4-BE49-F238E27FC236}">
                <a16:creationId xmlns:a16="http://schemas.microsoft.com/office/drawing/2014/main" id="{BAD09A7B-5ACD-4A09-AD04-57EB185B0BDF}"/>
              </a:ext>
            </a:extLst>
          </p:cNvPr>
          <p:cNvSpPr/>
          <p:nvPr/>
        </p:nvSpPr>
        <p:spPr>
          <a:xfrm>
            <a:off x="3104044" y="4916866"/>
            <a:ext cx="4782341" cy="29997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750"/>
              <a:t>AD Hoc Testing/Buffer</a:t>
            </a:r>
          </a:p>
        </p:txBody>
      </p:sp>
      <p:pic>
        <p:nvPicPr>
          <p:cNvPr id="2" name="Picture 1" descr="A close up of a sign&#10;&#10;Description automatically generated">
            <a:extLst>
              <a:ext uri="{FF2B5EF4-FFF2-40B4-BE49-F238E27FC236}">
                <a16:creationId xmlns:a16="http://schemas.microsoft.com/office/drawing/2014/main" id="{0150434B-DCBA-4EF4-A6B3-B4260357F4CB}"/>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304676" y="3931326"/>
            <a:ext cx="317932" cy="317932"/>
          </a:xfrm>
          <a:prstGeom prst="rect">
            <a:avLst/>
          </a:prstGeom>
        </p:spPr>
      </p:pic>
      <p:sp>
        <p:nvSpPr>
          <p:cNvPr id="15" name="TextBox 14">
            <a:extLst>
              <a:ext uri="{FF2B5EF4-FFF2-40B4-BE49-F238E27FC236}">
                <a16:creationId xmlns:a16="http://schemas.microsoft.com/office/drawing/2014/main" id="{2871E583-1CC6-40B5-9379-51CCE19870BD}"/>
              </a:ext>
            </a:extLst>
          </p:cNvPr>
          <p:cNvSpPr txBox="1"/>
          <p:nvPr/>
        </p:nvSpPr>
        <p:spPr>
          <a:xfrm>
            <a:off x="7707126" y="5320209"/>
            <a:ext cx="1513031" cy="246221"/>
          </a:xfrm>
          <a:prstGeom prst="rect">
            <a:avLst/>
          </a:prstGeom>
          <a:noFill/>
        </p:spPr>
        <p:txBody>
          <a:bodyPr wrap="square" rtlCol="0">
            <a:spAutoFit/>
          </a:bodyPr>
          <a:lstStyle/>
          <a:p>
            <a:pPr algn="ctr"/>
            <a:r>
              <a:rPr lang="en-US" sz="1000"/>
              <a:t>AQMM Gold Code</a:t>
            </a:r>
          </a:p>
        </p:txBody>
      </p:sp>
    </p:spTree>
    <p:extLst>
      <p:ext uri="{BB962C8B-B14F-4D97-AF65-F5344CB8AC3E}">
        <p14:creationId xmlns:p14="http://schemas.microsoft.com/office/powerpoint/2010/main" val="24556833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B91E1C-6673-4373-9091-E8044616B6C7}"/>
              </a:ext>
            </a:extLst>
          </p:cNvPr>
          <p:cNvPicPr>
            <a:picLocks noChangeAspect="1"/>
          </p:cNvPicPr>
          <p:nvPr/>
        </p:nvPicPr>
        <p:blipFill>
          <a:blip r:embed="rId2"/>
          <a:stretch>
            <a:fillRect/>
          </a:stretch>
        </p:blipFill>
        <p:spPr>
          <a:xfrm>
            <a:off x="1524000" y="158838"/>
            <a:ext cx="9144000" cy="6432748"/>
          </a:xfrm>
          <a:prstGeom prst="rect">
            <a:avLst/>
          </a:prstGeom>
        </p:spPr>
      </p:pic>
      <p:sp>
        <p:nvSpPr>
          <p:cNvPr id="5" name="Rectangle 4">
            <a:extLst>
              <a:ext uri="{FF2B5EF4-FFF2-40B4-BE49-F238E27FC236}">
                <a16:creationId xmlns:a16="http://schemas.microsoft.com/office/drawing/2014/main" id="{E91485E5-ED2E-4F1D-8B02-EA327FED3845}"/>
              </a:ext>
            </a:extLst>
          </p:cNvPr>
          <p:cNvSpPr/>
          <p:nvPr/>
        </p:nvSpPr>
        <p:spPr>
          <a:xfrm>
            <a:off x="5500520" y="4059725"/>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92</a:t>
            </a:r>
          </a:p>
        </p:txBody>
      </p:sp>
      <p:sp>
        <p:nvSpPr>
          <p:cNvPr id="7" name="Rectangle 6">
            <a:extLst>
              <a:ext uri="{FF2B5EF4-FFF2-40B4-BE49-F238E27FC236}">
                <a16:creationId xmlns:a16="http://schemas.microsoft.com/office/drawing/2014/main" id="{C5ABE13C-76B6-44E9-B98E-5C226EFE17BE}"/>
              </a:ext>
            </a:extLst>
          </p:cNvPr>
          <p:cNvSpPr/>
          <p:nvPr/>
        </p:nvSpPr>
        <p:spPr>
          <a:xfrm>
            <a:off x="3154019" y="1708878"/>
            <a:ext cx="5890989" cy="266401"/>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ch Deployment</a:t>
            </a:r>
          </a:p>
        </p:txBody>
      </p:sp>
      <p:sp>
        <p:nvSpPr>
          <p:cNvPr id="9" name="Rectangle 8">
            <a:extLst>
              <a:ext uri="{FF2B5EF4-FFF2-40B4-BE49-F238E27FC236}">
                <a16:creationId xmlns:a16="http://schemas.microsoft.com/office/drawing/2014/main" id="{3D90FEAA-F2BB-4D32-B4D2-C70E8B0CDFF2}"/>
              </a:ext>
            </a:extLst>
          </p:cNvPr>
          <p:cNvSpPr/>
          <p:nvPr/>
        </p:nvSpPr>
        <p:spPr>
          <a:xfrm>
            <a:off x="4313886" y="3045895"/>
            <a:ext cx="3557206" cy="19715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I Planning - 7</a:t>
            </a:r>
          </a:p>
        </p:txBody>
      </p:sp>
      <p:sp>
        <p:nvSpPr>
          <p:cNvPr id="11" name="Rectangle 10">
            <a:extLst>
              <a:ext uri="{FF2B5EF4-FFF2-40B4-BE49-F238E27FC236}">
                <a16:creationId xmlns:a16="http://schemas.microsoft.com/office/drawing/2014/main" id="{65F9FFFC-5FDF-413B-80B7-CEF96A23F6EA}"/>
              </a:ext>
            </a:extLst>
          </p:cNvPr>
          <p:cNvSpPr/>
          <p:nvPr/>
        </p:nvSpPr>
        <p:spPr>
          <a:xfrm>
            <a:off x="6762428" y="5102057"/>
            <a:ext cx="2282580" cy="197153"/>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 Holiday</a:t>
            </a:r>
          </a:p>
        </p:txBody>
      </p:sp>
      <p:pic>
        <p:nvPicPr>
          <p:cNvPr id="12" name="Picture 11" descr="A picture containing drawing, knife&#10;&#10;Description automatically generated">
            <a:extLst>
              <a:ext uri="{FF2B5EF4-FFF2-40B4-BE49-F238E27FC236}">
                <a16:creationId xmlns:a16="http://schemas.microsoft.com/office/drawing/2014/main" id="{948FDD78-1BF9-4780-9083-6B7D6CB08770}"/>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343412" y="2349474"/>
            <a:ext cx="414985" cy="414985"/>
          </a:xfrm>
          <a:prstGeom prst="rect">
            <a:avLst/>
          </a:prstGeom>
        </p:spPr>
      </p:pic>
      <p:sp>
        <p:nvSpPr>
          <p:cNvPr id="13" name="TextBox 12">
            <a:extLst>
              <a:ext uri="{FF2B5EF4-FFF2-40B4-BE49-F238E27FC236}">
                <a16:creationId xmlns:a16="http://schemas.microsoft.com/office/drawing/2014/main" id="{5811C935-3B96-49D4-BC35-D4EA08C0DC11}"/>
              </a:ext>
            </a:extLst>
          </p:cNvPr>
          <p:cNvSpPr txBox="1"/>
          <p:nvPr/>
        </p:nvSpPr>
        <p:spPr>
          <a:xfrm>
            <a:off x="8951950" y="2824508"/>
            <a:ext cx="1284018" cy="246221"/>
          </a:xfrm>
          <a:prstGeom prst="rect">
            <a:avLst/>
          </a:prstGeom>
          <a:noFill/>
        </p:spPr>
        <p:txBody>
          <a:bodyPr wrap="square" lIns="91440" tIns="45720" rIns="91440" bIns="45720" rtlCol="0" anchor="t">
            <a:spAutoFit/>
          </a:bodyPr>
          <a:lstStyle/>
          <a:p>
            <a:pPr algn="ctr"/>
            <a:r>
              <a:rPr lang="en-US" sz="1000"/>
              <a:t>AO /DAD Deploy</a:t>
            </a:r>
            <a:endParaRPr lang="en-US" sz="1000">
              <a:cs typeface="Calibri"/>
            </a:endParaRPr>
          </a:p>
        </p:txBody>
      </p:sp>
      <p:pic>
        <p:nvPicPr>
          <p:cNvPr id="14" name="Picture 13" descr="A picture containing food&#10;&#10;Description automatically generated">
            <a:extLst>
              <a:ext uri="{FF2B5EF4-FFF2-40B4-BE49-F238E27FC236}">
                <a16:creationId xmlns:a16="http://schemas.microsoft.com/office/drawing/2014/main" id="{8DAEC078-9760-4764-8B8F-BE1C37D78F24}"/>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5874590" y="3314909"/>
            <a:ext cx="322079" cy="322079"/>
          </a:xfrm>
          <a:prstGeom prst="rect">
            <a:avLst/>
          </a:prstGeom>
        </p:spPr>
      </p:pic>
      <p:sp>
        <p:nvSpPr>
          <p:cNvPr id="15" name="TextBox 14">
            <a:extLst>
              <a:ext uri="{FF2B5EF4-FFF2-40B4-BE49-F238E27FC236}">
                <a16:creationId xmlns:a16="http://schemas.microsoft.com/office/drawing/2014/main" id="{328BC9D7-065F-4F82-8616-DC947845514A}"/>
              </a:ext>
            </a:extLst>
          </p:cNvPr>
          <p:cNvSpPr txBox="1"/>
          <p:nvPr/>
        </p:nvSpPr>
        <p:spPr>
          <a:xfrm>
            <a:off x="5436635" y="3636988"/>
            <a:ext cx="1197986" cy="246221"/>
          </a:xfrm>
          <a:prstGeom prst="rect">
            <a:avLst/>
          </a:prstGeom>
          <a:noFill/>
        </p:spPr>
        <p:txBody>
          <a:bodyPr wrap="square" rtlCol="0">
            <a:spAutoFit/>
          </a:bodyPr>
          <a:lstStyle/>
          <a:p>
            <a:pPr algn="ctr"/>
            <a:r>
              <a:rPr lang="en-US" sz="1000"/>
              <a:t>AO Start</a:t>
            </a:r>
          </a:p>
        </p:txBody>
      </p:sp>
      <p:sp>
        <p:nvSpPr>
          <p:cNvPr id="16" name="Rectangle 15">
            <a:extLst>
              <a:ext uri="{FF2B5EF4-FFF2-40B4-BE49-F238E27FC236}">
                <a16:creationId xmlns:a16="http://schemas.microsoft.com/office/drawing/2014/main" id="{30C46579-FAF6-4F27-94EF-A729809726A7}"/>
              </a:ext>
            </a:extLst>
          </p:cNvPr>
          <p:cNvSpPr/>
          <p:nvPr/>
        </p:nvSpPr>
        <p:spPr>
          <a:xfrm>
            <a:off x="7839997" y="1986947"/>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pic>
        <p:nvPicPr>
          <p:cNvPr id="18" name="Picture 17" descr="A picture containing drawing, knife&#10;&#10;Description automatically generated">
            <a:extLst>
              <a:ext uri="{FF2B5EF4-FFF2-40B4-BE49-F238E27FC236}">
                <a16:creationId xmlns:a16="http://schemas.microsoft.com/office/drawing/2014/main" id="{A200E558-C9AA-4468-BAC7-95E6FC9AE743}"/>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4697669" y="3431022"/>
            <a:ext cx="414985" cy="414985"/>
          </a:xfrm>
          <a:prstGeom prst="rect">
            <a:avLst/>
          </a:prstGeom>
        </p:spPr>
      </p:pic>
      <p:sp>
        <p:nvSpPr>
          <p:cNvPr id="20" name="TextBox 19">
            <a:extLst>
              <a:ext uri="{FF2B5EF4-FFF2-40B4-BE49-F238E27FC236}">
                <a16:creationId xmlns:a16="http://schemas.microsoft.com/office/drawing/2014/main" id="{6309001F-716C-4339-8D59-7BE236A6F2B4}"/>
              </a:ext>
            </a:extLst>
          </p:cNvPr>
          <p:cNvSpPr txBox="1"/>
          <p:nvPr/>
        </p:nvSpPr>
        <p:spPr>
          <a:xfrm>
            <a:off x="4312352" y="3912201"/>
            <a:ext cx="1284018" cy="246221"/>
          </a:xfrm>
          <a:prstGeom prst="rect">
            <a:avLst/>
          </a:prstGeom>
          <a:noFill/>
        </p:spPr>
        <p:txBody>
          <a:bodyPr wrap="square" lIns="91440" tIns="45720" rIns="91440" bIns="45720" rtlCol="0" anchor="t">
            <a:spAutoFit/>
          </a:bodyPr>
          <a:lstStyle/>
          <a:p>
            <a:pPr algn="ctr"/>
            <a:r>
              <a:rPr lang="en-US" sz="1000"/>
              <a:t>AQMM Deploy</a:t>
            </a:r>
            <a:endParaRPr lang="en-US" sz="1000">
              <a:cs typeface="Calibri"/>
            </a:endParaRPr>
          </a:p>
        </p:txBody>
      </p:sp>
    </p:spTree>
    <p:extLst>
      <p:ext uri="{BB962C8B-B14F-4D97-AF65-F5344CB8AC3E}">
        <p14:creationId xmlns:p14="http://schemas.microsoft.com/office/powerpoint/2010/main" val="257019884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578422-9FA3-49FE-BEB1-8DF5660FC00F}"/>
              </a:ext>
            </a:extLst>
          </p:cNvPr>
          <p:cNvPicPr>
            <a:picLocks noChangeAspect="1"/>
          </p:cNvPicPr>
          <p:nvPr/>
        </p:nvPicPr>
        <p:blipFill>
          <a:blip r:embed="rId2"/>
          <a:stretch>
            <a:fillRect/>
          </a:stretch>
        </p:blipFill>
        <p:spPr>
          <a:xfrm>
            <a:off x="1524000" y="268432"/>
            <a:ext cx="9144000" cy="6321136"/>
          </a:xfrm>
          <a:prstGeom prst="rect">
            <a:avLst/>
          </a:prstGeom>
        </p:spPr>
      </p:pic>
      <p:sp>
        <p:nvSpPr>
          <p:cNvPr id="5" name="Rectangle 4">
            <a:extLst>
              <a:ext uri="{FF2B5EF4-FFF2-40B4-BE49-F238E27FC236}">
                <a16:creationId xmlns:a16="http://schemas.microsoft.com/office/drawing/2014/main" id="{0FB313A1-5FFD-4AF8-BECF-3EB6FDBFF8CE}"/>
              </a:ext>
            </a:extLst>
          </p:cNvPr>
          <p:cNvSpPr/>
          <p:nvPr/>
        </p:nvSpPr>
        <p:spPr>
          <a:xfrm>
            <a:off x="5497007" y="2957686"/>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93</a:t>
            </a:r>
          </a:p>
        </p:txBody>
      </p:sp>
      <p:sp>
        <p:nvSpPr>
          <p:cNvPr id="6" name="Rectangle 5">
            <a:extLst>
              <a:ext uri="{FF2B5EF4-FFF2-40B4-BE49-F238E27FC236}">
                <a16:creationId xmlns:a16="http://schemas.microsoft.com/office/drawing/2014/main" id="{AA64BD07-A6ED-445C-82B5-7F47C7D3525D}"/>
              </a:ext>
            </a:extLst>
          </p:cNvPr>
          <p:cNvSpPr/>
          <p:nvPr/>
        </p:nvSpPr>
        <p:spPr>
          <a:xfrm>
            <a:off x="5497007" y="6069825"/>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94</a:t>
            </a:r>
          </a:p>
        </p:txBody>
      </p:sp>
      <p:sp>
        <p:nvSpPr>
          <p:cNvPr id="7" name="Rectangle 6">
            <a:extLst>
              <a:ext uri="{FF2B5EF4-FFF2-40B4-BE49-F238E27FC236}">
                <a16:creationId xmlns:a16="http://schemas.microsoft.com/office/drawing/2014/main" id="{1A426ABB-4E5A-4C22-823F-B464769EE618}"/>
              </a:ext>
            </a:extLst>
          </p:cNvPr>
          <p:cNvSpPr/>
          <p:nvPr/>
        </p:nvSpPr>
        <p:spPr>
          <a:xfrm>
            <a:off x="3142270" y="5872672"/>
            <a:ext cx="5907460" cy="197153"/>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USI - Holiday</a:t>
            </a:r>
          </a:p>
        </p:txBody>
      </p:sp>
    </p:spTree>
    <p:extLst>
      <p:ext uri="{BB962C8B-B14F-4D97-AF65-F5344CB8AC3E}">
        <p14:creationId xmlns:p14="http://schemas.microsoft.com/office/powerpoint/2010/main" val="15950387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77DE162-A19F-4E89-B0A7-00C9D2142992}"/>
              </a:ext>
            </a:extLst>
          </p:cNvPr>
          <p:cNvPicPr>
            <a:picLocks noChangeAspect="1"/>
          </p:cNvPicPr>
          <p:nvPr/>
        </p:nvPicPr>
        <p:blipFill>
          <a:blip r:embed="rId2"/>
          <a:stretch>
            <a:fillRect/>
          </a:stretch>
        </p:blipFill>
        <p:spPr>
          <a:xfrm>
            <a:off x="1392327" y="0"/>
            <a:ext cx="9300666" cy="6858000"/>
          </a:xfrm>
          <a:prstGeom prst="rect">
            <a:avLst/>
          </a:prstGeom>
        </p:spPr>
      </p:pic>
      <p:sp>
        <p:nvSpPr>
          <p:cNvPr id="5" name="Rectangle 4">
            <a:extLst>
              <a:ext uri="{FF2B5EF4-FFF2-40B4-BE49-F238E27FC236}">
                <a16:creationId xmlns:a16="http://schemas.microsoft.com/office/drawing/2014/main" id="{E6733DFD-A999-42CC-8049-0B67F8F133B2}"/>
              </a:ext>
            </a:extLst>
          </p:cNvPr>
          <p:cNvSpPr/>
          <p:nvPr/>
        </p:nvSpPr>
        <p:spPr>
          <a:xfrm>
            <a:off x="2996903" y="4411274"/>
            <a:ext cx="1228256" cy="236401"/>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 Holiday</a:t>
            </a:r>
          </a:p>
        </p:txBody>
      </p:sp>
      <p:sp>
        <p:nvSpPr>
          <p:cNvPr id="7" name="Rectangle 6">
            <a:extLst>
              <a:ext uri="{FF2B5EF4-FFF2-40B4-BE49-F238E27FC236}">
                <a16:creationId xmlns:a16="http://schemas.microsoft.com/office/drawing/2014/main" id="{46447A33-68BE-4203-9AE8-84C4F24FDA22}"/>
              </a:ext>
            </a:extLst>
          </p:cNvPr>
          <p:cNvSpPr/>
          <p:nvPr/>
        </p:nvSpPr>
        <p:spPr>
          <a:xfrm>
            <a:off x="7877368" y="3538274"/>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sp>
        <p:nvSpPr>
          <p:cNvPr id="8" name="Rectangle 7">
            <a:extLst>
              <a:ext uri="{FF2B5EF4-FFF2-40B4-BE49-F238E27FC236}">
                <a16:creationId xmlns:a16="http://schemas.microsoft.com/office/drawing/2014/main" id="{649A2AB9-C912-474F-9199-8605C2FF444F}"/>
              </a:ext>
            </a:extLst>
          </p:cNvPr>
          <p:cNvSpPr/>
          <p:nvPr/>
        </p:nvSpPr>
        <p:spPr>
          <a:xfrm>
            <a:off x="5443667" y="5379686"/>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sp>
        <p:nvSpPr>
          <p:cNvPr id="10" name="Rectangle 9">
            <a:extLst>
              <a:ext uri="{FF2B5EF4-FFF2-40B4-BE49-F238E27FC236}">
                <a16:creationId xmlns:a16="http://schemas.microsoft.com/office/drawing/2014/main" id="{277929B4-61CE-4F30-9696-33139FCE1ED9}"/>
              </a:ext>
            </a:extLst>
          </p:cNvPr>
          <p:cNvSpPr/>
          <p:nvPr/>
        </p:nvSpPr>
        <p:spPr>
          <a:xfrm>
            <a:off x="5443667" y="4450522"/>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95</a:t>
            </a:r>
          </a:p>
        </p:txBody>
      </p:sp>
      <p:pic>
        <p:nvPicPr>
          <p:cNvPr id="2" name="Picture 1" descr="A close up of a sign&#10;&#10;Description automatically generated">
            <a:extLst>
              <a:ext uri="{FF2B5EF4-FFF2-40B4-BE49-F238E27FC236}">
                <a16:creationId xmlns:a16="http://schemas.microsoft.com/office/drawing/2014/main" id="{1F8DBC50-675D-46AD-8800-7DA5A7B99D57}"/>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313713" y="4825503"/>
            <a:ext cx="319073" cy="319073"/>
          </a:xfrm>
          <a:prstGeom prst="rect">
            <a:avLst/>
          </a:prstGeom>
        </p:spPr>
      </p:pic>
      <p:sp>
        <p:nvSpPr>
          <p:cNvPr id="3" name="TextBox 2">
            <a:extLst>
              <a:ext uri="{FF2B5EF4-FFF2-40B4-BE49-F238E27FC236}">
                <a16:creationId xmlns:a16="http://schemas.microsoft.com/office/drawing/2014/main" id="{E4CBE062-88D4-42B9-8763-2F8A6C555366}"/>
              </a:ext>
            </a:extLst>
          </p:cNvPr>
          <p:cNvSpPr txBox="1"/>
          <p:nvPr/>
        </p:nvSpPr>
        <p:spPr>
          <a:xfrm>
            <a:off x="7837972" y="5171930"/>
            <a:ext cx="1197986" cy="246221"/>
          </a:xfrm>
          <a:prstGeom prst="rect">
            <a:avLst/>
          </a:prstGeom>
          <a:noFill/>
        </p:spPr>
        <p:txBody>
          <a:bodyPr wrap="square" rtlCol="0">
            <a:spAutoFit/>
          </a:bodyPr>
          <a:lstStyle/>
          <a:p>
            <a:pPr algn="ctr"/>
            <a:r>
              <a:rPr lang="en-US" sz="1000"/>
              <a:t>AO Code Freeze</a:t>
            </a:r>
          </a:p>
        </p:txBody>
      </p:sp>
    </p:spTree>
    <p:extLst>
      <p:ext uri="{BB962C8B-B14F-4D97-AF65-F5344CB8AC3E}">
        <p14:creationId xmlns:p14="http://schemas.microsoft.com/office/powerpoint/2010/main" val="5638292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6896D51-400D-41E4-8E8F-D2D59EBE2FA3}"/>
              </a:ext>
            </a:extLst>
          </p:cNvPr>
          <p:cNvPicPr>
            <a:picLocks noChangeAspect="1"/>
          </p:cNvPicPr>
          <p:nvPr/>
        </p:nvPicPr>
        <p:blipFill>
          <a:blip r:embed="rId2"/>
          <a:stretch>
            <a:fillRect/>
          </a:stretch>
        </p:blipFill>
        <p:spPr>
          <a:xfrm>
            <a:off x="1265338" y="-126124"/>
            <a:ext cx="9245112" cy="6858000"/>
          </a:xfrm>
          <a:prstGeom prst="rect">
            <a:avLst/>
          </a:prstGeom>
        </p:spPr>
      </p:pic>
      <p:sp>
        <p:nvSpPr>
          <p:cNvPr id="3" name="Rectangle 2">
            <a:extLst>
              <a:ext uri="{FF2B5EF4-FFF2-40B4-BE49-F238E27FC236}">
                <a16:creationId xmlns:a16="http://schemas.microsoft.com/office/drawing/2014/main" id="{ED23B6E1-2D39-4185-9B8C-F12EC41A2F94}"/>
              </a:ext>
            </a:extLst>
          </p:cNvPr>
          <p:cNvSpPr/>
          <p:nvPr/>
        </p:nvSpPr>
        <p:spPr>
          <a:xfrm>
            <a:off x="5288901" y="3105723"/>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96</a:t>
            </a:r>
          </a:p>
        </p:txBody>
      </p:sp>
      <p:pic>
        <p:nvPicPr>
          <p:cNvPr id="4" name="Picture 3" descr="A close up of a sign&#10;&#10;Description automatically generated">
            <a:extLst>
              <a:ext uri="{FF2B5EF4-FFF2-40B4-BE49-F238E27FC236}">
                <a16:creationId xmlns:a16="http://schemas.microsoft.com/office/drawing/2014/main" id="{C3BF83E5-0194-4FD3-AEF1-0A3A4E0BF87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095999" y="4444503"/>
            <a:ext cx="319073" cy="319073"/>
          </a:xfrm>
          <a:prstGeom prst="rect">
            <a:avLst/>
          </a:prstGeom>
        </p:spPr>
      </p:pic>
      <p:sp>
        <p:nvSpPr>
          <p:cNvPr id="6" name="Rectangle 5">
            <a:extLst>
              <a:ext uri="{FF2B5EF4-FFF2-40B4-BE49-F238E27FC236}">
                <a16:creationId xmlns:a16="http://schemas.microsoft.com/office/drawing/2014/main" id="{378494CC-262B-4F97-8FBD-B9FDE0F40B8B}"/>
              </a:ext>
            </a:extLst>
          </p:cNvPr>
          <p:cNvSpPr/>
          <p:nvPr/>
        </p:nvSpPr>
        <p:spPr>
          <a:xfrm>
            <a:off x="2930838" y="4090350"/>
            <a:ext cx="5914111" cy="24622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
        <p:nvSpPr>
          <p:cNvPr id="7" name="Rectangle 6">
            <a:extLst>
              <a:ext uri="{FF2B5EF4-FFF2-40B4-BE49-F238E27FC236}">
                <a16:creationId xmlns:a16="http://schemas.microsoft.com/office/drawing/2014/main" id="{3263C4E3-E31A-4926-BCF1-33EEBF812556}"/>
              </a:ext>
            </a:extLst>
          </p:cNvPr>
          <p:cNvSpPr/>
          <p:nvPr/>
        </p:nvSpPr>
        <p:spPr>
          <a:xfrm>
            <a:off x="2906304" y="4876870"/>
            <a:ext cx="5963178" cy="247175"/>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a:t>Final UAT</a:t>
            </a:r>
          </a:p>
        </p:txBody>
      </p:sp>
      <p:sp>
        <p:nvSpPr>
          <p:cNvPr id="9" name="Rectangle 8">
            <a:extLst>
              <a:ext uri="{FF2B5EF4-FFF2-40B4-BE49-F238E27FC236}">
                <a16:creationId xmlns:a16="http://schemas.microsoft.com/office/drawing/2014/main" id="{7A4F9E8C-BAC5-4998-8E34-7CCBCFA78C10}"/>
              </a:ext>
            </a:extLst>
          </p:cNvPr>
          <p:cNvSpPr/>
          <p:nvPr/>
        </p:nvSpPr>
        <p:spPr>
          <a:xfrm>
            <a:off x="2955371" y="5124045"/>
            <a:ext cx="5914111" cy="24622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
        <p:nvSpPr>
          <p:cNvPr id="10" name="Rectangle 9">
            <a:extLst>
              <a:ext uri="{FF2B5EF4-FFF2-40B4-BE49-F238E27FC236}">
                <a16:creationId xmlns:a16="http://schemas.microsoft.com/office/drawing/2014/main" id="{A4B995A3-9B1D-44EF-B1D4-4E2B72F8EA12}"/>
              </a:ext>
            </a:extLst>
          </p:cNvPr>
          <p:cNvSpPr/>
          <p:nvPr/>
        </p:nvSpPr>
        <p:spPr>
          <a:xfrm>
            <a:off x="2855164" y="5927835"/>
            <a:ext cx="1212339" cy="49819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750"/>
              <a:t>Ad Hoc Testing/Buffer</a:t>
            </a:r>
            <a:endParaRPr lang="en-US"/>
          </a:p>
        </p:txBody>
      </p:sp>
      <p:sp>
        <p:nvSpPr>
          <p:cNvPr id="11" name="Rectangle 10">
            <a:extLst>
              <a:ext uri="{FF2B5EF4-FFF2-40B4-BE49-F238E27FC236}">
                <a16:creationId xmlns:a16="http://schemas.microsoft.com/office/drawing/2014/main" id="{BC39CB27-1C3A-46CA-85BE-0F2B78E331A8}"/>
              </a:ext>
            </a:extLst>
          </p:cNvPr>
          <p:cNvSpPr/>
          <p:nvPr/>
        </p:nvSpPr>
        <p:spPr>
          <a:xfrm>
            <a:off x="2906256" y="1932812"/>
            <a:ext cx="5914111" cy="24622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
        <p:nvSpPr>
          <p:cNvPr id="12" name="Rectangle 11">
            <a:extLst>
              <a:ext uri="{FF2B5EF4-FFF2-40B4-BE49-F238E27FC236}">
                <a16:creationId xmlns:a16="http://schemas.microsoft.com/office/drawing/2014/main" id="{84580580-017D-439C-B9A1-A4ABBCA68CC9}"/>
              </a:ext>
            </a:extLst>
          </p:cNvPr>
          <p:cNvSpPr/>
          <p:nvPr/>
        </p:nvSpPr>
        <p:spPr>
          <a:xfrm>
            <a:off x="2852120" y="2862194"/>
            <a:ext cx="5914111" cy="24622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Tree>
    <p:extLst>
      <p:ext uri="{BB962C8B-B14F-4D97-AF65-F5344CB8AC3E}">
        <p14:creationId xmlns:p14="http://schemas.microsoft.com/office/powerpoint/2010/main" val="142248114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C994A35-67D8-4D74-AAC7-02D7D4BA3A5F}"/>
              </a:ext>
            </a:extLst>
          </p:cNvPr>
          <p:cNvPicPr>
            <a:picLocks noChangeAspect="1"/>
          </p:cNvPicPr>
          <p:nvPr/>
        </p:nvPicPr>
        <p:blipFill>
          <a:blip r:embed="rId2"/>
          <a:stretch>
            <a:fillRect/>
          </a:stretch>
        </p:blipFill>
        <p:spPr>
          <a:xfrm>
            <a:off x="1462394" y="68176"/>
            <a:ext cx="9267211" cy="6858000"/>
          </a:xfrm>
          <a:prstGeom prst="rect">
            <a:avLst/>
          </a:prstGeom>
        </p:spPr>
      </p:pic>
      <p:sp>
        <p:nvSpPr>
          <p:cNvPr id="3" name="Rectangle 2">
            <a:extLst>
              <a:ext uri="{FF2B5EF4-FFF2-40B4-BE49-F238E27FC236}">
                <a16:creationId xmlns:a16="http://schemas.microsoft.com/office/drawing/2014/main" id="{B72D936A-55B3-48B5-B4CB-FE9F5E1891BD}"/>
              </a:ext>
            </a:extLst>
          </p:cNvPr>
          <p:cNvSpPr/>
          <p:nvPr/>
        </p:nvSpPr>
        <p:spPr>
          <a:xfrm>
            <a:off x="5497006" y="2141058"/>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97</a:t>
            </a:r>
          </a:p>
        </p:txBody>
      </p:sp>
      <p:sp>
        <p:nvSpPr>
          <p:cNvPr id="4" name="Rectangle 3">
            <a:extLst>
              <a:ext uri="{FF2B5EF4-FFF2-40B4-BE49-F238E27FC236}">
                <a16:creationId xmlns:a16="http://schemas.microsoft.com/office/drawing/2014/main" id="{371E8868-243B-4B78-93BB-D538F5D1D577}"/>
              </a:ext>
            </a:extLst>
          </p:cNvPr>
          <p:cNvSpPr/>
          <p:nvPr/>
        </p:nvSpPr>
        <p:spPr>
          <a:xfrm>
            <a:off x="5497006" y="5338305"/>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98 - 1</a:t>
            </a:r>
          </a:p>
        </p:txBody>
      </p:sp>
      <p:sp>
        <p:nvSpPr>
          <p:cNvPr id="5" name="Rectangle 4">
            <a:extLst>
              <a:ext uri="{FF2B5EF4-FFF2-40B4-BE49-F238E27FC236}">
                <a16:creationId xmlns:a16="http://schemas.microsoft.com/office/drawing/2014/main" id="{AC23F77A-89D6-4647-BE82-3578AB45CC1E}"/>
              </a:ext>
            </a:extLst>
          </p:cNvPr>
          <p:cNvSpPr/>
          <p:nvPr/>
        </p:nvSpPr>
        <p:spPr>
          <a:xfrm>
            <a:off x="3051433" y="1710990"/>
            <a:ext cx="4822288" cy="24622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750"/>
              <a:t>Ad Hoc testing/Buffer</a:t>
            </a:r>
            <a:endParaRPr lang="en-US" sz="750">
              <a:cs typeface="Calibri"/>
            </a:endParaRPr>
          </a:p>
        </p:txBody>
      </p:sp>
      <p:sp>
        <p:nvSpPr>
          <p:cNvPr id="6" name="Rectangle 5">
            <a:extLst>
              <a:ext uri="{FF2B5EF4-FFF2-40B4-BE49-F238E27FC236}">
                <a16:creationId xmlns:a16="http://schemas.microsoft.com/office/drawing/2014/main" id="{A2B1B46E-297C-469D-84A0-6F3EF27946CB}"/>
              </a:ext>
            </a:extLst>
          </p:cNvPr>
          <p:cNvSpPr/>
          <p:nvPr/>
        </p:nvSpPr>
        <p:spPr>
          <a:xfrm>
            <a:off x="3069575" y="3181101"/>
            <a:ext cx="5958466" cy="197153"/>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chnical Deployment</a:t>
            </a:r>
          </a:p>
        </p:txBody>
      </p:sp>
      <p:pic>
        <p:nvPicPr>
          <p:cNvPr id="7" name="Picture 6" descr="A picture containing drawing&#10;&#10;Description automatically generated">
            <a:extLst>
              <a:ext uri="{FF2B5EF4-FFF2-40B4-BE49-F238E27FC236}">
                <a16:creationId xmlns:a16="http://schemas.microsoft.com/office/drawing/2014/main" id="{873367C5-3A41-4993-BF00-507F2D6717E7}"/>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394054" y="1368060"/>
            <a:ext cx="321406" cy="444981"/>
          </a:xfrm>
          <a:prstGeom prst="rect">
            <a:avLst/>
          </a:prstGeom>
        </p:spPr>
      </p:pic>
      <p:sp>
        <p:nvSpPr>
          <p:cNvPr id="8" name="TextBox 7">
            <a:extLst>
              <a:ext uri="{FF2B5EF4-FFF2-40B4-BE49-F238E27FC236}">
                <a16:creationId xmlns:a16="http://schemas.microsoft.com/office/drawing/2014/main" id="{F742ADC4-3DEF-46AF-B03F-6960717EC41C}"/>
              </a:ext>
            </a:extLst>
          </p:cNvPr>
          <p:cNvSpPr txBox="1"/>
          <p:nvPr/>
        </p:nvSpPr>
        <p:spPr>
          <a:xfrm>
            <a:off x="8005989" y="1888434"/>
            <a:ext cx="1097537" cy="2526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a:t>Gold Code</a:t>
            </a:r>
          </a:p>
        </p:txBody>
      </p:sp>
      <p:sp>
        <p:nvSpPr>
          <p:cNvPr id="10" name="Rectangle 9">
            <a:extLst>
              <a:ext uri="{FF2B5EF4-FFF2-40B4-BE49-F238E27FC236}">
                <a16:creationId xmlns:a16="http://schemas.microsoft.com/office/drawing/2014/main" id="{BA56F2EA-247F-4ED9-B06E-B757B721E5E2}"/>
              </a:ext>
            </a:extLst>
          </p:cNvPr>
          <p:cNvSpPr/>
          <p:nvPr/>
        </p:nvSpPr>
        <p:spPr>
          <a:xfrm>
            <a:off x="4317396" y="4233048"/>
            <a:ext cx="3557206" cy="19715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I Planning - 8</a:t>
            </a:r>
          </a:p>
        </p:txBody>
      </p:sp>
      <p:pic>
        <p:nvPicPr>
          <p:cNvPr id="11" name="Picture 10" descr="A picture containing drawing, knife&#10;&#10;Description automatically generated">
            <a:extLst>
              <a:ext uri="{FF2B5EF4-FFF2-40B4-BE49-F238E27FC236}">
                <a16:creationId xmlns:a16="http://schemas.microsoft.com/office/drawing/2014/main" id="{68F4919F-8952-4DE3-9A5D-08A124CAEAC8}"/>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9458740" y="3624904"/>
            <a:ext cx="414985" cy="414985"/>
          </a:xfrm>
          <a:prstGeom prst="rect">
            <a:avLst/>
          </a:prstGeom>
        </p:spPr>
      </p:pic>
      <p:sp>
        <p:nvSpPr>
          <p:cNvPr id="13" name="TextBox 12">
            <a:extLst>
              <a:ext uri="{FF2B5EF4-FFF2-40B4-BE49-F238E27FC236}">
                <a16:creationId xmlns:a16="http://schemas.microsoft.com/office/drawing/2014/main" id="{3C615FE8-EE8C-4502-8ECF-8B43703E1FD0}"/>
              </a:ext>
            </a:extLst>
          </p:cNvPr>
          <p:cNvSpPr txBox="1"/>
          <p:nvPr/>
        </p:nvSpPr>
        <p:spPr>
          <a:xfrm>
            <a:off x="9067240" y="4159121"/>
            <a:ext cx="1197986" cy="246221"/>
          </a:xfrm>
          <a:prstGeom prst="rect">
            <a:avLst/>
          </a:prstGeom>
          <a:noFill/>
        </p:spPr>
        <p:txBody>
          <a:bodyPr wrap="square" lIns="91440" tIns="45720" rIns="91440" bIns="45720" rtlCol="0" anchor="t">
            <a:spAutoFit/>
          </a:bodyPr>
          <a:lstStyle/>
          <a:p>
            <a:pPr algn="ctr"/>
            <a:r>
              <a:rPr lang="en-US" sz="1000"/>
              <a:t>AO/ER/DAD Deploy</a:t>
            </a:r>
          </a:p>
        </p:txBody>
      </p:sp>
      <p:pic>
        <p:nvPicPr>
          <p:cNvPr id="14" name="Picture 13" descr="A picture containing food&#10;&#10;Description automatically generated">
            <a:extLst>
              <a:ext uri="{FF2B5EF4-FFF2-40B4-BE49-F238E27FC236}">
                <a16:creationId xmlns:a16="http://schemas.microsoft.com/office/drawing/2014/main" id="{6796853B-6BC0-4CCC-8A02-833024F13E39}"/>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5934959" y="4562173"/>
            <a:ext cx="322079" cy="322079"/>
          </a:xfrm>
          <a:prstGeom prst="rect">
            <a:avLst/>
          </a:prstGeom>
        </p:spPr>
      </p:pic>
      <p:sp>
        <p:nvSpPr>
          <p:cNvPr id="15" name="TextBox 14">
            <a:extLst>
              <a:ext uri="{FF2B5EF4-FFF2-40B4-BE49-F238E27FC236}">
                <a16:creationId xmlns:a16="http://schemas.microsoft.com/office/drawing/2014/main" id="{384E1544-4A42-41E9-9F6A-F26F6649D224}"/>
              </a:ext>
            </a:extLst>
          </p:cNvPr>
          <p:cNvSpPr txBox="1"/>
          <p:nvPr/>
        </p:nvSpPr>
        <p:spPr>
          <a:xfrm>
            <a:off x="5497006" y="4893113"/>
            <a:ext cx="1197986" cy="246221"/>
          </a:xfrm>
          <a:prstGeom prst="rect">
            <a:avLst/>
          </a:prstGeom>
          <a:noFill/>
        </p:spPr>
        <p:txBody>
          <a:bodyPr wrap="square" rtlCol="0">
            <a:spAutoFit/>
          </a:bodyPr>
          <a:lstStyle/>
          <a:p>
            <a:pPr algn="ctr"/>
            <a:r>
              <a:rPr lang="en-US" sz="1000"/>
              <a:t>AO Start</a:t>
            </a:r>
          </a:p>
        </p:txBody>
      </p:sp>
      <p:pic>
        <p:nvPicPr>
          <p:cNvPr id="16" name="Picture 15" descr="A picture containing drawing, knife&#10;&#10;Description automatically generated">
            <a:extLst>
              <a:ext uri="{FF2B5EF4-FFF2-40B4-BE49-F238E27FC236}">
                <a16:creationId xmlns:a16="http://schemas.microsoft.com/office/drawing/2014/main" id="{587EBB35-1C08-4CDC-AB69-72884050527C}"/>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297304" y="3594178"/>
            <a:ext cx="414985" cy="414985"/>
          </a:xfrm>
          <a:prstGeom prst="rect">
            <a:avLst/>
          </a:prstGeom>
        </p:spPr>
      </p:pic>
      <p:sp>
        <p:nvSpPr>
          <p:cNvPr id="21" name="TextBox 20">
            <a:extLst>
              <a:ext uri="{FF2B5EF4-FFF2-40B4-BE49-F238E27FC236}">
                <a16:creationId xmlns:a16="http://schemas.microsoft.com/office/drawing/2014/main" id="{1BD8AA41-D1B5-4DCA-A4AA-8198E1F957FC}"/>
              </a:ext>
            </a:extLst>
          </p:cNvPr>
          <p:cNvSpPr txBox="1"/>
          <p:nvPr/>
        </p:nvSpPr>
        <p:spPr>
          <a:xfrm>
            <a:off x="7905804" y="4085378"/>
            <a:ext cx="1197986" cy="400110"/>
          </a:xfrm>
          <a:prstGeom prst="rect">
            <a:avLst/>
          </a:prstGeom>
          <a:noFill/>
        </p:spPr>
        <p:txBody>
          <a:bodyPr wrap="square" lIns="91440" tIns="45720" rIns="91440" bIns="45720" rtlCol="0" anchor="t">
            <a:spAutoFit/>
          </a:bodyPr>
          <a:lstStyle/>
          <a:p>
            <a:pPr algn="ctr"/>
            <a:r>
              <a:rPr lang="en-US" sz="1000"/>
              <a:t>AQMM/ENS Deploy</a:t>
            </a:r>
          </a:p>
        </p:txBody>
      </p:sp>
    </p:spTree>
    <p:extLst>
      <p:ext uri="{BB962C8B-B14F-4D97-AF65-F5344CB8AC3E}">
        <p14:creationId xmlns:p14="http://schemas.microsoft.com/office/powerpoint/2010/main" val="399150202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69D6C07-6EEE-4632-A056-BDF7CC6CE972}"/>
              </a:ext>
            </a:extLst>
          </p:cNvPr>
          <p:cNvPicPr>
            <a:picLocks noChangeAspect="1"/>
          </p:cNvPicPr>
          <p:nvPr/>
        </p:nvPicPr>
        <p:blipFill>
          <a:blip r:embed="rId2"/>
          <a:stretch>
            <a:fillRect/>
          </a:stretch>
        </p:blipFill>
        <p:spPr>
          <a:xfrm>
            <a:off x="1421907" y="0"/>
            <a:ext cx="9348186" cy="6858000"/>
          </a:xfrm>
          <a:prstGeom prst="rect">
            <a:avLst/>
          </a:prstGeom>
        </p:spPr>
      </p:pic>
      <p:sp>
        <p:nvSpPr>
          <p:cNvPr id="3" name="Rectangle 2">
            <a:extLst>
              <a:ext uri="{FF2B5EF4-FFF2-40B4-BE49-F238E27FC236}">
                <a16:creationId xmlns:a16="http://schemas.microsoft.com/office/drawing/2014/main" id="{5EA8000B-DA64-4AFF-9A90-3C9E11D4DC04}"/>
              </a:ext>
            </a:extLst>
          </p:cNvPr>
          <p:cNvSpPr/>
          <p:nvPr/>
        </p:nvSpPr>
        <p:spPr>
          <a:xfrm>
            <a:off x="5497007" y="4219344"/>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sp>
        <p:nvSpPr>
          <p:cNvPr id="4" name="Rectangle 3">
            <a:extLst>
              <a:ext uri="{FF2B5EF4-FFF2-40B4-BE49-F238E27FC236}">
                <a16:creationId xmlns:a16="http://schemas.microsoft.com/office/drawing/2014/main" id="{15081345-F501-4655-8EA5-0CC8D31D67EE}"/>
              </a:ext>
            </a:extLst>
          </p:cNvPr>
          <p:cNvSpPr/>
          <p:nvPr/>
        </p:nvSpPr>
        <p:spPr>
          <a:xfrm>
            <a:off x="5497007" y="4022191"/>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99 - 2</a:t>
            </a:r>
          </a:p>
        </p:txBody>
      </p:sp>
    </p:spTree>
    <p:extLst>
      <p:ext uri="{BB962C8B-B14F-4D97-AF65-F5344CB8AC3E}">
        <p14:creationId xmlns:p14="http://schemas.microsoft.com/office/powerpoint/2010/main" val="1059558676"/>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7CB9CE-806D-4C7F-A1C4-BCD7D46712B2}"/>
              </a:ext>
            </a:extLst>
          </p:cNvPr>
          <p:cNvPicPr>
            <a:picLocks noChangeAspect="1"/>
          </p:cNvPicPr>
          <p:nvPr/>
        </p:nvPicPr>
        <p:blipFill>
          <a:blip r:embed="rId2"/>
          <a:stretch>
            <a:fillRect/>
          </a:stretch>
        </p:blipFill>
        <p:spPr>
          <a:xfrm>
            <a:off x="1454660" y="0"/>
            <a:ext cx="9327677" cy="6858000"/>
          </a:xfrm>
          <a:prstGeom prst="rect">
            <a:avLst/>
          </a:prstGeom>
        </p:spPr>
      </p:pic>
      <p:sp>
        <p:nvSpPr>
          <p:cNvPr id="3" name="Rectangle 2">
            <a:extLst>
              <a:ext uri="{FF2B5EF4-FFF2-40B4-BE49-F238E27FC236}">
                <a16:creationId xmlns:a16="http://schemas.microsoft.com/office/drawing/2014/main" id="{60A50BFA-66FA-42F2-84B3-6E665C3F6CC0}"/>
              </a:ext>
            </a:extLst>
          </p:cNvPr>
          <p:cNvSpPr/>
          <p:nvPr/>
        </p:nvSpPr>
        <p:spPr>
          <a:xfrm>
            <a:off x="4276524" y="2094152"/>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sp>
        <p:nvSpPr>
          <p:cNvPr id="4" name="Rectangle 3">
            <a:extLst>
              <a:ext uri="{FF2B5EF4-FFF2-40B4-BE49-F238E27FC236}">
                <a16:creationId xmlns:a16="http://schemas.microsoft.com/office/drawing/2014/main" id="{97A5843C-FF1D-43DD-B919-5C702ACA9372}"/>
              </a:ext>
            </a:extLst>
          </p:cNvPr>
          <p:cNvSpPr/>
          <p:nvPr/>
        </p:nvSpPr>
        <p:spPr>
          <a:xfrm>
            <a:off x="3048268" y="6315748"/>
            <a:ext cx="1228256" cy="236401"/>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 Holiday</a:t>
            </a:r>
          </a:p>
        </p:txBody>
      </p:sp>
      <p:sp>
        <p:nvSpPr>
          <p:cNvPr id="5" name="Rectangle 4">
            <a:extLst>
              <a:ext uri="{FF2B5EF4-FFF2-40B4-BE49-F238E27FC236}">
                <a16:creationId xmlns:a16="http://schemas.microsoft.com/office/drawing/2014/main" id="{0B13891A-7165-4038-BFDA-BE1F1C45CB96}"/>
              </a:ext>
            </a:extLst>
          </p:cNvPr>
          <p:cNvSpPr/>
          <p:nvPr/>
        </p:nvSpPr>
        <p:spPr>
          <a:xfrm>
            <a:off x="5519506" y="2094151"/>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100 - 3</a:t>
            </a:r>
          </a:p>
        </p:txBody>
      </p:sp>
      <p:sp>
        <p:nvSpPr>
          <p:cNvPr id="6" name="Rectangle 5">
            <a:extLst>
              <a:ext uri="{FF2B5EF4-FFF2-40B4-BE49-F238E27FC236}">
                <a16:creationId xmlns:a16="http://schemas.microsoft.com/office/drawing/2014/main" id="{34841E54-DA31-4985-8C4E-6C1369A85E2A}"/>
              </a:ext>
            </a:extLst>
          </p:cNvPr>
          <p:cNvSpPr/>
          <p:nvPr/>
        </p:nvSpPr>
        <p:spPr>
          <a:xfrm>
            <a:off x="5502162" y="5183841"/>
            <a:ext cx="1197986" cy="3200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101 – 4 – ½ Testing</a:t>
            </a:r>
          </a:p>
        </p:txBody>
      </p:sp>
    </p:spTree>
    <p:extLst>
      <p:ext uri="{BB962C8B-B14F-4D97-AF65-F5344CB8AC3E}">
        <p14:creationId xmlns:p14="http://schemas.microsoft.com/office/powerpoint/2010/main" val="1510578974"/>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2D0066-F000-4158-9364-F3B6E3141251}"/>
              </a:ext>
            </a:extLst>
          </p:cNvPr>
          <p:cNvPicPr>
            <a:picLocks noChangeAspect="1"/>
          </p:cNvPicPr>
          <p:nvPr/>
        </p:nvPicPr>
        <p:blipFill>
          <a:blip r:embed="rId2"/>
          <a:stretch>
            <a:fillRect/>
          </a:stretch>
        </p:blipFill>
        <p:spPr>
          <a:xfrm>
            <a:off x="1444487" y="0"/>
            <a:ext cx="9303026" cy="6858000"/>
          </a:xfrm>
          <a:prstGeom prst="rect">
            <a:avLst/>
          </a:prstGeom>
        </p:spPr>
      </p:pic>
      <p:sp>
        <p:nvSpPr>
          <p:cNvPr id="3" name="Rectangle 2">
            <a:extLst>
              <a:ext uri="{FF2B5EF4-FFF2-40B4-BE49-F238E27FC236}">
                <a16:creationId xmlns:a16="http://schemas.microsoft.com/office/drawing/2014/main" id="{3713CE55-8EA4-4004-AEE9-D692F475260A}"/>
              </a:ext>
            </a:extLst>
          </p:cNvPr>
          <p:cNvSpPr/>
          <p:nvPr/>
        </p:nvSpPr>
        <p:spPr>
          <a:xfrm>
            <a:off x="6698107" y="2157214"/>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sp>
        <p:nvSpPr>
          <p:cNvPr id="4" name="Rectangle 3">
            <a:extLst>
              <a:ext uri="{FF2B5EF4-FFF2-40B4-BE49-F238E27FC236}">
                <a16:creationId xmlns:a16="http://schemas.microsoft.com/office/drawing/2014/main" id="{AF3DA2F0-B122-47B7-8B51-4FCC30EE5FAC}"/>
              </a:ext>
            </a:extLst>
          </p:cNvPr>
          <p:cNvSpPr/>
          <p:nvPr/>
        </p:nvSpPr>
        <p:spPr>
          <a:xfrm>
            <a:off x="5476421" y="4282646"/>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102 - 5</a:t>
            </a:r>
          </a:p>
        </p:txBody>
      </p:sp>
      <p:sp>
        <p:nvSpPr>
          <p:cNvPr id="15" name="TextBox 14">
            <a:extLst>
              <a:ext uri="{FF2B5EF4-FFF2-40B4-BE49-F238E27FC236}">
                <a16:creationId xmlns:a16="http://schemas.microsoft.com/office/drawing/2014/main" id="{F25C9264-EF8D-457F-ABFF-C9B432B04C3A}"/>
              </a:ext>
            </a:extLst>
          </p:cNvPr>
          <p:cNvSpPr txBox="1"/>
          <p:nvPr/>
        </p:nvSpPr>
        <p:spPr>
          <a:xfrm>
            <a:off x="7896093" y="4156334"/>
            <a:ext cx="1097537" cy="2526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00"/>
              <a:t>Gold Code</a:t>
            </a:r>
          </a:p>
        </p:txBody>
      </p:sp>
      <p:sp>
        <p:nvSpPr>
          <p:cNvPr id="18" name="Rectangle 17">
            <a:extLst>
              <a:ext uri="{FF2B5EF4-FFF2-40B4-BE49-F238E27FC236}">
                <a16:creationId xmlns:a16="http://schemas.microsoft.com/office/drawing/2014/main" id="{0920FD93-1064-4CC9-AF1D-A2B5FA58FF3D}"/>
              </a:ext>
            </a:extLst>
          </p:cNvPr>
          <p:cNvSpPr/>
          <p:nvPr/>
        </p:nvSpPr>
        <p:spPr>
          <a:xfrm>
            <a:off x="3087996" y="3230516"/>
            <a:ext cx="6074424" cy="19715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Mid Release Testing</a:t>
            </a:r>
          </a:p>
        </p:txBody>
      </p:sp>
      <p:sp>
        <p:nvSpPr>
          <p:cNvPr id="21" name="Rectangle 20">
            <a:extLst>
              <a:ext uri="{FF2B5EF4-FFF2-40B4-BE49-F238E27FC236}">
                <a16:creationId xmlns:a16="http://schemas.microsoft.com/office/drawing/2014/main" id="{2EADCF83-1658-4F44-A70E-75EECF381ECF}"/>
              </a:ext>
            </a:extLst>
          </p:cNvPr>
          <p:cNvSpPr/>
          <p:nvPr/>
        </p:nvSpPr>
        <p:spPr>
          <a:xfrm>
            <a:off x="3087091" y="4282645"/>
            <a:ext cx="2417634" cy="19715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Mid Release Testing</a:t>
            </a:r>
          </a:p>
        </p:txBody>
      </p:sp>
    </p:spTree>
    <p:extLst>
      <p:ext uri="{BB962C8B-B14F-4D97-AF65-F5344CB8AC3E}">
        <p14:creationId xmlns:p14="http://schemas.microsoft.com/office/powerpoint/2010/main" val="407683728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2AB2E5-B61B-4BC0-8267-597A43C087BB}"/>
              </a:ext>
            </a:extLst>
          </p:cNvPr>
          <p:cNvPicPr>
            <a:picLocks noChangeAspect="1"/>
          </p:cNvPicPr>
          <p:nvPr/>
        </p:nvPicPr>
        <p:blipFill>
          <a:blip r:embed="rId2"/>
          <a:stretch>
            <a:fillRect/>
          </a:stretch>
        </p:blipFill>
        <p:spPr>
          <a:xfrm>
            <a:off x="1462394" y="0"/>
            <a:ext cx="9267211" cy="6858000"/>
          </a:xfrm>
          <a:prstGeom prst="rect">
            <a:avLst/>
          </a:prstGeom>
        </p:spPr>
      </p:pic>
      <p:sp>
        <p:nvSpPr>
          <p:cNvPr id="3" name="Rectangle 2">
            <a:extLst>
              <a:ext uri="{FF2B5EF4-FFF2-40B4-BE49-F238E27FC236}">
                <a16:creationId xmlns:a16="http://schemas.microsoft.com/office/drawing/2014/main" id="{FA19AF06-246E-4AA6-8618-3267CF1BCFDE}"/>
              </a:ext>
            </a:extLst>
          </p:cNvPr>
          <p:cNvSpPr/>
          <p:nvPr/>
        </p:nvSpPr>
        <p:spPr>
          <a:xfrm>
            <a:off x="3067187" y="2803191"/>
            <a:ext cx="1228256" cy="236401"/>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 Holiday</a:t>
            </a:r>
          </a:p>
        </p:txBody>
      </p:sp>
      <p:sp>
        <p:nvSpPr>
          <p:cNvPr id="4" name="Rectangle 3">
            <a:extLst>
              <a:ext uri="{FF2B5EF4-FFF2-40B4-BE49-F238E27FC236}">
                <a16:creationId xmlns:a16="http://schemas.microsoft.com/office/drawing/2014/main" id="{3094C914-7F3B-4EDB-9F07-E896E592CA37}"/>
              </a:ext>
            </a:extLst>
          </p:cNvPr>
          <p:cNvSpPr/>
          <p:nvPr/>
        </p:nvSpPr>
        <p:spPr>
          <a:xfrm>
            <a:off x="5497006" y="2842439"/>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103 - 6</a:t>
            </a:r>
          </a:p>
        </p:txBody>
      </p:sp>
      <p:sp>
        <p:nvSpPr>
          <p:cNvPr id="5" name="Rectangle 4">
            <a:extLst>
              <a:ext uri="{FF2B5EF4-FFF2-40B4-BE49-F238E27FC236}">
                <a16:creationId xmlns:a16="http://schemas.microsoft.com/office/drawing/2014/main" id="{D8690AB4-6DE0-4CDD-BF3F-73FA9670A13A}"/>
              </a:ext>
            </a:extLst>
          </p:cNvPr>
          <p:cNvSpPr/>
          <p:nvPr/>
        </p:nvSpPr>
        <p:spPr>
          <a:xfrm>
            <a:off x="5497006" y="5398994"/>
            <a:ext cx="1197986" cy="3130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104 – 7 – ½ Testing</a:t>
            </a:r>
          </a:p>
        </p:txBody>
      </p:sp>
    </p:spTree>
    <p:extLst>
      <p:ext uri="{BB962C8B-B14F-4D97-AF65-F5344CB8AC3E}">
        <p14:creationId xmlns:p14="http://schemas.microsoft.com/office/powerpoint/2010/main" val="100659713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8C9766A-F6D4-426B-B772-1B9A9FCA872B}"/>
              </a:ext>
            </a:extLst>
          </p:cNvPr>
          <p:cNvSpPr txBox="1"/>
          <p:nvPr/>
        </p:nvSpPr>
        <p:spPr>
          <a:xfrm>
            <a:off x="1359095" y="871197"/>
            <a:ext cx="9705771" cy="5509200"/>
          </a:xfrm>
          <a:prstGeom prst="rect">
            <a:avLst/>
          </a:prstGeom>
          <a:noFill/>
        </p:spPr>
        <p:txBody>
          <a:bodyPr wrap="square" rtlCol="0">
            <a:spAutoFit/>
          </a:bodyPr>
          <a:lstStyle/>
          <a:p>
            <a:r>
              <a:rPr lang="en-US" sz="1600" b="1">
                <a:solidFill>
                  <a:schemeClr val="accent1"/>
                </a:solidFill>
                <a:latin typeface="Open Sans" panose="020B0606030504020204" pitchFamily="34" charset="0"/>
                <a:ea typeface="Open Sans" panose="020B0606030504020204" pitchFamily="34" charset="0"/>
                <a:cs typeface="Open Sans" panose="020B0606030504020204" pitchFamily="34" charset="0"/>
              </a:rPr>
              <a:t>Zoom: </a:t>
            </a:r>
          </a:p>
          <a:p>
            <a:r>
              <a:rPr lang="en-US" sz="1600">
                <a:latin typeface="Open Sans" panose="020B0606030504020204" pitchFamily="34" charset="0"/>
                <a:ea typeface="Open Sans" panose="020B0606030504020204" pitchFamily="34" charset="0"/>
                <a:cs typeface="Open Sans" panose="020B0606030504020204" pitchFamily="34" charset="0"/>
              </a:rPr>
              <a:t>·       Zoom Share for all presentations </a:t>
            </a:r>
          </a:p>
          <a:p>
            <a:r>
              <a:rPr lang="en-US" sz="1600">
                <a:latin typeface="Open Sans" panose="020B0606030504020204" pitchFamily="34" charset="0"/>
                <a:ea typeface="Open Sans" panose="020B0606030504020204" pitchFamily="34" charset="0"/>
                <a:cs typeface="Open Sans" panose="020B0606030504020204" pitchFamily="34" charset="0"/>
              </a:rPr>
              <a:t>·       Team Breakouts – Zoom Breakout Rooms </a:t>
            </a:r>
          </a:p>
          <a:p>
            <a:r>
              <a:rPr lang="en-US" sz="1600">
                <a:latin typeface="Open Sans" panose="020B0606030504020204" pitchFamily="34" charset="0"/>
                <a:ea typeface="Open Sans" panose="020B0606030504020204" pitchFamily="34" charset="0"/>
                <a:cs typeface="Open Sans" panose="020B0606030504020204" pitchFamily="34" charset="0"/>
              </a:rPr>
              <a:t>·       Confidence Vote Poll –  Zoom Poll</a:t>
            </a:r>
          </a:p>
          <a:p>
            <a:endParaRPr lang="en-US" sz="1600">
              <a:latin typeface="Open Sans" panose="020B0606030504020204" pitchFamily="34" charset="0"/>
              <a:ea typeface="Open Sans" panose="020B0606030504020204" pitchFamily="34" charset="0"/>
              <a:cs typeface="Open Sans" panose="020B0606030504020204" pitchFamily="34" charset="0"/>
            </a:endParaRPr>
          </a:p>
          <a:p>
            <a:r>
              <a:rPr lang="en-US" sz="1600" b="1">
                <a:solidFill>
                  <a:schemeClr val="accent1"/>
                </a:solidFill>
                <a:latin typeface="Open Sans" panose="020B0606030504020204" pitchFamily="34" charset="0"/>
                <a:ea typeface="Open Sans" panose="020B0606030504020204" pitchFamily="34" charset="0"/>
                <a:cs typeface="Open Sans" panose="020B0606030504020204" pitchFamily="34" charset="0"/>
              </a:rPr>
              <a:t>VSTS: </a:t>
            </a:r>
          </a:p>
          <a:p>
            <a:r>
              <a:rPr lang="en-US" sz="1600">
                <a:latin typeface="Open Sans" panose="020B0606030504020204" pitchFamily="34" charset="0"/>
                <a:ea typeface="Open Sans" panose="020B0606030504020204" pitchFamily="34" charset="0"/>
                <a:cs typeface="Open Sans" panose="020B0606030504020204" pitchFamily="34" charset="0"/>
              </a:rPr>
              <a:t>·       VSTS Plan</a:t>
            </a:r>
          </a:p>
          <a:p>
            <a:r>
              <a:rPr lang="en-US" sz="1600">
                <a:latin typeface="Open Sans" panose="020B0606030504020204" pitchFamily="34" charset="0"/>
                <a:ea typeface="Open Sans" panose="020B0606030504020204" pitchFamily="34" charset="0"/>
                <a:cs typeface="Open Sans" panose="020B0606030504020204" pitchFamily="34" charset="0"/>
              </a:rPr>
              <a:t>·       PI Retrospective </a:t>
            </a:r>
          </a:p>
          <a:p>
            <a:r>
              <a:rPr lang="en-US" sz="1600">
                <a:latin typeface="Open Sans" panose="020B0606030504020204" pitchFamily="34" charset="0"/>
                <a:ea typeface="Open Sans" panose="020B0606030504020204" pitchFamily="34" charset="0"/>
                <a:cs typeface="Open Sans" panose="020B0606030504020204" pitchFamily="34" charset="0"/>
              </a:rPr>
              <a:t>·       Roam Board/Risks</a:t>
            </a:r>
          </a:p>
          <a:p>
            <a:endParaRPr lang="en-US" sz="1600" b="1">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r>
              <a:rPr lang="en-US" sz="1600" b="1">
                <a:solidFill>
                  <a:schemeClr val="accent1"/>
                </a:solidFill>
                <a:latin typeface="Open Sans" panose="020B0606030504020204" pitchFamily="34" charset="0"/>
                <a:ea typeface="Open Sans" panose="020B0606030504020204" pitchFamily="34" charset="0"/>
                <a:cs typeface="Open Sans" panose="020B0606030504020204" pitchFamily="34" charset="0"/>
              </a:rPr>
              <a:t>VISIO: </a:t>
            </a:r>
          </a:p>
          <a:p>
            <a:r>
              <a:rPr lang="en-US" sz="1600">
                <a:latin typeface="Open Sans" panose="020B0606030504020204" pitchFamily="34" charset="0"/>
                <a:ea typeface="Open Sans" panose="020B0606030504020204" pitchFamily="34" charset="0"/>
                <a:cs typeface="Open Sans" panose="020B0606030504020204" pitchFamily="34" charset="0"/>
              </a:rPr>
              <a:t>·       Digital Program Board</a:t>
            </a:r>
          </a:p>
          <a:p>
            <a:endParaRPr lang="en-US" sz="1600">
              <a:latin typeface="Open Sans" panose="020B0606030504020204" pitchFamily="34" charset="0"/>
              <a:ea typeface="Open Sans" panose="020B0606030504020204" pitchFamily="34" charset="0"/>
              <a:cs typeface="Open Sans" panose="020B0606030504020204" pitchFamily="34" charset="0"/>
            </a:endParaRPr>
          </a:p>
          <a:p>
            <a:r>
              <a:rPr lang="en-US" sz="1600" b="1">
                <a:solidFill>
                  <a:schemeClr val="accent1"/>
                </a:solidFill>
                <a:latin typeface="Open Sans" panose="020B0606030504020204" pitchFamily="34" charset="0"/>
                <a:ea typeface="Open Sans" panose="020B0606030504020204" pitchFamily="34" charset="0"/>
                <a:cs typeface="Open Sans" panose="020B0606030504020204" pitchFamily="34" charset="0"/>
              </a:rPr>
              <a:t>Teams:</a:t>
            </a:r>
          </a:p>
          <a:p>
            <a:r>
              <a:rPr lang="en-US" sz="1600">
                <a:latin typeface="Open Sans" panose="020B0606030504020204" pitchFamily="34" charset="0"/>
                <a:ea typeface="Open Sans" panose="020B0606030504020204" pitchFamily="34" charset="0"/>
                <a:cs typeface="Open Sans" panose="020B0606030504020204" pitchFamily="34" charset="0"/>
              </a:rPr>
              <a:t>·       Save all Artifacts</a:t>
            </a:r>
          </a:p>
          <a:p>
            <a:endPar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r>
              <a:rPr lang="en-US" sz="1600" b="1">
                <a:solidFill>
                  <a:schemeClr val="accent1"/>
                </a:solidFill>
                <a:latin typeface="Open Sans" panose="020B0606030504020204" pitchFamily="34" charset="0"/>
                <a:ea typeface="Open Sans" panose="020B0606030504020204" pitchFamily="34" charset="0"/>
                <a:cs typeface="Open Sans" panose="020B0606030504020204" pitchFamily="34" charset="0"/>
              </a:rPr>
              <a:t>Excel:</a:t>
            </a: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 </a:t>
            </a:r>
          </a:p>
          <a:p>
            <a:r>
              <a:rPr lang="en-US" sz="1600">
                <a:latin typeface="Open Sans" panose="020B0606030504020204" pitchFamily="34" charset="0"/>
                <a:ea typeface="Open Sans" panose="020B0606030504020204" pitchFamily="34" charset="0"/>
                <a:cs typeface="Open Sans" panose="020B0606030504020204" pitchFamily="34" charset="0"/>
              </a:rPr>
              <a:t>·       PI Objectives/Business Value</a:t>
            </a:r>
          </a:p>
          <a:p>
            <a:r>
              <a:rPr lang="en-US" sz="1600">
                <a:latin typeface="Open Sans" panose="020B0606030504020204" pitchFamily="34" charset="0"/>
                <a:ea typeface="Open Sans" panose="020B0606030504020204" pitchFamily="34" charset="0"/>
                <a:cs typeface="Open Sans" panose="020B0606030504020204" pitchFamily="34" charset="0"/>
              </a:rPr>
              <a:t>·       Dependency Board</a:t>
            </a:r>
          </a:p>
          <a:p>
            <a:endPar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r>
              <a:rPr lang="en-US" sz="1600" b="1">
                <a:solidFill>
                  <a:schemeClr val="accent1"/>
                </a:solidFill>
                <a:latin typeface="Open Sans" panose="020B0606030504020204" pitchFamily="34" charset="0"/>
                <a:ea typeface="Open Sans" panose="020B0606030504020204" pitchFamily="34" charset="0"/>
                <a:cs typeface="Open Sans" panose="020B0606030504020204" pitchFamily="34" charset="0"/>
              </a:rPr>
              <a:t>PPT:</a:t>
            </a:r>
          </a:p>
          <a:p>
            <a:r>
              <a:rPr lang="en-US" sz="1600">
                <a:latin typeface="Open Sans" panose="020B0606030504020204" pitchFamily="34" charset="0"/>
                <a:ea typeface="Open Sans" panose="020B0606030504020204" pitchFamily="34" charset="0"/>
                <a:cs typeface="Open Sans" panose="020B0606030504020204" pitchFamily="34" charset="0"/>
              </a:rPr>
              <a:t>·       Presentations  </a:t>
            </a:r>
          </a:p>
        </p:txBody>
      </p:sp>
      <p:sp>
        <p:nvSpPr>
          <p:cNvPr id="5" name="Title 1">
            <a:extLst>
              <a:ext uri="{FF2B5EF4-FFF2-40B4-BE49-F238E27FC236}">
                <a16:creationId xmlns:a16="http://schemas.microsoft.com/office/drawing/2014/main" id="{5142D7BB-00F4-47E6-BF36-9D9AB3AEABFC}"/>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solidFill>
                  <a:prstClr val="black"/>
                </a:solidFill>
                <a:latin typeface="Open Sans" panose="020B0606030504020204" pitchFamily="34" charset="0"/>
                <a:ea typeface="Open Sans" panose="020B0606030504020204" pitchFamily="34" charset="0"/>
                <a:cs typeface="Open Sans" panose="020B0606030504020204" pitchFamily="34" charset="0"/>
              </a:rPr>
              <a:t>Audit Transformations: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Tools for PI Artifacts </a:t>
            </a:r>
          </a:p>
        </p:txBody>
      </p:sp>
    </p:spTree>
    <p:extLst>
      <p:ext uri="{BB962C8B-B14F-4D97-AF65-F5344CB8AC3E}">
        <p14:creationId xmlns:p14="http://schemas.microsoft.com/office/powerpoint/2010/main" val="195427178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D2A9D3-DA1E-4CC8-A369-41B17C45C0B8}"/>
              </a:ext>
            </a:extLst>
          </p:cNvPr>
          <p:cNvPicPr>
            <a:picLocks noChangeAspect="1"/>
          </p:cNvPicPr>
          <p:nvPr/>
        </p:nvPicPr>
        <p:blipFill>
          <a:blip r:embed="rId2"/>
          <a:stretch>
            <a:fillRect/>
          </a:stretch>
        </p:blipFill>
        <p:spPr>
          <a:xfrm>
            <a:off x="1452286" y="0"/>
            <a:ext cx="9287427" cy="6858000"/>
          </a:xfrm>
          <a:prstGeom prst="rect">
            <a:avLst/>
          </a:prstGeom>
        </p:spPr>
      </p:pic>
      <p:sp>
        <p:nvSpPr>
          <p:cNvPr id="3" name="Rectangle 2">
            <a:extLst>
              <a:ext uri="{FF2B5EF4-FFF2-40B4-BE49-F238E27FC236}">
                <a16:creationId xmlns:a16="http://schemas.microsoft.com/office/drawing/2014/main" id="{8A98C641-DFA7-4275-B30D-4DE5C3D3DC11}"/>
              </a:ext>
            </a:extLst>
          </p:cNvPr>
          <p:cNvSpPr/>
          <p:nvPr/>
        </p:nvSpPr>
        <p:spPr>
          <a:xfrm>
            <a:off x="7912283" y="3185126"/>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sp>
        <p:nvSpPr>
          <p:cNvPr id="4" name="Rectangle 3">
            <a:extLst>
              <a:ext uri="{FF2B5EF4-FFF2-40B4-BE49-F238E27FC236}">
                <a16:creationId xmlns:a16="http://schemas.microsoft.com/office/drawing/2014/main" id="{814F4032-838E-48CA-B199-EE4408637F10}"/>
              </a:ext>
            </a:extLst>
          </p:cNvPr>
          <p:cNvSpPr/>
          <p:nvPr/>
        </p:nvSpPr>
        <p:spPr>
          <a:xfrm>
            <a:off x="3094341" y="4295018"/>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sp>
        <p:nvSpPr>
          <p:cNvPr id="5" name="Rectangle 4">
            <a:extLst>
              <a:ext uri="{FF2B5EF4-FFF2-40B4-BE49-F238E27FC236}">
                <a16:creationId xmlns:a16="http://schemas.microsoft.com/office/drawing/2014/main" id="{25BEA806-A29C-46AE-B4BF-012719216EC7}"/>
              </a:ext>
            </a:extLst>
          </p:cNvPr>
          <p:cNvSpPr/>
          <p:nvPr/>
        </p:nvSpPr>
        <p:spPr>
          <a:xfrm>
            <a:off x="5497006" y="6388679"/>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sp>
        <p:nvSpPr>
          <p:cNvPr id="6" name="Rectangle 5">
            <a:extLst>
              <a:ext uri="{FF2B5EF4-FFF2-40B4-BE49-F238E27FC236}">
                <a16:creationId xmlns:a16="http://schemas.microsoft.com/office/drawing/2014/main" id="{0B3699D2-7DE4-44F6-880C-0820C128AB57}"/>
              </a:ext>
            </a:extLst>
          </p:cNvPr>
          <p:cNvSpPr/>
          <p:nvPr/>
        </p:nvSpPr>
        <p:spPr>
          <a:xfrm>
            <a:off x="5497006" y="4295017"/>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Sprint 105 - Testing</a:t>
            </a:r>
          </a:p>
        </p:txBody>
      </p:sp>
      <p:sp>
        <p:nvSpPr>
          <p:cNvPr id="8" name="Rectangle 7">
            <a:extLst>
              <a:ext uri="{FF2B5EF4-FFF2-40B4-BE49-F238E27FC236}">
                <a16:creationId xmlns:a16="http://schemas.microsoft.com/office/drawing/2014/main" id="{79694E14-0E49-4169-866F-DC7063007709}"/>
              </a:ext>
            </a:extLst>
          </p:cNvPr>
          <p:cNvSpPr/>
          <p:nvPr/>
        </p:nvSpPr>
        <p:spPr>
          <a:xfrm>
            <a:off x="3094341" y="5157120"/>
            <a:ext cx="6074424" cy="197153"/>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a:t>Final UAT</a:t>
            </a:r>
          </a:p>
        </p:txBody>
      </p:sp>
      <p:sp>
        <p:nvSpPr>
          <p:cNvPr id="10" name="Rectangle 9">
            <a:extLst>
              <a:ext uri="{FF2B5EF4-FFF2-40B4-BE49-F238E27FC236}">
                <a16:creationId xmlns:a16="http://schemas.microsoft.com/office/drawing/2014/main" id="{6400F5F3-C56C-48BD-A945-C2345794BC88}"/>
              </a:ext>
            </a:extLst>
          </p:cNvPr>
          <p:cNvSpPr/>
          <p:nvPr/>
        </p:nvSpPr>
        <p:spPr>
          <a:xfrm>
            <a:off x="3094341" y="6200331"/>
            <a:ext cx="6074424" cy="1792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
        <p:nvSpPr>
          <p:cNvPr id="15" name="Rectangle 14">
            <a:extLst>
              <a:ext uri="{FF2B5EF4-FFF2-40B4-BE49-F238E27FC236}">
                <a16:creationId xmlns:a16="http://schemas.microsoft.com/office/drawing/2014/main" id="{50758A9A-AC79-4E85-AC38-32768A5CAF63}"/>
              </a:ext>
            </a:extLst>
          </p:cNvPr>
          <p:cNvSpPr/>
          <p:nvPr/>
        </p:nvSpPr>
        <p:spPr>
          <a:xfrm>
            <a:off x="3094341" y="4088746"/>
            <a:ext cx="6074424" cy="19715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
        <p:nvSpPr>
          <p:cNvPr id="16" name="Rectangle 15">
            <a:extLst>
              <a:ext uri="{FF2B5EF4-FFF2-40B4-BE49-F238E27FC236}">
                <a16:creationId xmlns:a16="http://schemas.microsoft.com/office/drawing/2014/main" id="{BF768B47-7207-40D5-B842-76A3FCBEE38F}"/>
              </a:ext>
            </a:extLst>
          </p:cNvPr>
          <p:cNvSpPr/>
          <p:nvPr/>
        </p:nvSpPr>
        <p:spPr>
          <a:xfrm>
            <a:off x="3094341" y="5354273"/>
            <a:ext cx="6074424" cy="24622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
        <p:nvSpPr>
          <p:cNvPr id="20" name="Rectangle 19">
            <a:extLst>
              <a:ext uri="{FF2B5EF4-FFF2-40B4-BE49-F238E27FC236}">
                <a16:creationId xmlns:a16="http://schemas.microsoft.com/office/drawing/2014/main" id="{8A983F17-7A5D-41A9-B562-544A9FF1BF45}"/>
              </a:ext>
            </a:extLst>
          </p:cNvPr>
          <p:cNvSpPr/>
          <p:nvPr/>
        </p:nvSpPr>
        <p:spPr>
          <a:xfrm>
            <a:off x="3058787" y="2988624"/>
            <a:ext cx="6074424" cy="19715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pic>
        <p:nvPicPr>
          <p:cNvPr id="21" name="Picture 20" descr="A close up of a sign&#10;&#10;Description automatically generated">
            <a:extLst>
              <a:ext uri="{FF2B5EF4-FFF2-40B4-BE49-F238E27FC236}">
                <a16:creationId xmlns:a16="http://schemas.microsoft.com/office/drawing/2014/main" id="{7B2060F6-EEA0-4983-BBAF-E9AEA7EEA6C6}"/>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351739" y="1429864"/>
            <a:ext cx="319073" cy="319073"/>
          </a:xfrm>
          <a:prstGeom prst="rect">
            <a:avLst/>
          </a:prstGeom>
        </p:spPr>
      </p:pic>
      <p:sp>
        <p:nvSpPr>
          <p:cNvPr id="22" name="TextBox 1">
            <a:extLst>
              <a:ext uri="{FF2B5EF4-FFF2-40B4-BE49-F238E27FC236}">
                <a16:creationId xmlns:a16="http://schemas.microsoft.com/office/drawing/2014/main" id="{C3D117C5-4F1A-4D60-9880-E5A28ED47EF9}"/>
              </a:ext>
            </a:extLst>
          </p:cNvPr>
          <p:cNvSpPr txBox="1"/>
          <p:nvPr/>
        </p:nvSpPr>
        <p:spPr>
          <a:xfrm>
            <a:off x="7935225" y="1879383"/>
            <a:ext cx="1197986"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a:t>AO Code Freeze</a:t>
            </a:r>
          </a:p>
        </p:txBody>
      </p:sp>
    </p:spTree>
    <p:extLst>
      <p:ext uri="{BB962C8B-B14F-4D97-AF65-F5344CB8AC3E}">
        <p14:creationId xmlns:p14="http://schemas.microsoft.com/office/powerpoint/2010/main" val="357347941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A7513BA-37B3-4024-B251-91F76CC7EDB5}"/>
              </a:ext>
            </a:extLst>
          </p:cNvPr>
          <p:cNvPicPr>
            <a:picLocks noChangeAspect="1"/>
          </p:cNvPicPr>
          <p:nvPr/>
        </p:nvPicPr>
        <p:blipFill>
          <a:blip r:embed="rId2"/>
          <a:stretch>
            <a:fillRect/>
          </a:stretch>
        </p:blipFill>
        <p:spPr>
          <a:xfrm>
            <a:off x="1454020" y="0"/>
            <a:ext cx="9283959" cy="6858000"/>
          </a:xfrm>
          <a:prstGeom prst="rect">
            <a:avLst/>
          </a:prstGeom>
        </p:spPr>
      </p:pic>
      <p:sp>
        <p:nvSpPr>
          <p:cNvPr id="3" name="Rectangle 2">
            <a:extLst>
              <a:ext uri="{FF2B5EF4-FFF2-40B4-BE49-F238E27FC236}">
                <a16:creationId xmlns:a16="http://schemas.microsoft.com/office/drawing/2014/main" id="{677BC457-D8C5-42E7-94E3-CAA1DB231CFE}"/>
              </a:ext>
            </a:extLst>
          </p:cNvPr>
          <p:cNvSpPr/>
          <p:nvPr/>
        </p:nvSpPr>
        <p:spPr>
          <a:xfrm>
            <a:off x="3067186" y="3192599"/>
            <a:ext cx="1228256" cy="236401"/>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 Holiday</a:t>
            </a:r>
          </a:p>
        </p:txBody>
      </p:sp>
      <p:sp>
        <p:nvSpPr>
          <p:cNvPr id="4" name="Rectangle 3">
            <a:extLst>
              <a:ext uri="{FF2B5EF4-FFF2-40B4-BE49-F238E27FC236}">
                <a16:creationId xmlns:a16="http://schemas.microsoft.com/office/drawing/2014/main" id="{098F5C5E-5E7E-4C27-BAD7-C14685FEBBF3}"/>
              </a:ext>
            </a:extLst>
          </p:cNvPr>
          <p:cNvSpPr/>
          <p:nvPr/>
        </p:nvSpPr>
        <p:spPr>
          <a:xfrm>
            <a:off x="5497006" y="3231847"/>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06  - IP</a:t>
            </a:r>
          </a:p>
        </p:txBody>
      </p:sp>
      <p:sp>
        <p:nvSpPr>
          <p:cNvPr id="5" name="Rectangle 4">
            <a:extLst>
              <a:ext uri="{FF2B5EF4-FFF2-40B4-BE49-F238E27FC236}">
                <a16:creationId xmlns:a16="http://schemas.microsoft.com/office/drawing/2014/main" id="{8A3AC1EC-9179-45DA-8F83-C3FB8ED68271}"/>
              </a:ext>
            </a:extLst>
          </p:cNvPr>
          <p:cNvSpPr/>
          <p:nvPr/>
        </p:nvSpPr>
        <p:spPr>
          <a:xfrm>
            <a:off x="5497006" y="6406938"/>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07 - 1</a:t>
            </a:r>
          </a:p>
        </p:txBody>
      </p:sp>
      <p:pic>
        <p:nvPicPr>
          <p:cNvPr id="10" name="Picture 9">
            <a:extLst>
              <a:ext uri="{FF2B5EF4-FFF2-40B4-BE49-F238E27FC236}">
                <a16:creationId xmlns:a16="http://schemas.microsoft.com/office/drawing/2014/main" id="{524E5A22-0F72-4B13-A029-F95E0C2E8F63}"/>
              </a:ext>
            </a:extLst>
          </p:cNvPr>
          <p:cNvPicPr>
            <a:picLocks noChangeAspect="1"/>
          </p:cNvPicPr>
          <p:nvPr/>
        </p:nvPicPr>
        <p:blipFill>
          <a:blip r:embed="rId3"/>
          <a:stretch>
            <a:fillRect/>
          </a:stretch>
        </p:blipFill>
        <p:spPr>
          <a:xfrm>
            <a:off x="9469441" y="3633843"/>
            <a:ext cx="419100" cy="419100"/>
          </a:xfrm>
          <a:prstGeom prst="rect">
            <a:avLst/>
          </a:prstGeom>
        </p:spPr>
      </p:pic>
      <p:sp>
        <p:nvSpPr>
          <p:cNvPr id="11" name="TextBox 1">
            <a:extLst>
              <a:ext uri="{FF2B5EF4-FFF2-40B4-BE49-F238E27FC236}">
                <a16:creationId xmlns:a16="http://schemas.microsoft.com/office/drawing/2014/main" id="{8457BF74-D459-456A-A5DF-64457FB51FEB}"/>
              </a:ext>
            </a:extLst>
          </p:cNvPr>
          <p:cNvSpPr txBox="1"/>
          <p:nvPr/>
        </p:nvSpPr>
        <p:spPr>
          <a:xfrm>
            <a:off x="9140510" y="4052943"/>
            <a:ext cx="1197986"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a:t>AO Deploy</a:t>
            </a:r>
          </a:p>
        </p:txBody>
      </p:sp>
      <p:pic>
        <p:nvPicPr>
          <p:cNvPr id="12" name="Picture 11" descr="A picture containing food&#10;&#10;Description automatically generated">
            <a:extLst>
              <a:ext uri="{FF2B5EF4-FFF2-40B4-BE49-F238E27FC236}">
                <a16:creationId xmlns:a16="http://schemas.microsoft.com/office/drawing/2014/main" id="{DCCDCE32-4ED1-4A11-B515-C8F411C4B959}"/>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5936923" y="5697311"/>
            <a:ext cx="322079" cy="322079"/>
          </a:xfrm>
          <a:prstGeom prst="rect">
            <a:avLst/>
          </a:prstGeom>
        </p:spPr>
      </p:pic>
      <p:sp>
        <p:nvSpPr>
          <p:cNvPr id="13" name="TextBox 1">
            <a:extLst>
              <a:ext uri="{FF2B5EF4-FFF2-40B4-BE49-F238E27FC236}">
                <a16:creationId xmlns:a16="http://schemas.microsoft.com/office/drawing/2014/main" id="{86F6A682-FC18-47B4-8307-C3F0886C7521}"/>
              </a:ext>
            </a:extLst>
          </p:cNvPr>
          <p:cNvSpPr txBox="1"/>
          <p:nvPr/>
        </p:nvSpPr>
        <p:spPr>
          <a:xfrm>
            <a:off x="5494227" y="6084256"/>
            <a:ext cx="1197986"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a:t>AO Start</a:t>
            </a:r>
          </a:p>
        </p:txBody>
      </p:sp>
      <p:pic>
        <p:nvPicPr>
          <p:cNvPr id="14" name="Picture 13" descr="A picture containing food&#10;&#10;Description automatically generated">
            <a:extLst>
              <a:ext uri="{FF2B5EF4-FFF2-40B4-BE49-F238E27FC236}">
                <a16:creationId xmlns:a16="http://schemas.microsoft.com/office/drawing/2014/main" id="{1742D528-44DB-41DD-B9BE-105F41403647}"/>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5932179" y="5685716"/>
            <a:ext cx="322079" cy="322079"/>
          </a:xfrm>
          <a:prstGeom prst="rect">
            <a:avLst/>
          </a:prstGeom>
        </p:spPr>
      </p:pic>
      <p:sp>
        <p:nvSpPr>
          <p:cNvPr id="15" name="Rectangle 14">
            <a:extLst>
              <a:ext uri="{FF2B5EF4-FFF2-40B4-BE49-F238E27FC236}">
                <a16:creationId xmlns:a16="http://schemas.microsoft.com/office/drawing/2014/main" id="{B27B4F56-F29B-4FEF-99D6-205ACA496E4F}"/>
              </a:ext>
            </a:extLst>
          </p:cNvPr>
          <p:cNvSpPr/>
          <p:nvPr/>
        </p:nvSpPr>
        <p:spPr>
          <a:xfrm>
            <a:off x="4295673" y="5341210"/>
            <a:ext cx="3616610" cy="19715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I Planning - 9</a:t>
            </a:r>
          </a:p>
        </p:txBody>
      </p:sp>
      <p:sp>
        <p:nvSpPr>
          <p:cNvPr id="16" name="Rectangle 15">
            <a:extLst>
              <a:ext uri="{FF2B5EF4-FFF2-40B4-BE49-F238E27FC236}">
                <a16:creationId xmlns:a16="http://schemas.microsoft.com/office/drawing/2014/main" id="{31ED7207-70F6-4EFF-8268-BD457F5A49D2}"/>
              </a:ext>
            </a:extLst>
          </p:cNvPr>
          <p:cNvSpPr/>
          <p:nvPr/>
        </p:nvSpPr>
        <p:spPr>
          <a:xfrm>
            <a:off x="3067186" y="4275482"/>
            <a:ext cx="5958466" cy="197153"/>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chnical Deployment</a:t>
            </a:r>
          </a:p>
        </p:txBody>
      </p:sp>
      <p:sp>
        <p:nvSpPr>
          <p:cNvPr id="17" name="Rectangle 16">
            <a:extLst>
              <a:ext uri="{FF2B5EF4-FFF2-40B4-BE49-F238E27FC236}">
                <a16:creationId xmlns:a16="http://schemas.microsoft.com/office/drawing/2014/main" id="{1DEB8575-2A23-4FDF-96AE-36C44F2F3971}"/>
              </a:ext>
            </a:extLst>
          </p:cNvPr>
          <p:cNvSpPr/>
          <p:nvPr/>
        </p:nvSpPr>
        <p:spPr>
          <a:xfrm>
            <a:off x="3063987" y="3014549"/>
            <a:ext cx="2430240" cy="19715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750"/>
              <a:t>Ad Hoc/Buffer</a:t>
            </a:r>
          </a:p>
        </p:txBody>
      </p:sp>
      <p:sp>
        <p:nvSpPr>
          <p:cNvPr id="19" name="Rectangle 18">
            <a:extLst>
              <a:ext uri="{FF2B5EF4-FFF2-40B4-BE49-F238E27FC236}">
                <a16:creationId xmlns:a16="http://schemas.microsoft.com/office/drawing/2014/main" id="{9ECC54CD-CB97-4A26-A8DC-BD7CEF7F1BDD}"/>
              </a:ext>
            </a:extLst>
          </p:cNvPr>
          <p:cNvSpPr/>
          <p:nvPr/>
        </p:nvSpPr>
        <p:spPr>
          <a:xfrm>
            <a:off x="5494227" y="2101076"/>
            <a:ext cx="3646283" cy="24622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pic>
        <p:nvPicPr>
          <p:cNvPr id="20" name="Picture 19" descr="A picture containing drawing&#10;&#10;Description automatically generated">
            <a:extLst>
              <a:ext uri="{FF2B5EF4-FFF2-40B4-BE49-F238E27FC236}">
                <a16:creationId xmlns:a16="http://schemas.microsoft.com/office/drawing/2014/main" id="{85051F59-FC07-43AE-B3CB-EC654C082D9F}"/>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417890" y="2458389"/>
            <a:ext cx="321469" cy="445068"/>
          </a:xfrm>
          <a:prstGeom prst="rect">
            <a:avLst/>
          </a:prstGeom>
        </p:spPr>
      </p:pic>
      <p:sp>
        <p:nvSpPr>
          <p:cNvPr id="21" name="TextBox 1">
            <a:extLst>
              <a:ext uri="{FF2B5EF4-FFF2-40B4-BE49-F238E27FC236}">
                <a16:creationId xmlns:a16="http://schemas.microsoft.com/office/drawing/2014/main" id="{5A15E8C2-ADA7-4D51-8169-B1D8562A0506}"/>
              </a:ext>
            </a:extLst>
          </p:cNvPr>
          <p:cNvSpPr txBox="1"/>
          <p:nvPr/>
        </p:nvSpPr>
        <p:spPr>
          <a:xfrm>
            <a:off x="7979631" y="2946378"/>
            <a:ext cx="1197986"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a:t>AO Gold Code</a:t>
            </a:r>
          </a:p>
        </p:txBody>
      </p:sp>
      <p:pic>
        <p:nvPicPr>
          <p:cNvPr id="22" name="Picture 21" descr="A close up of a sign&#10;&#10;Description automatically generated">
            <a:extLst>
              <a:ext uri="{FF2B5EF4-FFF2-40B4-BE49-F238E27FC236}">
                <a16:creationId xmlns:a16="http://schemas.microsoft.com/office/drawing/2014/main" id="{C4FCB767-A49B-4B98-BE2A-C6DB09ADCD5C}"/>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8417890" y="1342458"/>
            <a:ext cx="319073" cy="319073"/>
          </a:xfrm>
          <a:prstGeom prst="rect">
            <a:avLst/>
          </a:prstGeom>
        </p:spPr>
      </p:pic>
      <p:sp>
        <p:nvSpPr>
          <p:cNvPr id="23" name="TextBox 1">
            <a:extLst>
              <a:ext uri="{FF2B5EF4-FFF2-40B4-BE49-F238E27FC236}">
                <a16:creationId xmlns:a16="http://schemas.microsoft.com/office/drawing/2014/main" id="{3491B407-E753-43FB-86A0-C4E9D6D0FF5F}"/>
              </a:ext>
            </a:extLst>
          </p:cNvPr>
          <p:cNvSpPr txBox="1"/>
          <p:nvPr/>
        </p:nvSpPr>
        <p:spPr>
          <a:xfrm>
            <a:off x="7912283" y="1725276"/>
            <a:ext cx="1197986"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a:t>Test Complete</a:t>
            </a:r>
          </a:p>
        </p:txBody>
      </p:sp>
    </p:spTree>
    <p:extLst>
      <p:ext uri="{BB962C8B-B14F-4D97-AF65-F5344CB8AC3E}">
        <p14:creationId xmlns:p14="http://schemas.microsoft.com/office/powerpoint/2010/main" val="281761221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0E830E-C48D-4391-804F-3D2C3464F8F1}"/>
              </a:ext>
            </a:extLst>
          </p:cNvPr>
          <p:cNvPicPr>
            <a:picLocks noChangeAspect="1"/>
          </p:cNvPicPr>
          <p:nvPr/>
        </p:nvPicPr>
        <p:blipFill>
          <a:blip r:embed="rId2"/>
          <a:stretch>
            <a:fillRect/>
          </a:stretch>
        </p:blipFill>
        <p:spPr>
          <a:xfrm>
            <a:off x="1410368" y="0"/>
            <a:ext cx="9371263" cy="6858000"/>
          </a:xfrm>
          <a:prstGeom prst="rect">
            <a:avLst/>
          </a:prstGeom>
        </p:spPr>
      </p:pic>
      <p:sp>
        <p:nvSpPr>
          <p:cNvPr id="3" name="Rectangle 2">
            <a:extLst>
              <a:ext uri="{FF2B5EF4-FFF2-40B4-BE49-F238E27FC236}">
                <a16:creationId xmlns:a16="http://schemas.microsoft.com/office/drawing/2014/main" id="{488EAAD7-0B36-43B5-83C5-47DE9C8C6BDE}"/>
              </a:ext>
            </a:extLst>
          </p:cNvPr>
          <p:cNvSpPr/>
          <p:nvPr/>
        </p:nvSpPr>
        <p:spPr>
          <a:xfrm>
            <a:off x="5497006" y="2825672"/>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sp>
        <p:nvSpPr>
          <p:cNvPr id="4" name="Rectangle 3">
            <a:extLst>
              <a:ext uri="{FF2B5EF4-FFF2-40B4-BE49-F238E27FC236}">
                <a16:creationId xmlns:a16="http://schemas.microsoft.com/office/drawing/2014/main" id="{5E2E357F-1971-4DDD-8A53-A4C3284E45C8}"/>
              </a:ext>
            </a:extLst>
          </p:cNvPr>
          <p:cNvSpPr/>
          <p:nvPr/>
        </p:nvSpPr>
        <p:spPr>
          <a:xfrm>
            <a:off x="5497006" y="5537341"/>
            <a:ext cx="1197986" cy="19715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USI – Holiday</a:t>
            </a:r>
          </a:p>
        </p:txBody>
      </p:sp>
      <p:sp>
        <p:nvSpPr>
          <p:cNvPr id="5" name="Rectangle 4">
            <a:extLst>
              <a:ext uri="{FF2B5EF4-FFF2-40B4-BE49-F238E27FC236}">
                <a16:creationId xmlns:a16="http://schemas.microsoft.com/office/drawing/2014/main" id="{514F9532-966E-4EF4-8DB3-0F5A3DB4B831}"/>
              </a:ext>
            </a:extLst>
          </p:cNvPr>
          <p:cNvSpPr/>
          <p:nvPr/>
        </p:nvSpPr>
        <p:spPr>
          <a:xfrm>
            <a:off x="5497006" y="4650928"/>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08 - 2</a:t>
            </a:r>
          </a:p>
        </p:txBody>
      </p:sp>
    </p:spTree>
    <p:extLst>
      <p:ext uri="{BB962C8B-B14F-4D97-AF65-F5344CB8AC3E}">
        <p14:creationId xmlns:p14="http://schemas.microsoft.com/office/powerpoint/2010/main" val="313821740"/>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D8D8D3B-130E-4FC4-B8CE-AEBA880F7588}"/>
              </a:ext>
            </a:extLst>
          </p:cNvPr>
          <p:cNvPicPr>
            <a:picLocks noChangeAspect="1"/>
          </p:cNvPicPr>
          <p:nvPr/>
        </p:nvPicPr>
        <p:blipFill>
          <a:blip r:embed="rId2"/>
          <a:stretch>
            <a:fillRect/>
          </a:stretch>
        </p:blipFill>
        <p:spPr>
          <a:xfrm>
            <a:off x="1436418" y="0"/>
            <a:ext cx="9319164" cy="6858000"/>
          </a:xfrm>
          <a:prstGeom prst="rect">
            <a:avLst/>
          </a:prstGeom>
        </p:spPr>
      </p:pic>
      <p:sp>
        <p:nvSpPr>
          <p:cNvPr id="6" name="Rectangle 5">
            <a:extLst>
              <a:ext uri="{FF2B5EF4-FFF2-40B4-BE49-F238E27FC236}">
                <a16:creationId xmlns:a16="http://schemas.microsoft.com/office/drawing/2014/main" id="{456126EA-CC3D-4E3C-AF6B-0A55027D4C47}"/>
              </a:ext>
            </a:extLst>
          </p:cNvPr>
          <p:cNvSpPr/>
          <p:nvPr/>
        </p:nvSpPr>
        <p:spPr>
          <a:xfrm>
            <a:off x="6693254" y="5290909"/>
            <a:ext cx="2450745" cy="244366"/>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 Holiday</a:t>
            </a:r>
          </a:p>
        </p:txBody>
      </p:sp>
      <p:sp>
        <p:nvSpPr>
          <p:cNvPr id="7" name="Rectangle 6">
            <a:extLst>
              <a:ext uri="{FF2B5EF4-FFF2-40B4-BE49-F238E27FC236}">
                <a16:creationId xmlns:a16="http://schemas.microsoft.com/office/drawing/2014/main" id="{935635B7-6CE1-4C33-8929-83077059309A}"/>
              </a:ext>
            </a:extLst>
          </p:cNvPr>
          <p:cNvSpPr/>
          <p:nvPr/>
        </p:nvSpPr>
        <p:spPr>
          <a:xfrm>
            <a:off x="5468204" y="3181582"/>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09 - 3</a:t>
            </a:r>
          </a:p>
        </p:txBody>
      </p:sp>
      <p:sp>
        <p:nvSpPr>
          <p:cNvPr id="8" name="Rectangle 7">
            <a:extLst>
              <a:ext uri="{FF2B5EF4-FFF2-40B4-BE49-F238E27FC236}">
                <a16:creationId xmlns:a16="http://schemas.microsoft.com/office/drawing/2014/main" id="{C3A72751-FA12-4930-A1A4-6BBB82C0545E}"/>
              </a:ext>
            </a:extLst>
          </p:cNvPr>
          <p:cNvSpPr/>
          <p:nvPr/>
        </p:nvSpPr>
        <p:spPr>
          <a:xfrm>
            <a:off x="5468204" y="6273054"/>
            <a:ext cx="1197986" cy="301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10 – 4 -1/2 Testing</a:t>
            </a:r>
          </a:p>
        </p:txBody>
      </p:sp>
    </p:spTree>
    <p:extLst>
      <p:ext uri="{BB962C8B-B14F-4D97-AF65-F5344CB8AC3E}">
        <p14:creationId xmlns:p14="http://schemas.microsoft.com/office/powerpoint/2010/main" val="3320310001"/>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DBCDB5-22F6-4CF0-8DA8-0C1C9D0247ED}"/>
              </a:ext>
            </a:extLst>
          </p:cNvPr>
          <p:cNvPicPr>
            <a:picLocks noChangeAspect="1"/>
          </p:cNvPicPr>
          <p:nvPr/>
        </p:nvPicPr>
        <p:blipFill>
          <a:blip r:embed="rId2"/>
          <a:stretch>
            <a:fillRect/>
          </a:stretch>
        </p:blipFill>
        <p:spPr>
          <a:xfrm>
            <a:off x="1435223" y="0"/>
            <a:ext cx="9321553" cy="6858000"/>
          </a:xfrm>
          <a:prstGeom prst="rect">
            <a:avLst/>
          </a:prstGeom>
        </p:spPr>
      </p:pic>
      <p:sp>
        <p:nvSpPr>
          <p:cNvPr id="3" name="Rectangle 2">
            <a:extLst>
              <a:ext uri="{FF2B5EF4-FFF2-40B4-BE49-F238E27FC236}">
                <a16:creationId xmlns:a16="http://schemas.microsoft.com/office/drawing/2014/main" id="{69B0CC92-F59F-46C6-85A6-7CD52A677C3A}"/>
              </a:ext>
            </a:extLst>
          </p:cNvPr>
          <p:cNvSpPr/>
          <p:nvPr/>
        </p:nvSpPr>
        <p:spPr>
          <a:xfrm>
            <a:off x="3058510" y="6381881"/>
            <a:ext cx="6066571" cy="205054"/>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USI - Holiday</a:t>
            </a:r>
          </a:p>
        </p:txBody>
      </p:sp>
      <p:sp>
        <p:nvSpPr>
          <p:cNvPr id="4" name="Rectangle 3">
            <a:extLst>
              <a:ext uri="{FF2B5EF4-FFF2-40B4-BE49-F238E27FC236}">
                <a16:creationId xmlns:a16="http://schemas.microsoft.com/office/drawing/2014/main" id="{FADDB5FE-B99F-460F-A35E-8919A5DC1AB5}"/>
              </a:ext>
            </a:extLst>
          </p:cNvPr>
          <p:cNvSpPr/>
          <p:nvPr/>
        </p:nvSpPr>
        <p:spPr>
          <a:xfrm>
            <a:off x="5492802" y="5344611"/>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11 - 5</a:t>
            </a:r>
          </a:p>
        </p:txBody>
      </p:sp>
      <p:sp>
        <p:nvSpPr>
          <p:cNvPr id="6" name="TextBox 5">
            <a:extLst>
              <a:ext uri="{FF2B5EF4-FFF2-40B4-BE49-F238E27FC236}">
                <a16:creationId xmlns:a16="http://schemas.microsoft.com/office/drawing/2014/main" id="{029848B4-79FA-4ACB-9BB2-4A628580216F}"/>
              </a:ext>
            </a:extLst>
          </p:cNvPr>
          <p:cNvSpPr txBox="1"/>
          <p:nvPr/>
        </p:nvSpPr>
        <p:spPr>
          <a:xfrm>
            <a:off x="7927095" y="5098390"/>
            <a:ext cx="1197986" cy="246221"/>
          </a:xfrm>
          <a:prstGeom prst="rect">
            <a:avLst/>
          </a:prstGeom>
          <a:noFill/>
        </p:spPr>
        <p:txBody>
          <a:bodyPr wrap="square" rtlCol="0">
            <a:spAutoFit/>
          </a:bodyPr>
          <a:lstStyle/>
          <a:p>
            <a:pPr algn="ctr"/>
            <a:r>
              <a:rPr lang="en-US" sz="1000"/>
              <a:t>AO Code Freeze</a:t>
            </a:r>
          </a:p>
        </p:txBody>
      </p:sp>
      <p:sp>
        <p:nvSpPr>
          <p:cNvPr id="7" name="Rectangle 6">
            <a:extLst>
              <a:ext uri="{FF2B5EF4-FFF2-40B4-BE49-F238E27FC236}">
                <a16:creationId xmlns:a16="http://schemas.microsoft.com/office/drawing/2014/main" id="{1DD3605E-6B03-404C-9693-E6C150FC53D0}"/>
              </a:ext>
            </a:extLst>
          </p:cNvPr>
          <p:cNvSpPr/>
          <p:nvPr/>
        </p:nvSpPr>
        <p:spPr>
          <a:xfrm>
            <a:off x="3058510" y="4237931"/>
            <a:ext cx="6066571" cy="23867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Mid Release Testing</a:t>
            </a:r>
          </a:p>
        </p:txBody>
      </p:sp>
      <p:sp>
        <p:nvSpPr>
          <p:cNvPr id="8" name="Rectangle 7">
            <a:extLst>
              <a:ext uri="{FF2B5EF4-FFF2-40B4-BE49-F238E27FC236}">
                <a16:creationId xmlns:a16="http://schemas.microsoft.com/office/drawing/2014/main" id="{5A70DF54-1B0F-44A3-B7AA-96D6B69E879F}"/>
              </a:ext>
            </a:extLst>
          </p:cNvPr>
          <p:cNvSpPr/>
          <p:nvPr/>
        </p:nvSpPr>
        <p:spPr>
          <a:xfrm>
            <a:off x="3058510" y="5316723"/>
            <a:ext cx="2434292" cy="21747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Mid Release Testing</a:t>
            </a:r>
          </a:p>
        </p:txBody>
      </p:sp>
    </p:spTree>
    <p:extLst>
      <p:ext uri="{BB962C8B-B14F-4D97-AF65-F5344CB8AC3E}">
        <p14:creationId xmlns:p14="http://schemas.microsoft.com/office/powerpoint/2010/main" val="308761935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E2AC6-5687-4609-B4FD-AAF939B79D64}"/>
              </a:ext>
            </a:extLst>
          </p:cNvPr>
          <p:cNvPicPr>
            <a:picLocks noChangeAspect="1"/>
          </p:cNvPicPr>
          <p:nvPr/>
        </p:nvPicPr>
        <p:blipFill>
          <a:blip r:embed="rId2"/>
          <a:stretch>
            <a:fillRect/>
          </a:stretch>
        </p:blipFill>
        <p:spPr>
          <a:xfrm>
            <a:off x="847165" y="196201"/>
            <a:ext cx="9446559" cy="6661799"/>
          </a:xfrm>
          <a:prstGeom prst="rect">
            <a:avLst/>
          </a:prstGeom>
        </p:spPr>
      </p:pic>
      <p:sp>
        <p:nvSpPr>
          <p:cNvPr id="3" name="Rectangle 2">
            <a:extLst>
              <a:ext uri="{FF2B5EF4-FFF2-40B4-BE49-F238E27FC236}">
                <a16:creationId xmlns:a16="http://schemas.microsoft.com/office/drawing/2014/main" id="{A8F49547-8D0D-4668-9424-55B2392CE5D8}"/>
              </a:ext>
            </a:extLst>
          </p:cNvPr>
          <p:cNvSpPr/>
          <p:nvPr/>
        </p:nvSpPr>
        <p:spPr>
          <a:xfrm>
            <a:off x="5015752" y="3172387"/>
            <a:ext cx="1231282" cy="2100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12 - 6</a:t>
            </a:r>
            <a:endParaRPr lang="en-US" sz="900">
              <a:cs typeface="Calibri"/>
            </a:endParaRPr>
          </a:p>
        </p:txBody>
      </p:sp>
      <p:sp>
        <p:nvSpPr>
          <p:cNvPr id="10" name="Rectangle 9">
            <a:extLst>
              <a:ext uri="{FF2B5EF4-FFF2-40B4-BE49-F238E27FC236}">
                <a16:creationId xmlns:a16="http://schemas.microsoft.com/office/drawing/2014/main" id="{48141574-5D5E-4CB3-982F-7EF694E90538}"/>
              </a:ext>
            </a:extLst>
          </p:cNvPr>
          <p:cNvSpPr/>
          <p:nvPr/>
        </p:nvSpPr>
        <p:spPr>
          <a:xfrm>
            <a:off x="2536016" y="3759887"/>
            <a:ext cx="1228256" cy="236401"/>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US Holiday</a:t>
            </a:r>
          </a:p>
        </p:txBody>
      </p:sp>
    </p:spTree>
    <p:extLst>
      <p:ext uri="{BB962C8B-B14F-4D97-AF65-F5344CB8AC3E}">
        <p14:creationId xmlns:p14="http://schemas.microsoft.com/office/powerpoint/2010/main" val="420175137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7E32C0-314E-4F87-800D-912FD36767C2}"/>
              </a:ext>
            </a:extLst>
          </p:cNvPr>
          <p:cNvPicPr>
            <a:picLocks noChangeAspect="1"/>
          </p:cNvPicPr>
          <p:nvPr/>
        </p:nvPicPr>
        <p:blipFill>
          <a:blip r:embed="rId2"/>
          <a:stretch>
            <a:fillRect/>
          </a:stretch>
        </p:blipFill>
        <p:spPr>
          <a:xfrm>
            <a:off x="637082" y="465852"/>
            <a:ext cx="9541478" cy="5926296"/>
          </a:xfrm>
          <a:prstGeom prst="rect">
            <a:avLst/>
          </a:prstGeom>
        </p:spPr>
      </p:pic>
      <p:sp>
        <p:nvSpPr>
          <p:cNvPr id="3" name="Rectangle 2">
            <a:extLst>
              <a:ext uri="{FF2B5EF4-FFF2-40B4-BE49-F238E27FC236}">
                <a16:creationId xmlns:a16="http://schemas.microsoft.com/office/drawing/2014/main" id="{9039B934-0839-4D1B-B3AF-7CDF3262E309}"/>
              </a:ext>
            </a:extLst>
          </p:cNvPr>
          <p:cNvSpPr/>
          <p:nvPr/>
        </p:nvSpPr>
        <p:spPr>
          <a:xfrm>
            <a:off x="4814973" y="2144868"/>
            <a:ext cx="1191841" cy="3016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13 –7-½- Testing</a:t>
            </a:r>
          </a:p>
        </p:txBody>
      </p:sp>
      <p:sp>
        <p:nvSpPr>
          <p:cNvPr id="4" name="Rectangle 3">
            <a:extLst>
              <a:ext uri="{FF2B5EF4-FFF2-40B4-BE49-F238E27FC236}">
                <a16:creationId xmlns:a16="http://schemas.microsoft.com/office/drawing/2014/main" id="{37A7DF91-71E9-4769-9923-C926F4A66687}"/>
              </a:ext>
            </a:extLst>
          </p:cNvPr>
          <p:cNvSpPr/>
          <p:nvPr/>
        </p:nvSpPr>
        <p:spPr>
          <a:xfrm>
            <a:off x="4808828" y="4911020"/>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14 - Testing</a:t>
            </a:r>
          </a:p>
        </p:txBody>
      </p:sp>
      <p:sp>
        <p:nvSpPr>
          <p:cNvPr id="7" name="TextBox 6">
            <a:extLst>
              <a:ext uri="{FF2B5EF4-FFF2-40B4-BE49-F238E27FC236}">
                <a16:creationId xmlns:a16="http://schemas.microsoft.com/office/drawing/2014/main" id="{F2EF295B-784A-4E61-B5BA-6841ACCEFC0B}"/>
              </a:ext>
            </a:extLst>
          </p:cNvPr>
          <p:cNvSpPr txBox="1"/>
          <p:nvPr/>
        </p:nvSpPr>
        <p:spPr>
          <a:xfrm>
            <a:off x="4808828" y="4631479"/>
            <a:ext cx="1197986" cy="246221"/>
          </a:xfrm>
          <a:prstGeom prst="rect">
            <a:avLst/>
          </a:prstGeom>
          <a:noFill/>
        </p:spPr>
        <p:txBody>
          <a:bodyPr wrap="square" lIns="91440" tIns="45720" rIns="91440" bIns="45720" rtlCol="0" anchor="t">
            <a:spAutoFit/>
          </a:bodyPr>
          <a:lstStyle/>
          <a:p>
            <a:pPr algn="ctr"/>
            <a:endParaRPr lang="en-US" sz="1000">
              <a:cs typeface="Calibri"/>
            </a:endParaRPr>
          </a:p>
        </p:txBody>
      </p:sp>
      <p:sp>
        <p:nvSpPr>
          <p:cNvPr id="14" name="Rectangle 13">
            <a:extLst>
              <a:ext uri="{FF2B5EF4-FFF2-40B4-BE49-F238E27FC236}">
                <a16:creationId xmlns:a16="http://schemas.microsoft.com/office/drawing/2014/main" id="{E9F00128-3431-4020-95CC-4AC4BD9552D3}"/>
              </a:ext>
            </a:extLst>
          </p:cNvPr>
          <p:cNvSpPr/>
          <p:nvPr/>
        </p:nvSpPr>
        <p:spPr>
          <a:xfrm>
            <a:off x="2270701" y="4648114"/>
            <a:ext cx="6274240" cy="246246"/>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
        <p:nvSpPr>
          <p:cNvPr id="15" name="Rectangle 14">
            <a:extLst>
              <a:ext uri="{FF2B5EF4-FFF2-40B4-BE49-F238E27FC236}">
                <a16:creationId xmlns:a16="http://schemas.microsoft.com/office/drawing/2014/main" id="{D1C0FE03-0FE0-4097-A26F-D9E78434AE96}"/>
              </a:ext>
            </a:extLst>
          </p:cNvPr>
          <p:cNvSpPr/>
          <p:nvPr/>
        </p:nvSpPr>
        <p:spPr>
          <a:xfrm>
            <a:off x="2270701" y="3930771"/>
            <a:ext cx="6274240" cy="246246"/>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
        <p:nvSpPr>
          <p:cNvPr id="16" name="Rectangle 15">
            <a:extLst>
              <a:ext uri="{FF2B5EF4-FFF2-40B4-BE49-F238E27FC236}">
                <a16:creationId xmlns:a16="http://schemas.microsoft.com/office/drawing/2014/main" id="{473F1458-26F2-4759-8EB0-07DB64E8CCD5}"/>
              </a:ext>
            </a:extLst>
          </p:cNvPr>
          <p:cNvSpPr/>
          <p:nvPr/>
        </p:nvSpPr>
        <p:spPr>
          <a:xfrm>
            <a:off x="2318430" y="5747447"/>
            <a:ext cx="3777570" cy="19715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pic>
        <p:nvPicPr>
          <p:cNvPr id="17" name="Picture 16" descr="A close up of a sign&#10;&#10;Description automatically generated">
            <a:extLst>
              <a:ext uri="{FF2B5EF4-FFF2-40B4-BE49-F238E27FC236}">
                <a16:creationId xmlns:a16="http://schemas.microsoft.com/office/drawing/2014/main" id="{313652A6-0007-4F7D-99BF-2427E5EF2D70}"/>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783848" y="2495344"/>
            <a:ext cx="319073" cy="319073"/>
          </a:xfrm>
          <a:prstGeom prst="rect">
            <a:avLst/>
          </a:prstGeom>
        </p:spPr>
      </p:pic>
      <p:sp>
        <p:nvSpPr>
          <p:cNvPr id="18" name="TextBox 17">
            <a:extLst>
              <a:ext uri="{FF2B5EF4-FFF2-40B4-BE49-F238E27FC236}">
                <a16:creationId xmlns:a16="http://schemas.microsoft.com/office/drawing/2014/main" id="{7C8F23E6-9AC9-43B6-9B2E-99278C6E7EF4}"/>
              </a:ext>
            </a:extLst>
          </p:cNvPr>
          <p:cNvSpPr txBox="1"/>
          <p:nvPr/>
        </p:nvSpPr>
        <p:spPr>
          <a:xfrm>
            <a:off x="7401408" y="2871629"/>
            <a:ext cx="1197986" cy="246221"/>
          </a:xfrm>
          <a:prstGeom prst="rect">
            <a:avLst/>
          </a:prstGeom>
          <a:noFill/>
        </p:spPr>
        <p:txBody>
          <a:bodyPr wrap="square" rtlCol="0">
            <a:spAutoFit/>
          </a:bodyPr>
          <a:lstStyle/>
          <a:p>
            <a:pPr algn="ctr"/>
            <a:r>
              <a:rPr lang="en-US" sz="1000"/>
              <a:t>AO Code Freeze</a:t>
            </a:r>
          </a:p>
        </p:txBody>
      </p:sp>
    </p:spTree>
    <p:extLst>
      <p:ext uri="{BB962C8B-B14F-4D97-AF65-F5344CB8AC3E}">
        <p14:creationId xmlns:p14="http://schemas.microsoft.com/office/powerpoint/2010/main" val="201213355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577BFAA-1C75-42F5-9E25-81042189ED60}"/>
              </a:ext>
            </a:extLst>
          </p:cNvPr>
          <p:cNvPicPr>
            <a:picLocks noChangeAspect="1"/>
          </p:cNvPicPr>
          <p:nvPr/>
        </p:nvPicPr>
        <p:blipFill>
          <a:blip r:embed="rId2"/>
          <a:stretch>
            <a:fillRect/>
          </a:stretch>
        </p:blipFill>
        <p:spPr>
          <a:xfrm>
            <a:off x="959371" y="547140"/>
            <a:ext cx="9681040" cy="5988571"/>
          </a:xfrm>
          <a:prstGeom prst="rect">
            <a:avLst/>
          </a:prstGeom>
        </p:spPr>
      </p:pic>
      <p:sp>
        <p:nvSpPr>
          <p:cNvPr id="4" name="Rectangle 3">
            <a:extLst>
              <a:ext uri="{FF2B5EF4-FFF2-40B4-BE49-F238E27FC236}">
                <a16:creationId xmlns:a16="http://schemas.microsoft.com/office/drawing/2014/main" id="{914323B5-F6F8-4D9F-BF0B-F148B1263A7C}"/>
              </a:ext>
            </a:extLst>
          </p:cNvPr>
          <p:cNvSpPr/>
          <p:nvPr/>
        </p:nvSpPr>
        <p:spPr>
          <a:xfrm>
            <a:off x="5165247" y="4050697"/>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15 - IP</a:t>
            </a:r>
          </a:p>
        </p:txBody>
      </p:sp>
      <p:sp>
        <p:nvSpPr>
          <p:cNvPr id="5" name="Rectangle 4">
            <a:extLst>
              <a:ext uri="{FF2B5EF4-FFF2-40B4-BE49-F238E27FC236}">
                <a16:creationId xmlns:a16="http://schemas.microsoft.com/office/drawing/2014/main" id="{BA93DC3B-AB07-4B2F-9CF9-AC9709D262FD}"/>
              </a:ext>
            </a:extLst>
          </p:cNvPr>
          <p:cNvSpPr/>
          <p:nvPr/>
        </p:nvSpPr>
        <p:spPr>
          <a:xfrm>
            <a:off x="3890853" y="5904065"/>
            <a:ext cx="3818075" cy="19715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PI Planning – 10</a:t>
            </a:r>
          </a:p>
        </p:txBody>
      </p:sp>
      <p:pic>
        <p:nvPicPr>
          <p:cNvPr id="6" name="Picture 5" descr="A picture containing drawing, knife&#10;&#10;Description automatically generated">
            <a:extLst>
              <a:ext uri="{FF2B5EF4-FFF2-40B4-BE49-F238E27FC236}">
                <a16:creationId xmlns:a16="http://schemas.microsoft.com/office/drawing/2014/main" id="{B8620A55-E8FB-4DCF-806D-9BD9AA06203E}"/>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357559" y="4346074"/>
            <a:ext cx="414985" cy="414985"/>
          </a:xfrm>
          <a:prstGeom prst="rect">
            <a:avLst/>
          </a:prstGeom>
        </p:spPr>
      </p:pic>
      <p:sp>
        <p:nvSpPr>
          <p:cNvPr id="7" name="TextBox 6">
            <a:extLst>
              <a:ext uri="{FF2B5EF4-FFF2-40B4-BE49-F238E27FC236}">
                <a16:creationId xmlns:a16="http://schemas.microsoft.com/office/drawing/2014/main" id="{F9BA3B02-69F3-4160-BB50-75D4F1CCA8FC}"/>
              </a:ext>
            </a:extLst>
          </p:cNvPr>
          <p:cNvSpPr txBox="1"/>
          <p:nvPr/>
        </p:nvSpPr>
        <p:spPr>
          <a:xfrm>
            <a:off x="9238563" y="4855328"/>
            <a:ext cx="893507"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AO Deploy</a:t>
            </a:r>
            <a:endParaRPr lang="en-US" sz="1000">
              <a:cs typeface="Calibri"/>
            </a:endParaRPr>
          </a:p>
        </p:txBody>
      </p:sp>
      <p:sp>
        <p:nvSpPr>
          <p:cNvPr id="8" name="Rectangle 7">
            <a:extLst>
              <a:ext uri="{FF2B5EF4-FFF2-40B4-BE49-F238E27FC236}">
                <a16:creationId xmlns:a16="http://schemas.microsoft.com/office/drawing/2014/main" id="{DA6D1B2B-C4A8-44CD-AAC9-CF5A3EBC6ECB}"/>
              </a:ext>
            </a:extLst>
          </p:cNvPr>
          <p:cNvSpPr/>
          <p:nvPr/>
        </p:nvSpPr>
        <p:spPr>
          <a:xfrm>
            <a:off x="2654607" y="4977381"/>
            <a:ext cx="6219265" cy="197153"/>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chnical Deployment</a:t>
            </a:r>
          </a:p>
        </p:txBody>
      </p:sp>
      <p:sp>
        <p:nvSpPr>
          <p:cNvPr id="9" name="Rectangle 8">
            <a:extLst>
              <a:ext uri="{FF2B5EF4-FFF2-40B4-BE49-F238E27FC236}">
                <a16:creationId xmlns:a16="http://schemas.microsoft.com/office/drawing/2014/main" id="{0C075904-52ED-44BF-A12C-BFDAF9649E5D}"/>
              </a:ext>
            </a:extLst>
          </p:cNvPr>
          <p:cNvSpPr/>
          <p:nvPr/>
        </p:nvSpPr>
        <p:spPr>
          <a:xfrm>
            <a:off x="2646247" y="4050697"/>
            <a:ext cx="2489211" cy="19715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750"/>
              <a:t>Ad Hoc/Buffer</a:t>
            </a:r>
          </a:p>
        </p:txBody>
      </p:sp>
      <p:pic>
        <p:nvPicPr>
          <p:cNvPr id="10" name="Picture 9" descr="A close up of a sign&#10;&#10;Description automatically generated">
            <a:extLst>
              <a:ext uri="{FF2B5EF4-FFF2-40B4-BE49-F238E27FC236}">
                <a16:creationId xmlns:a16="http://schemas.microsoft.com/office/drawing/2014/main" id="{B45FADD7-2693-4282-B06E-C193604134C4}"/>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086406" y="2495344"/>
            <a:ext cx="319073" cy="319073"/>
          </a:xfrm>
          <a:prstGeom prst="rect">
            <a:avLst/>
          </a:prstGeom>
        </p:spPr>
      </p:pic>
      <p:sp>
        <p:nvSpPr>
          <p:cNvPr id="11" name="TextBox 10">
            <a:extLst>
              <a:ext uri="{FF2B5EF4-FFF2-40B4-BE49-F238E27FC236}">
                <a16:creationId xmlns:a16="http://schemas.microsoft.com/office/drawing/2014/main" id="{8611AB5D-7174-4384-A4EC-13A58C7EE7A0}"/>
              </a:ext>
            </a:extLst>
          </p:cNvPr>
          <p:cNvSpPr txBox="1"/>
          <p:nvPr/>
        </p:nvSpPr>
        <p:spPr>
          <a:xfrm>
            <a:off x="7730861" y="2736998"/>
            <a:ext cx="1197986" cy="246221"/>
          </a:xfrm>
          <a:prstGeom prst="rect">
            <a:avLst/>
          </a:prstGeom>
          <a:noFill/>
        </p:spPr>
        <p:txBody>
          <a:bodyPr wrap="square" rtlCol="0">
            <a:spAutoFit/>
          </a:bodyPr>
          <a:lstStyle/>
          <a:p>
            <a:pPr algn="ctr"/>
            <a:r>
              <a:rPr lang="en-US" sz="1000"/>
              <a:t>Test Complete</a:t>
            </a:r>
          </a:p>
        </p:txBody>
      </p:sp>
      <p:sp>
        <p:nvSpPr>
          <p:cNvPr id="12" name="Rectangle 11">
            <a:extLst>
              <a:ext uri="{FF2B5EF4-FFF2-40B4-BE49-F238E27FC236}">
                <a16:creationId xmlns:a16="http://schemas.microsoft.com/office/drawing/2014/main" id="{81D5E86B-4ED1-4D01-9AA5-692A92947BCB}"/>
              </a:ext>
            </a:extLst>
          </p:cNvPr>
          <p:cNvSpPr/>
          <p:nvPr/>
        </p:nvSpPr>
        <p:spPr>
          <a:xfrm>
            <a:off x="2654607" y="2930414"/>
            <a:ext cx="6274240" cy="246246"/>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
        <p:nvSpPr>
          <p:cNvPr id="13" name="Rectangle 12">
            <a:extLst>
              <a:ext uri="{FF2B5EF4-FFF2-40B4-BE49-F238E27FC236}">
                <a16:creationId xmlns:a16="http://schemas.microsoft.com/office/drawing/2014/main" id="{8C3D4069-CB0F-41A7-924B-FCF9C53BB5F6}"/>
              </a:ext>
            </a:extLst>
          </p:cNvPr>
          <p:cNvSpPr/>
          <p:nvPr/>
        </p:nvSpPr>
        <p:spPr>
          <a:xfrm>
            <a:off x="2666198" y="3176660"/>
            <a:ext cx="6262649" cy="193416"/>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a:t>Final UAT</a:t>
            </a:r>
          </a:p>
        </p:txBody>
      </p:sp>
      <p:pic>
        <p:nvPicPr>
          <p:cNvPr id="15" name="Picture 14" descr="A picture containing drawing&#10;&#10;Description automatically generated">
            <a:extLst>
              <a:ext uri="{FF2B5EF4-FFF2-40B4-BE49-F238E27FC236}">
                <a16:creationId xmlns:a16="http://schemas.microsoft.com/office/drawing/2014/main" id="{E625CD19-3675-42D9-AD71-340AB3C67D6E}"/>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8169119" y="3441273"/>
            <a:ext cx="321469" cy="445068"/>
          </a:xfrm>
          <a:prstGeom prst="rect">
            <a:avLst/>
          </a:prstGeom>
        </p:spPr>
      </p:pic>
      <p:sp>
        <p:nvSpPr>
          <p:cNvPr id="16" name="TextBox 15">
            <a:extLst>
              <a:ext uri="{FF2B5EF4-FFF2-40B4-BE49-F238E27FC236}">
                <a16:creationId xmlns:a16="http://schemas.microsoft.com/office/drawing/2014/main" id="{45372622-E6B9-48A6-9FE2-87E785FBAE41}"/>
              </a:ext>
            </a:extLst>
          </p:cNvPr>
          <p:cNvSpPr txBox="1"/>
          <p:nvPr/>
        </p:nvSpPr>
        <p:spPr>
          <a:xfrm>
            <a:off x="7720375" y="3935452"/>
            <a:ext cx="1197986" cy="246221"/>
          </a:xfrm>
          <a:prstGeom prst="rect">
            <a:avLst/>
          </a:prstGeom>
          <a:noFill/>
        </p:spPr>
        <p:txBody>
          <a:bodyPr wrap="square" rtlCol="0">
            <a:spAutoFit/>
          </a:bodyPr>
          <a:lstStyle/>
          <a:p>
            <a:pPr algn="ctr"/>
            <a:r>
              <a:rPr lang="en-US" sz="1000"/>
              <a:t>AO Gold Code</a:t>
            </a:r>
          </a:p>
        </p:txBody>
      </p:sp>
      <p:sp>
        <p:nvSpPr>
          <p:cNvPr id="17" name="Rectangle 16">
            <a:extLst>
              <a:ext uri="{FF2B5EF4-FFF2-40B4-BE49-F238E27FC236}">
                <a16:creationId xmlns:a16="http://schemas.microsoft.com/office/drawing/2014/main" id="{1EBC6E5D-D0D9-4C3E-8922-B95E98977617}"/>
              </a:ext>
            </a:extLst>
          </p:cNvPr>
          <p:cNvSpPr/>
          <p:nvPr/>
        </p:nvSpPr>
        <p:spPr>
          <a:xfrm>
            <a:off x="6452556" y="2216075"/>
            <a:ext cx="2512744" cy="24613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t>Testing (Regression, China, Backward, Integration, Performance) and Critical Defects</a:t>
            </a:r>
          </a:p>
        </p:txBody>
      </p:sp>
    </p:spTree>
    <p:extLst>
      <p:ext uri="{BB962C8B-B14F-4D97-AF65-F5344CB8AC3E}">
        <p14:creationId xmlns:p14="http://schemas.microsoft.com/office/powerpoint/2010/main" val="3810481690"/>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14323B5-F6F8-4D9F-BF0B-F148B1263A7C}"/>
              </a:ext>
            </a:extLst>
          </p:cNvPr>
          <p:cNvSpPr/>
          <p:nvPr/>
        </p:nvSpPr>
        <p:spPr>
          <a:xfrm>
            <a:off x="5165247" y="4050697"/>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15 - IP</a:t>
            </a:r>
          </a:p>
        </p:txBody>
      </p:sp>
      <p:pic>
        <p:nvPicPr>
          <p:cNvPr id="3" name="Picture 2">
            <a:extLst>
              <a:ext uri="{FF2B5EF4-FFF2-40B4-BE49-F238E27FC236}">
                <a16:creationId xmlns:a16="http://schemas.microsoft.com/office/drawing/2014/main" id="{EBADE2F2-6D0F-484C-9F52-D6C5AA8E9DDA}"/>
              </a:ext>
            </a:extLst>
          </p:cNvPr>
          <p:cNvPicPr>
            <a:picLocks noChangeAspect="1"/>
          </p:cNvPicPr>
          <p:nvPr/>
        </p:nvPicPr>
        <p:blipFill>
          <a:blip r:embed="rId2"/>
          <a:stretch>
            <a:fillRect/>
          </a:stretch>
        </p:blipFill>
        <p:spPr>
          <a:xfrm>
            <a:off x="1342308" y="26894"/>
            <a:ext cx="9507382" cy="6804212"/>
          </a:xfrm>
          <a:prstGeom prst="rect">
            <a:avLst/>
          </a:prstGeom>
        </p:spPr>
      </p:pic>
      <p:pic>
        <p:nvPicPr>
          <p:cNvPr id="6" name="Picture 5" descr="A picture containing food&#10;&#10;Description automatically generated">
            <a:extLst>
              <a:ext uri="{FF2B5EF4-FFF2-40B4-BE49-F238E27FC236}">
                <a16:creationId xmlns:a16="http://schemas.microsoft.com/office/drawing/2014/main" id="{6A88CC34-5CC1-46A8-9B6A-650DEDE83A77}"/>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934960" y="2161873"/>
            <a:ext cx="322079" cy="322079"/>
          </a:xfrm>
          <a:prstGeom prst="rect">
            <a:avLst/>
          </a:prstGeom>
        </p:spPr>
      </p:pic>
      <p:sp>
        <p:nvSpPr>
          <p:cNvPr id="7" name="TextBox 6">
            <a:extLst>
              <a:ext uri="{FF2B5EF4-FFF2-40B4-BE49-F238E27FC236}">
                <a16:creationId xmlns:a16="http://schemas.microsoft.com/office/drawing/2014/main" id="{8EBC64CA-D532-4687-AD82-A335461154C8}"/>
              </a:ext>
            </a:extLst>
          </p:cNvPr>
          <p:cNvSpPr txBox="1"/>
          <p:nvPr/>
        </p:nvSpPr>
        <p:spPr>
          <a:xfrm>
            <a:off x="5810285" y="2483952"/>
            <a:ext cx="893507"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AO Start</a:t>
            </a:r>
            <a:endParaRPr lang="en-US" sz="1000">
              <a:cs typeface="Calibri"/>
            </a:endParaRPr>
          </a:p>
        </p:txBody>
      </p:sp>
      <p:sp>
        <p:nvSpPr>
          <p:cNvPr id="8" name="Rectangle 7">
            <a:extLst>
              <a:ext uri="{FF2B5EF4-FFF2-40B4-BE49-F238E27FC236}">
                <a16:creationId xmlns:a16="http://schemas.microsoft.com/office/drawing/2014/main" id="{0097551E-D2DE-4E4B-8E90-1FC45CA12741}"/>
              </a:ext>
            </a:extLst>
          </p:cNvPr>
          <p:cNvSpPr/>
          <p:nvPr/>
        </p:nvSpPr>
        <p:spPr>
          <a:xfrm>
            <a:off x="5505806" y="2730173"/>
            <a:ext cx="1197986" cy="197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Sprint 116 - 1</a:t>
            </a:r>
          </a:p>
        </p:txBody>
      </p:sp>
    </p:spTree>
    <p:extLst>
      <p:ext uri="{BB962C8B-B14F-4D97-AF65-F5344CB8AC3E}">
        <p14:creationId xmlns:p14="http://schemas.microsoft.com/office/powerpoint/2010/main" val="154800430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6">
            <a:extLst>
              <a:ext uri="{FF2B5EF4-FFF2-40B4-BE49-F238E27FC236}">
                <a16:creationId xmlns:a16="http://schemas.microsoft.com/office/drawing/2014/main" id="{A29AD221-CF2A-4E37-B85D-5E741C5C69E6}"/>
              </a:ext>
            </a:extLst>
          </p:cNvPr>
          <p:cNvSpPr/>
          <p:nvPr/>
        </p:nvSpPr>
        <p:spPr>
          <a:xfrm>
            <a:off x="1352146" y="2530341"/>
            <a:ext cx="2075070" cy="2837714"/>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endParaRPr lang="en-US" sz="100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Dharini Jivrajani (SM)</a:t>
            </a:r>
          </a:p>
          <a:p>
            <a:pPr algn="ctr" defTabSz="457195">
              <a:defRPr/>
            </a:pPr>
            <a:r>
              <a:rPr lang="en-US" sz="1000">
                <a:latin typeface="Open Sans"/>
                <a:ea typeface="Open Sans"/>
                <a:cs typeface="Open Sans"/>
              </a:rPr>
              <a:t>Mamilla Bhavita (PO)</a:t>
            </a:r>
          </a:p>
          <a:p>
            <a:pPr algn="ctr" defTabSz="457195">
              <a:defRPr/>
            </a:pPr>
            <a:r>
              <a:rPr lang="en-US" sz="1000" err="1">
                <a:latin typeface="Open Sans"/>
                <a:ea typeface="Open Sans"/>
                <a:cs typeface="Open Sans"/>
              </a:rPr>
              <a:t>Zois</a:t>
            </a:r>
            <a:r>
              <a:rPr lang="en-US" sz="1000">
                <a:latin typeface="Open Sans"/>
                <a:ea typeface="Open Sans"/>
                <a:cs typeface="Open Sans"/>
              </a:rPr>
              <a:t> </a:t>
            </a:r>
            <a:r>
              <a:rPr lang="en-US" sz="1000" err="1">
                <a:latin typeface="Open Sans"/>
                <a:ea typeface="Open Sans"/>
                <a:cs typeface="Open Sans"/>
              </a:rPr>
              <a:t>Bouikidis</a:t>
            </a:r>
            <a:r>
              <a:rPr lang="en-US" sz="1000">
                <a:latin typeface="Open Sans"/>
                <a:ea typeface="Open Sans"/>
                <a:cs typeface="Open Sans"/>
              </a:rPr>
              <a:t> (PO)</a:t>
            </a:r>
          </a:p>
          <a:p>
            <a:pPr algn="ctr" defTabSz="457195">
              <a:defRPr/>
            </a:pPr>
            <a:endParaRPr lang="en-US" sz="100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Romero, Tatiana (Dev)</a:t>
            </a:r>
          </a:p>
          <a:p>
            <a:pPr algn="ctr" defTabSz="457195">
              <a:defRPr/>
            </a:pPr>
            <a:r>
              <a:rPr lang="en-US" sz="1000">
                <a:latin typeface="Open Sans"/>
                <a:ea typeface="Open Sans"/>
                <a:cs typeface="Open Sans"/>
              </a:rPr>
              <a:t>Jyothi </a:t>
            </a:r>
            <a:r>
              <a:rPr lang="en-US" sz="1000" err="1">
                <a:latin typeface="Open Sans"/>
                <a:ea typeface="Open Sans"/>
                <a:cs typeface="Open Sans"/>
              </a:rPr>
              <a:t>Thammisetty</a:t>
            </a:r>
            <a:r>
              <a:rPr lang="en-US" sz="1000">
                <a:latin typeface="Open Sans"/>
                <a:ea typeface="Open Sans"/>
                <a:cs typeface="Open Sans"/>
              </a:rPr>
              <a:t> (Dev)</a:t>
            </a:r>
          </a:p>
          <a:p>
            <a:pPr algn="ctr" defTabSz="457195">
              <a:defRPr/>
            </a:pPr>
            <a:r>
              <a:rPr lang="en-US" sz="1000">
                <a:latin typeface="Open Sans"/>
                <a:ea typeface="Open Sans"/>
                <a:cs typeface="Open Sans"/>
              </a:rPr>
              <a:t>Prasad Sawant (Dev)</a:t>
            </a:r>
          </a:p>
          <a:p>
            <a:pPr algn="ctr" defTabSz="457195">
              <a:defRPr/>
            </a:pPr>
            <a:r>
              <a:rPr lang="en-US" sz="1000">
                <a:latin typeface="Open Sans"/>
                <a:ea typeface="Open Sans"/>
                <a:cs typeface="Open Sans"/>
              </a:rPr>
              <a:t>Junedh Malek (Dev)</a:t>
            </a:r>
          </a:p>
          <a:p>
            <a:pPr algn="ctr" defTabSz="457195">
              <a:defRPr/>
            </a:pPr>
            <a:r>
              <a:rPr lang="en-US" sz="1000">
                <a:latin typeface="Open Sans"/>
                <a:ea typeface="Open Sans"/>
                <a:cs typeface="Open Sans"/>
              </a:rPr>
              <a:t>Jack Williams(Dev)</a:t>
            </a:r>
          </a:p>
          <a:p>
            <a:pPr algn="ctr" defTabSz="457195">
              <a:defRPr/>
            </a:pPr>
            <a:r>
              <a:rPr lang="en-US" sz="1000">
                <a:latin typeface="Open Sans"/>
                <a:ea typeface="Open Sans"/>
                <a:cs typeface="Open Sans"/>
              </a:rPr>
              <a:t>Daniel Magee(Dev)</a:t>
            </a:r>
          </a:p>
          <a:p>
            <a:pPr algn="ctr" defTabSz="457195">
              <a:defRPr/>
            </a:pPr>
            <a:endParaRPr lang="en-US" sz="1000">
              <a:latin typeface="Open Sans"/>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Rachel Strupinsky (SDET)</a:t>
            </a:r>
          </a:p>
          <a:p>
            <a:pPr algn="ctr" defTabSz="457195">
              <a:defRPr/>
            </a:pPr>
            <a:r>
              <a:rPr lang="en-US" sz="1000" err="1">
                <a:latin typeface="Open Sans"/>
                <a:ea typeface="Open Sans"/>
                <a:cs typeface="Open Sans"/>
              </a:rPr>
              <a:t>Geedha</a:t>
            </a:r>
            <a:r>
              <a:rPr lang="en-US" sz="1000">
                <a:latin typeface="Open Sans"/>
                <a:ea typeface="Open Sans"/>
                <a:cs typeface="Open Sans"/>
              </a:rPr>
              <a:t> </a:t>
            </a:r>
            <a:r>
              <a:rPr lang="en-US" sz="1000" err="1">
                <a:latin typeface="Open Sans"/>
                <a:ea typeface="Open Sans"/>
                <a:cs typeface="Open Sans"/>
              </a:rPr>
              <a:t>Suruliraj</a:t>
            </a:r>
            <a:r>
              <a:rPr lang="en-US" sz="1000">
                <a:latin typeface="Open Sans"/>
                <a:ea typeface="Open Sans"/>
                <a:cs typeface="Open Sans"/>
              </a:rPr>
              <a:t> (SDET)</a:t>
            </a:r>
          </a:p>
          <a:p>
            <a:pPr algn="ctr" defTabSz="457195">
              <a:defRPr/>
            </a:pPr>
            <a:r>
              <a:rPr lang="en-US" altLang="en-US" sz="1000" err="1">
                <a:latin typeface="Open Sans"/>
                <a:ea typeface="Open Sans"/>
                <a:cs typeface="Open Sans"/>
              </a:rPr>
              <a:t>Navya</a:t>
            </a:r>
            <a:r>
              <a:rPr lang="en-US" altLang="en-US" sz="1000">
                <a:latin typeface="Open Sans"/>
                <a:ea typeface="Open Sans"/>
                <a:cs typeface="Open Sans"/>
              </a:rPr>
              <a:t> </a:t>
            </a:r>
            <a:r>
              <a:rPr lang="en-US" altLang="en-US" sz="1000" err="1">
                <a:latin typeface="Open Sans"/>
                <a:ea typeface="Open Sans"/>
                <a:cs typeface="Open Sans"/>
              </a:rPr>
              <a:t>Putumbaka</a:t>
            </a:r>
            <a:r>
              <a:rPr lang="en-US" altLang="en-US" sz="1000">
                <a:latin typeface="Open Sans"/>
                <a:ea typeface="Open Sans"/>
                <a:cs typeface="Open Sans"/>
              </a:rPr>
              <a:t> </a:t>
            </a:r>
            <a:r>
              <a:rPr lang="en-US" sz="1000">
                <a:latin typeface="Open Sans"/>
                <a:ea typeface="Open Sans"/>
                <a:cs typeface="Open Sans"/>
              </a:rPr>
              <a:t> (SDET)</a:t>
            </a:r>
          </a:p>
          <a:p>
            <a:pPr algn="ctr" defTabSz="457195">
              <a:defRPr/>
            </a:pPr>
            <a:r>
              <a:rPr lang="en-US" sz="1000" err="1">
                <a:latin typeface="Open Sans"/>
                <a:ea typeface="Open Sans"/>
                <a:cs typeface="Open Sans"/>
              </a:rPr>
              <a:t>Srijana</a:t>
            </a:r>
            <a:r>
              <a:rPr lang="en-US" sz="1000">
                <a:latin typeface="Open Sans"/>
                <a:ea typeface="Open Sans"/>
                <a:cs typeface="Open Sans"/>
              </a:rPr>
              <a:t> T(SDET)</a:t>
            </a:r>
          </a:p>
          <a:p>
            <a:pPr algn="ctr" defTabSz="457195">
              <a:defRPr/>
            </a:pPr>
            <a:endParaRPr lang="en-US" sz="100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Rounded Rectangle 7">
            <a:extLst>
              <a:ext uri="{FF2B5EF4-FFF2-40B4-BE49-F238E27FC236}">
                <a16:creationId xmlns:a16="http://schemas.microsoft.com/office/drawing/2014/main" id="{2B44DC9A-1DE4-4B24-8493-D9073A6B5DAE}"/>
              </a:ext>
            </a:extLst>
          </p:cNvPr>
          <p:cNvSpPr/>
          <p:nvPr/>
        </p:nvSpPr>
        <p:spPr>
          <a:xfrm>
            <a:off x="8240192" y="2551515"/>
            <a:ext cx="2111356" cy="2777696"/>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endParaRPr lang="en-US" sz="1000">
              <a:solidFill>
                <a:schemeClr val="tx1"/>
              </a:solidFill>
              <a:highlight>
                <a:srgbClr val="FFFF00"/>
              </a:highlight>
              <a:latin typeface="Open Sans"/>
              <a:ea typeface="Open Sans" panose="020B0606030504020204" pitchFamily="34" charset="0"/>
              <a:cs typeface="Open Sans" panose="020B0606030504020204" pitchFamily="34" charset="0"/>
            </a:endParaRPr>
          </a:p>
          <a:p>
            <a:pPr algn="ctr" defTabSz="457195">
              <a:defRPr/>
            </a:pPr>
            <a:endParaRPr lang="en-US" sz="1000">
              <a:solidFill>
                <a:schemeClr val="bg1"/>
              </a:solidFill>
              <a:latin typeface="Open Sans"/>
              <a:ea typeface="Open Sans"/>
              <a:cs typeface="Open Sans"/>
            </a:endParaRPr>
          </a:p>
          <a:p>
            <a:pPr algn="ctr" defTabSz="457195">
              <a:defRPr/>
            </a:pPr>
            <a:endParaRPr lang="en-US" sz="1000">
              <a:solidFill>
                <a:schemeClr val="bg1"/>
              </a:solidFill>
              <a:latin typeface="Open Sans"/>
              <a:ea typeface="Open Sans"/>
              <a:cs typeface="Open Sans"/>
            </a:endParaRPr>
          </a:p>
          <a:p>
            <a:pPr algn="ctr" defTabSz="457195">
              <a:defRPr/>
            </a:pPr>
            <a:endParaRPr lang="en-US" sz="1000">
              <a:solidFill>
                <a:srgbClr val="FFFF00"/>
              </a:solidFill>
              <a:latin typeface="Open Sans"/>
              <a:ea typeface="Open Sans"/>
              <a:cs typeface="Open Sans"/>
            </a:endParaRPr>
          </a:p>
          <a:p>
            <a:pPr algn="ctr" defTabSz="457195">
              <a:defRPr/>
            </a:pPr>
            <a:r>
              <a:rPr lang="en-US" sz="1000">
                <a:solidFill>
                  <a:schemeClr val="accent3">
                    <a:lumMod val="20000"/>
                    <a:lumOff val="80000"/>
                  </a:schemeClr>
                </a:solidFill>
                <a:latin typeface="Open Sans"/>
                <a:ea typeface="Open Sans"/>
                <a:cs typeface="Open Sans"/>
              </a:rPr>
              <a:t>Padmini Swarna(SM)</a:t>
            </a:r>
            <a:endParaRPr lang="en-US">
              <a:solidFill>
                <a:schemeClr val="accent3">
                  <a:lumMod val="20000"/>
                  <a:lumOff val="80000"/>
                </a:schemeClr>
              </a:solidFill>
              <a:ea typeface="Open Sans"/>
              <a:cs typeface="Open Sans"/>
            </a:endParaRPr>
          </a:p>
          <a:p>
            <a:pPr algn="ctr" defTabSz="457195">
              <a:defRPr/>
            </a:pPr>
            <a:r>
              <a:rPr lang="en-US" sz="1000">
                <a:latin typeface="Open Sans"/>
                <a:ea typeface="Open Sans"/>
                <a:cs typeface="Open Sans"/>
              </a:rPr>
              <a:t>Manohar </a:t>
            </a:r>
            <a:r>
              <a:rPr lang="en-US" sz="1000" err="1">
                <a:latin typeface="Open Sans"/>
                <a:ea typeface="Open Sans"/>
                <a:cs typeface="Open Sans"/>
              </a:rPr>
              <a:t>Pichike</a:t>
            </a:r>
            <a:r>
              <a:rPr lang="en-US" sz="1000">
                <a:latin typeface="Open Sans"/>
                <a:ea typeface="Open Sans"/>
                <a:cs typeface="Open Sans"/>
              </a:rPr>
              <a:t> (PO)</a:t>
            </a:r>
          </a:p>
          <a:p>
            <a:pPr algn="ctr" defTabSz="457195">
              <a:defRPr/>
            </a:pPr>
            <a:r>
              <a:rPr lang="en-US" sz="1000">
                <a:latin typeface="Open Sans"/>
                <a:ea typeface="Open Sans"/>
                <a:cs typeface="Open Sans"/>
              </a:rPr>
              <a:t>Bornita Ganguli (PO)</a:t>
            </a: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solidFill>
                  <a:schemeClr val="accent3">
                    <a:lumMod val="20000"/>
                    <a:lumOff val="80000"/>
                  </a:schemeClr>
                </a:solidFill>
                <a:latin typeface="Open Sans"/>
                <a:ea typeface="Open Sans"/>
                <a:cs typeface="Open Sans"/>
              </a:rPr>
              <a:t>Sathish </a:t>
            </a:r>
            <a:r>
              <a:rPr lang="en-US" sz="1000" err="1">
                <a:solidFill>
                  <a:schemeClr val="accent3">
                    <a:lumMod val="20000"/>
                    <a:lumOff val="80000"/>
                  </a:schemeClr>
                </a:solidFill>
                <a:latin typeface="Open Sans"/>
                <a:ea typeface="Open Sans"/>
                <a:cs typeface="Open Sans"/>
              </a:rPr>
              <a:t>Tatikonda</a:t>
            </a:r>
            <a:r>
              <a:rPr lang="en-US" sz="1000">
                <a:solidFill>
                  <a:schemeClr val="accent3">
                    <a:lumMod val="20000"/>
                    <a:lumOff val="80000"/>
                  </a:schemeClr>
                </a:solidFill>
                <a:latin typeface="Open Sans"/>
                <a:ea typeface="Open Sans"/>
                <a:cs typeface="Open Sans"/>
              </a:rPr>
              <a:t>(Dev Lead)</a:t>
            </a:r>
            <a:endParaRPr lang="en-US">
              <a:solidFill>
                <a:schemeClr val="accent3">
                  <a:lumMod val="20000"/>
                  <a:lumOff val="80000"/>
                </a:schemeClr>
              </a:solidFill>
              <a:cs typeface="Calibri"/>
            </a:endParaRPr>
          </a:p>
          <a:p>
            <a:pPr algn="ctr" defTabSz="457195">
              <a:defRPr/>
            </a:pPr>
            <a:r>
              <a:rPr lang="en-US" sz="1000">
                <a:latin typeface="Open Sans"/>
                <a:ea typeface="Open Sans"/>
                <a:cs typeface="Open Sans"/>
              </a:rPr>
              <a:t>Sahithi, </a:t>
            </a:r>
            <a:r>
              <a:rPr lang="en-US" sz="1000" err="1">
                <a:latin typeface="Open Sans"/>
                <a:ea typeface="Open Sans"/>
                <a:cs typeface="Open Sans"/>
              </a:rPr>
              <a:t>Kesarapu</a:t>
            </a:r>
            <a:r>
              <a:rPr lang="en-US" sz="1000">
                <a:latin typeface="Open Sans"/>
                <a:ea typeface="Open Sans"/>
                <a:cs typeface="Open Sans"/>
              </a:rPr>
              <a:t> (Dev)</a:t>
            </a:r>
          </a:p>
          <a:p>
            <a:pPr algn="ctr" defTabSz="457195">
              <a:defRPr/>
            </a:pPr>
            <a:r>
              <a:rPr lang="en-US" sz="1000">
                <a:latin typeface="Open Sans"/>
                <a:ea typeface="Open Sans"/>
                <a:cs typeface="Open Sans"/>
              </a:rPr>
              <a:t>Vaisakh Chandran (Dev)</a:t>
            </a:r>
          </a:p>
          <a:p>
            <a:pPr algn="ctr" defTabSz="457195">
              <a:defRPr/>
            </a:pPr>
            <a:r>
              <a:rPr lang="en-US" sz="1000">
                <a:latin typeface="Open Sans"/>
                <a:ea typeface="Open Sans"/>
                <a:cs typeface="Open Sans"/>
              </a:rPr>
              <a:t>Srinivas </a:t>
            </a:r>
            <a:r>
              <a:rPr lang="en-US" sz="1000" err="1">
                <a:latin typeface="Open Sans"/>
                <a:ea typeface="Open Sans"/>
                <a:cs typeface="Open Sans"/>
              </a:rPr>
              <a:t>Gadiboyana</a:t>
            </a:r>
            <a:r>
              <a:rPr lang="en-US" sz="1000">
                <a:latin typeface="Open Sans"/>
                <a:ea typeface="Open Sans"/>
                <a:cs typeface="Open Sans"/>
              </a:rPr>
              <a:t> (Dev)</a:t>
            </a:r>
          </a:p>
          <a:p>
            <a:pPr algn="ctr" defTabSz="457195">
              <a:defRPr/>
            </a:pPr>
            <a:r>
              <a:rPr lang="en-US" sz="1000">
                <a:latin typeface="Open Sans"/>
                <a:ea typeface="Open Sans"/>
                <a:cs typeface="Open Sans"/>
              </a:rPr>
              <a:t>Vyshnavi </a:t>
            </a:r>
            <a:r>
              <a:rPr lang="en-US" sz="1000" err="1">
                <a:latin typeface="Open Sans"/>
                <a:ea typeface="Open Sans"/>
                <a:cs typeface="Open Sans"/>
              </a:rPr>
              <a:t>Yerragunta</a:t>
            </a:r>
            <a:r>
              <a:rPr lang="en-US" sz="1000">
                <a:latin typeface="Open Sans"/>
                <a:ea typeface="Open Sans"/>
                <a:cs typeface="Open Sans"/>
              </a:rPr>
              <a:t>(Dev)</a:t>
            </a:r>
          </a:p>
          <a:p>
            <a:pPr algn="ctr" defTabSz="457195">
              <a:defRPr/>
            </a:pPr>
            <a:r>
              <a:rPr lang="en-US" sz="1000">
                <a:latin typeface="Open Sans"/>
                <a:ea typeface="Open Sans"/>
                <a:cs typeface="Open Sans"/>
              </a:rPr>
              <a:t>Nitin Medapati(Dev)</a:t>
            </a:r>
          </a:p>
          <a:p>
            <a:pPr algn="ctr" defTabSz="457195">
              <a:defRPr/>
            </a:pPr>
            <a:r>
              <a:rPr lang="en-US" sz="1000" err="1">
                <a:latin typeface="Open Sans"/>
                <a:ea typeface="Open Sans"/>
                <a:cs typeface="Open Sans"/>
              </a:rPr>
              <a:t>Debjoti</a:t>
            </a:r>
            <a:r>
              <a:rPr lang="en-US" sz="1000">
                <a:latin typeface="Open Sans"/>
                <a:ea typeface="Open Sans"/>
                <a:cs typeface="Open Sans"/>
              </a:rPr>
              <a:t>(Dev)</a:t>
            </a: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0">
              <a:solidFill>
                <a:srgbClr val="FFFFFF"/>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err="1">
                <a:latin typeface="Open Sans"/>
                <a:ea typeface="Open Sans"/>
                <a:cs typeface="Open Sans"/>
              </a:rPr>
              <a:t>Garugu</a:t>
            </a:r>
            <a:r>
              <a:rPr lang="en-US" sz="1000">
                <a:latin typeface="Open Sans"/>
                <a:ea typeface="Open Sans"/>
                <a:cs typeface="Open Sans"/>
              </a:rPr>
              <a:t> Ramana (QA Lead)</a:t>
            </a:r>
          </a:p>
          <a:p>
            <a:pPr algn="ctr" defTabSz="457195">
              <a:defRPr/>
            </a:pPr>
            <a:r>
              <a:rPr lang="en-US" sz="1000">
                <a:latin typeface="Open Sans"/>
                <a:ea typeface="Open Sans"/>
                <a:cs typeface="Open Sans"/>
              </a:rPr>
              <a:t>Anil Thota  (SDET)</a:t>
            </a:r>
          </a:p>
          <a:p>
            <a:pPr algn="ctr" defTabSz="457195">
              <a:defRPr/>
            </a:pPr>
            <a:r>
              <a:rPr lang="en-US" sz="1000">
                <a:latin typeface="Open Sans"/>
                <a:ea typeface="Open Sans"/>
                <a:cs typeface="Open Sans"/>
              </a:rPr>
              <a:t>Swarna Padmini(SDET)</a:t>
            </a:r>
          </a:p>
          <a:p>
            <a:pPr algn="ctr" defTabSz="457195">
              <a:defRPr/>
            </a:pPr>
            <a:r>
              <a:rPr lang="en-US" sz="1000">
                <a:latin typeface="Open Sans"/>
                <a:ea typeface="Open Sans"/>
                <a:cs typeface="Open Sans"/>
              </a:rPr>
              <a:t>Vasu Shukla (SDET)</a:t>
            </a:r>
          </a:p>
          <a:p>
            <a:pPr algn="ctr" defTabSz="457195">
              <a:defRPr/>
            </a:pPr>
            <a:r>
              <a:rPr lang="en-US" sz="1000">
                <a:solidFill>
                  <a:srgbClr val="FFFF00"/>
                </a:solidFill>
                <a:latin typeface="Open Sans"/>
                <a:ea typeface="Open Sans"/>
                <a:cs typeface="Open Sans"/>
              </a:rPr>
              <a:t>Open Position(SDET)</a:t>
            </a:r>
          </a:p>
          <a:p>
            <a:pPr algn="ctr" defTabSz="457195">
              <a:defRPr/>
            </a:pPr>
            <a:endParaRPr lang="en-US" sz="1000">
              <a:latin typeface="Open Sans"/>
            </a:endParaRP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17" name="Rounded Rectangle 6">
            <a:extLst>
              <a:ext uri="{FF2B5EF4-FFF2-40B4-BE49-F238E27FC236}">
                <a16:creationId xmlns:a16="http://schemas.microsoft.com/office/drawing/2014/main" id="{3FAEEAA9-008B-43F6-BAE2-39F36A6706FE}"/>
              </a:ext>
            </a:extLst>
          </p:cNvPr>
          <p:cNvSpPr/>
          <p:nvPr/>
        </p:nvSpPr>
        <p:spPr>
          <a:xfrm>
            <a:off x="5992276" y="2550132"/>
            <a:ext cx="2075070" cy="2834169"/>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endParaRPr lang="en-US" sz="1000">
              <a:solidFill>
                <a:srgbClr val="FFFF00"/>
              </a:solidFill>
              <a:latin typeface="Open Sans"/>
              <a:ea typeface="Open Sans" panose="020B0606030504020204" pitchFamily="34" charset="0"/>
              <a:cs typeface="Open Sans" panose="020B0606030504020204" pitchFamily="34" charset="0"/>
            </a:endParaRPr>
          </a:p>
          <a:p>
            <a:pPr algn="ctr" defTabSz="457195">
              <a:defRPr/>
            </a:pPr>
            <a:endParaRPr lang="en-US" sz="1000">
              <a:solidFill>
                <a:srgbClr val="FFFF00"/>
              </a:solidFill>
              <a:latin typeface="Open Sans"/>
              <a:ea typeface="Open Sans"/>
              <a:cs typeface="Open Sans"/>
            </a:endParaRPr>
          </a:p>
          <a:p>
            <a:pPr algn="ctr" defTabSz="457195">
              <a:defRPr/>
            </a:pPr>
            <a:r>
              <a:rPr lang="en-US" sz="1000">
                <a:solidFill>
                  <a:schemeClr val="accent3">
                    <a:lumMod val="20000"/>
                    <a:lumOff val="80000"/>
                  </a:schemeClr>
                </a:solidFill>
                <a:latin typeface="Open Sans"/>
                <a:ea typeface="Open Sans"/>
                <a:cs typeface="Open Sans"/>
              </a:rPr>
              <a:t>Padmini Swarna (SM)</a:t>
            </a:r>
            <a:endParaRPr lang="en-US">
              <a:solidFill>
                <a:schemeClr val="accent3">
                  <a:lumMod val="20000"/>
                  <a:lumOff val="80000"/>
                </a:schemeClr>
              </a:solidFill>
              <a:ea typeface="Open Sans"/>
              <a:cs typeface="Open Sans"/>
            </a:endParaRPr>
          </a:p>
          <a:p>
            <a:pPr algn="ctr" defTabSz="457195">
              <a:defRPr/>
            </a:pPr>
            <a:r>
              <a:rPr lang="en-US" sz="1000" err="1">
                <a:latin typeface="Open Sans"/>
              </a:rPr>
              <a:t>Garugu</a:t>
            </a:r>
            <a:r>
              <a:rPr lang="en-US" sz="1000">
                <a:latin typeface="Open Sans"/>
              </a:rPr>
              <a:t> Ramana (PO)</a:t>
            </a:r>
            <a:endParaRPr lang="en-US"/>
          </a:p>
          <a:p>
            <a:pPr algn="ctr" defTabSz="457195">
              <a:defRPr/>
            </a:pPr>
            <a:r>
              <a:rPr lang="en-US" sz="1000">
                <a:latin typeface="Open Sans"/>
              </a:rPr>
              <a:t>John Kuriakose (PO)</a:t>
            </a:r>
            <a:endParaRPr lang="en-US">
              <a:latin typeface="Open Sans"/>
            </a:endParaRPr>
          </a:p>
          <a:p>
            <a:pPr algn="ctr" defTabSz="457195">
              <a:defRPr/>
            </a:pPr>
            <a:endParaRPr lang="en-US" sz="1000" b="1">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solidFill>
                  <a:srgbClr val="FFFF00"/>
                </a:solidFill>
                <a:latin typeface="Open Sans"/>
                <a:ea typeface="Open Sans"/>
                <a:cs typeface="Open Sans"/>
              </a:rPr>
              <a:t>Open Position (Dev Lead)</a:t>
            </a:r>
            <a:endParaRPr lang="en-US"/>
          </a:p>
          <a:p>
            <a:pPr algn="ctr" defTabSz="457195">
              <a:defRPr/>
            </a:pPr>
            <a:r>
              <a:rPr lang="en-US" sz="1000">
                <a:latin typeface="Open Sans"/>
                <a:ea typeface="Open Sans"/>
                <a:cs typeface="Open Sans"/>
              </a:rPr>
              <a:t>Arpit Chandak (Dev)</a:t>
            </a:r>
          </a:p>
          <a:p>
            <a:pPr algn="ctr" defTabSz="457195">
              <a:defRPr/>
            </a:pPr>
            <a:r>
              <a:rPr lang="en-US" sz="1000" err="1">
                <a:latin typeface="Open Sans"/>
                <a:ea typeface="Open Sans"/>
                <a:cs typeface="Open Sans"/>
              </a:rPr>
              <a:t>Mukharjee</a:t>
            </a:r>
            <a:r>
              <a:rPr lang="en-US" sz="1000">
                <a:latin typeface="Open Sans"/>
                <a:ea typeface="Open Sans"/>
                <a:cs typeface="Open Sans"/>
              </a:rPr>
              <a:t> </a:t>
            </a:r>
            <a:r>
              <a:rPr lang="en-US" sz="1000" err="1">
                <a:latin typeface="Open Sans"/>
                <a:ea typeface="Open Sans"/>
                <a:cs typeface="Open Sans"/>
              </a:rPr>
              <a:t>Chippa</a:t>
            </a:r>
            <a:r>
              <a:rPr lang="en-US" sz="1000">
                <a:latin typeface="Open Sans"/>
                <a:ea typeface="Open Sans"/>
                <a:cs typeface="Open Sans"/>
              </a:rPr>
              <a:t>  (Dev)</a:t>
            </a:r>
          </a:p>
          <a:p>
            <a:pPr algn="ctr" defTabSz="457195">
              <a:defRPr/>
            </a:pPr>
            <a:r>
              <a:rPr lang="en-US" sz="1000">
                <a:latin typeface="Open Sans"/>
                <a:ea typeface="Open Sans"/>
                <a:cs typeface="Open Sans"/>
              </a:rPr>
              <a:t>Dilip </a:t>
            </a:r>
            <a:r>
              <a:rPr lang="en-US" sz="1000" err="1">
                <a:latin typeface="Open Sans"/>
                <a:ea typeface="Open Sans"/>
                <a:cs typeface="Open Sans"/>
              </a:rPr>
              <a:t>kumar</a:t>
            </a:r>
            <a:r>
              <a:rPr lang="en-US" sz="1000">
                <a:latin typeface="Open Sans"/>
                <a:ea typeface="Open Sans"/>
                <a:cs typeface="Open Sans"/>
              </a:rPr>
              <a:t> (Dev)</a:t>
            </a:r>
          </a:p>
          <a:p>
            <a:pPr algn="ctr" defTabSz="457195">
              <a:defRPr/>
            </a:pPr>
            <a:r>
              <a:rPr lang="en-US" sz="1000">
                <a:solidFill>
                  <a:srgbClr val="FFFFFF"/>
                </a:solidFill>
                <a:latin typeface="Open Sans"/>
                <a:ea typeface="Open Sans"/>
                <a:cs typeface="Open Sans"/>
              </a:rPr>
              <a:t>Vikash(Dev)</a:t>
            </a:r>
          </a:p>
          <a:p>
            <a:pPr algn="ctr" defTabSz="457195">
              <a:defRPr/>
            </a:pPr>
            <a:r>
              <a:rPr lang="en-US" sz="1000">
                <a:solidFill>
                  <a:srgbClr val="FFFFFF"/>
                </a:solidFill>
                <a:latin typeface="Open Sans"/>
                <a:ea typeface="Open Sans"/>
                <a:cs typeface="Open Sans"/>
              </a:rPr>
              <a:t>Antara </a:t>
            </a:r>
            <a:r>
              <a:rPr lang="en-US" sz="1000" err="1">
                <a:solidFill>
                  <a:srgbClr val="FFFFFF"/>
                </a:solidFill>
                <a:latin typeface="Open Sans"/>
                <a:ea typeface="Open Sans"/>
                <a:cs typeface="Open Sans"/>
              </a:rPr>
              <a:t>Chansakar</a:t>
            </a:r>
            <a:r>
              <a:rPr lang="en-US" sz="1000">
                <a:solidFill>
                  <a:srgbClr val="FFFFFF"/>
                </a:solidFill>
                <a:latin typeface="Open Sans"/>
                <a:ea typeface="Open Sans"/>
                <a:cs typeface="Open Sans"/>
              </a:rPr>
              <a:t>(Dev)</a:t>
            </a:r>
          </a:p>
          <a:p>
            <a:pPr algn="ctr" defTabSz="457195">
              <a:defRPr/>
            </a:pPr>
            <a:r>
              <a:rPr lang="en-US" sz="1000">
                <a:solidFill>
                  <a:schemeClr val="bg1"/>
                </a:solidFill>
                <a:latin typeface="Open Sans"/>
                <a:ea typeface="Open Sans"/>
                <a:cs typeface="Open Sans"/>
              </a:rPr>
              <a:t>Mounika(Dev)</a:t>
            </a:r>
          </a:p>
          <a:p>
            <a:pPr algn="ctr" defTabSz="457195">
              <a:defRPr/>
            </a:pPr>
            <a:r>
              <a:rPr lang="en-US" sz="1000">
                <a:solidFill>
                  <a:schemeClr val="bg1"/>
                </a:solidFill>
                <a:latin typeface="Open Sans"/>
                <a:ea typeface="Open Sans"/>
                <a:cs typeface="Open Sans"/>
              </a:rPr>
              <a:t>Aditya(Dev)</a:t>
            </a:r>
            <a:endParaRPr lang="en-US">
              <a:solidFill>
                <a:schemeClr val="bg1"/>
              </a:solidFill>
              <a:latin typeface="Open Sans"/>
              <a:ea typeface="Open Sans"/>
              <a:cs typeface="Open Sans"/>
            </a:endParaRP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rPr>
              <a:t>Srinivas </a:t>
            </a:r>
            <a:r>
              <a:rPr lang="en-US" sz="1000" err="1">
                <a:latin typeface="Open Sans"/>
              </a:rPr>
              <a:t>Gudur</a:t>
            </a:r>
            <a:r>
              <a:rPr lang="en-US" sz="1000">
                <a:latin typeface="Open Sans"/>
              </a:rPr>
              <a:t> (QA Lead)</a:t>
            </a:r>
            <a:endParaRPr lang="en-US"/>
          </a:p>
          <a:p>
            <a:pPr algn="ctr" defTabSz="457195">
              <a:defRPr/>
            </a:pPr>
            <a:r>
              <a:rPr lang="en-US" sz="1000">
                <a:latin typeface="Open Sans"/>
                <a:ea typeface="Open Sans"/>
                <a:cs typeface="Open Sans"/>
              </a:rPr>
              <a:t>Keerthi Shirisha (SDET)</a:t>
            </a:r>
          </a:p>
          <a:p>
            <a:pPr algn="ctr" defTabSz="457195">
              <a:defRPr/>
            </a:pPr>
            <a:r>
              <a:rPr lang="en-US" sz="1000">
                <a:latin typeface="Open Sans"/>
                <a:ea typeface="Open Sans"/>
                <a:cs typeface="Open Sans"/>
              </a:rPr>
              <a:t>Subba Rao Peram (SDET)</a:t>
            </a:r>
            <a:endParaRPr lang="en-US"/>
          </a:p>
          <a:p>
            <a:pPr algn="ctr" defTabSz="457195">
              <a:defRPr/>
            </a:pPr>
            <a:r>
              <a:rPr lang="en-US" sz="1000" err="1">
                <a:latin typeface="Open Sans"/>
                <a:ea typeface="Open Sans"/>
                <a:cs typeface="Open Sans"/>
              </a:rPr>
              <a:t>Samikshya</a:t>
            </a:r>
            <a:r>
              <a:rPr lang="en-US" sz="1000">
                <a:latin typeface="Open Sans"/>
                <a:ea typeface="Open Sans"/>
                <a:cs typeface="Open Sans"/>
              </a:rPr>
              <a:t> Mishra(SDET)</a:t>
            </a:r>
            <a:endParaRPr lang="en-US"/>
          </a:p>
          <a:p>
            <a:pPr algn="ctr" defTabSz="457195">
              <a:defRPr/>
            </a:pPr>
            <a:endParaRPr lang="en-US" sz="1000">
              <a:latin typeface="Open Sans"/>
            </a:endParaRP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18" name="Rectangle: Rounded Corners 4">
            <a:extLst>
              <a:ext uri="{FF2B5EF4-FFF2-40B4-BE49-F238E27FC236}">
                <a16:creationId xmlns:a16="http://schemas.microsoft.com/office/drawing/2014/main" id="{8004D1AB-63D8-4594-9D2A-CEEFDE0FE440}"/>
              </a:ext>
            </a:extLst>
          </p:cNvPr>
          <p:cNvSpPr/>
          <p:nvPr/>
        </p:nvSpPr>
        <p:spPr bwMode="gray">
          <a:xfrm>
            <a:off x="1343075" y="5586933"/>
            <a:ext cx="9402702" cy="360050"/>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100">
                <a:latin typeface="Open Sans"/>
                <a:ea typeface="Open Sans"/>
                <a:cs typeface="Open Sans"/>
              </a:rPr>
              <a:t>Technical Architects:, Janine Kutas-Hille, Jignesh Patel, Anubha Bhargava, Waseem Nader </a:t>
            </a:r>
          </a:p>
        </p:txBody>
      </p:sp>
      <p:sp>
        <p:nvSpPr>
          <p:cNvPr id="19" name="Rectangle: Rounded Corners 5">
            <a:extLst>
              <a:ext uri="{FF2B5EF4-FFF2-40B4-BE49-F238E27FC236}">
                <a16:creationId xmlns:a16="http://schemas.microsoft.com/office/drawing/2014/main" id="{C4C5D0A2-B40A-42CB-B203-24389B7EA893}"/>
              </a:ext>
            </a:extLst>
          </p:cNvPr>
          <p:cNvSpPr/>
          <p:nvPr/>
        </p:nvSpPr>
        <p:spPr bwMode="gray">
          <a:xfrm>
            <a:off x="1343075" y="6143711"/>
            <a:ext cx="9402702" cy="360049"/>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100">
                <a:latin typeface="Open Sans"/>
                <a:ea typeface="Open Sans"/>
                <a:cs typeface="Open Sans"/>
              </a:rPr>
              <a:t>Dev Ops: Vanessa Minik, Naveen Jaini</a:t>
            </a:r>
          </a:p>
        </p:txBody>
      </p:sp>
      <p:sp>
        <p:nvSpPr>
          <p:cNvPr id="20" name="Rounded Rectangle 9">
            <a:extLst>
              <a:ext uri="{FF2B5EF4-FFF2-40B4-BE49-F238E27FC236}">
                <a16:creationId xmlns:a16="http://schemas.microsoft.com/office/drawing/2014/main" id="{E60C4431-6310-48C0-90BF-6077D322DA98}"/>
              </a:ext>
            </a:extLst>
          </p:cNvPr>
          <p:cNvSpPr/>
          <p:nvPr/>
        </p:nvSpPr>
        <p:spPr>
          <a:xfrm>
            <a:off x="1343075" y="564888"/>
            <a:ext cx="9185364" cy="35644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5">
              <a:defRPr/>
            </a:pPr>
            <a:r>
              <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rPr>
              <a:t>CPO: Arnold Berkhout</a:t>
            </a:r>
          </a:p>
        </p:txBody>
      </p:sp>
      <p:sp>
        <p:nvSpPr>
          <p:cNvPr id="21" name="Rounded Rectangle 10">
            <a:extLst>
              <a:ext uri="{FF2B5EF4-FFF2-40B4-BE49-F238E27FC236}">
                <a16:creationId xmlns:a16="http://schemas.microsoft.com/office/drawing/2014/main" id="{9B2B01B3-4C83-4F0C-8EA4-0561CAA6896A}"/>
              </a:ext>
            </a:extLst>
          </p:cNvPr>
          <p:cNvSpPr/>
          <p:nvPr/>
        </p:nvSpPr>
        <p:spPr>
          <a:xfrm>
            <a:off x="1359569" y="1885943"/>
            <a:ext cx="9168869" cy="346238"/>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5">
              <a:defRPr/>
            </a:pPr>
            <a:r>
              <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rPr>
              <a:t>Product Manager: Lauren Jackman </a:t>
            </a:r>
          </a:p>
        </p:txBody>
      </p:sp>
      <p:sp>
        <p:nvSpPr>
          <p:cNvPr id="22" name="Rounded Rectangle 16">
            <a:extLst>
              <a:ext uri="{FF2B5EF4-FFF2-40B4-BE49-F238E27FC236}">
                <a16:creationId xmlns:a16="http://schemas.microsoft.com/office/drawing/2014/main" id="{DFF8BB62-12B9-49CA-9340-4A09AED59F59}"/>
              </a:ext>
            </a:extLst>
          </p:cNvPr>
          <p:cNvSpPr/>
          <p:nvPr/>
        </p:nvSpPr>
        <p:spPr>
          <a:xfrm>
            <a:off x="1359568" y="1446229"/>
            <a:ext cx="9168870" cy="36005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100">
                <a:latin typeface="Open Sans"/>
                <a:ea typeface="Open Sans"/>
                <a:cs typeface="Open Sans"/>
              </a:rPr>
              <a:t>DL: </a:t>
            </a:r>
            <a:r>
              <a:rPr lang="en-US" sz="1100" err="1">
                <a:latin typeface="Open Sans"/>
                <a:ea typeface="Open Sans"/>
                <a:cs typeface="Open Sans"/>
              </a:rPr>
              <a:t>Mythili</a:t>
            </a:r>
            <a:r>
              <a:rPr lang="en-US" sz="1100">
                <a:latin typeface="Open Sans"/>
                <a:ea typeface="Open Sans"/>
                <a:cs typeface="Open Sans"/>
              </a:rPr>
              <a:t> </a:t>
            </a:r>
            <a:r>
              <a:rPr lang="en-US" sz="1100" err="1">
                <a:latin typeface="Open Sans"/>
                <a:ea typeface="Open Sans"/>
                <a:cs typeface="Open Sans"/>
              </a:rPr>
              <a:t>Pisolkar</a:t>
            </a:r>
            <a:endParaRPr lang="en-US" sz="1100">
              <a:solidFill>
                <a:srgbClr val="FF0000"/>
              </a:solidFill>
              <a:latin typeface="Open Sans"/>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71E14D71-011D-49D6-A9E4-0D70C108270B}"/>
              </a:ext>
            </a:extLst>
          </p:cNvPr>
          <p:cNvSpPr txBox="1"/>
          <p:nvPr/>
        </p:nvSpPr>
        <p:spPr>
          <a:xfrm>
            <a:off x="1540736" y="2292648"/>
            <a:ext cx="1421338" cy="169277"/>
          </a:xfrm>
          <a:prstGeom prst="rect">
            <a:avLst/>
          </a:prstGeom>
          <a:noFill/>
        </p:spPr>
        <p:txBody>
          <a:bodyPr vert="horz" wrap="square" lIns="0" tIns="0" rIns="0" bIns="0" rtlCol="0">
            <a:spAutoFit/>
          </a:bodyPr>
          <a:lstStyle/>
          <a:p>
            <a:pPr algn="ctr" defTabSz="457195">
              <a:spcBef>
                <a:spcPts val="114"/>
              </a:spcBef>
              <a:buSzPct val="100000"/>
              <a:defRPr/>
            </a:pP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Jaguars</a:t>
            </a:r>
          </a:p>
        </p:txBody>
      </p:sp>
      <p:sp>
        <p:nvSpPr>
          <p:cNvPr id="24" name="TextBox 23">
            <a:extLst>
              <a:ext uri="{FF2B5EF4-FFF2-40B4-BE49-F238E27FC236}">
                <a16:creationId xmlns:a16="http://schemas.microsoft.com/office/drawing/2014/main" id="{512881E6-B944-4A38-8901-64A314F798B7}"/>
              </a:ext>
            </a:extLst>
          </p:cNvPr>
          <p:cNvSpPr txBox="1"/>
          <p:nvPr/>
        </p:nvSpPr>
        <p:spPr>
          <a:xfrm>
            <a:off x="6314605" y="2304601"/>
            <a:ext cx="1421338" cy="169277"/>
          </a:xfrm>
          <a:prstGeom prst="rect">
            <a:avLst/>
          </a:prstGeom>
          <a:noFill/>
        </p:spPr>
        <p:txBody>
          <a:bodyPr vert="horz" wrap="square" lIns="0" tIns="0" rIns="0" bIns="0" rtlCol="0">
            <a:spAutoFit/>
          </a:bodyPr>
          <a:lstStyle/>
          <a:p>
            <a:pPr algn="ctr" defTabSz="457195">
              <a:spcBef>
                <a:spcPts val="114"/>
              </a:spcBef>
              <a:buSzPct val="100000"/>
              <a:defRPr/>
            </a:pP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Autocrats</a:t>
            </a:r>
          </a:p>
        </p:txBody>
      </p:sp>
      <p:sp>
        <p:nvSpPr>
          <p:cNvPr id="25" name="TextBox 24">
            <a:extLst>
              <a:ext uri="{FF2B5EF4-FFF2-40B4-BE49-F238E27FC236}">
                <a16:creationId xmlns:a16="http://schemas.microsoft.com/office/drawing/2014/main" id="{56BC1E2B-CCB2-41C4-B6B8-3901EEC79489}"/>
              </a:ext>
            </a:extLst>
          </p:cNvPr>
          <p:cNvSpPr txBox="1"/>
          <p:nvPr/>
        </p:nvSpPr>
        <p:spPr>
          <a:xfrm>
            <a:off x="8494486" y="2310791"/>
            <a:ext cx="1421338" cy="169277"/>
          </a:xfrm>
          <a:prstGeom prst="rect">
            <a:avLst/>
          </a:prstGeom>
          <a:noFill/>
        </p:spPr>
        <p:txBody>
          <a:bodyPr vert="horz" wrap="square" lIns="0" tIns="0" rIns="0" bIns="0" rtlCol="0">
            <a:spAutoFit/>
          </a:bodyPr>
          <a:lstStyle/>
          <a:p>
            <a:pPr algn="ctr" defTabSz="457195">
              <a:spcBef>
                <a:spcPts val="114"/>
              </a:spcBef>
              <a:buSzPct val="100000"/>
              <a:defRPr/>
            </a:pP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Technokats</a:t>
            </a:r>
          </a:p>
        </p:txBody>
      </p:sp>
      <p:sp>
        <p:nvSpPr>
          <p:cNvPr id="26" name="Title 1">
            <a:extLst>
              <a:ext uri="{FF2B5EF4-FFF2-40B4-BE49-F238E27FC236}">
                <a16:creationId xmlns:a16="http://schemas.microsoft.com/office/drawing/2014/main" id="{41EDB400-E2DE-4418-99E9-CCC0F4B9DB01}"/>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panose="020B0606030504020204" pitchFamily="34" charset="0"/>
                <a:ea typeface="Open Sans" panose="020B0606030504020204" pitchFamily="34" charset="0"/>
                <a:cs typeface="Open Sans" panose="020B0606030504020204" pitchFamily="34" charset="0"/>
              </a:rPr>
              <a:t>Audit Online –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Team Structure</a:t>
            </a:r>
          </a:p>
        </p:txBody>
      </p:sp>
      <p:sp>
        <p:nvSpPr>
          <p:cNvPr id="27" name="Rounded Rectangle 6">
            <a:extLst>
              <a:ext uri="{FF2B5EF4-FFF2-40B4-BE49-F238E27FC236}">
                <a16:creationId xmlns:a16="http://schemas.microsoft.com/office/drawing/2014/main" id="{B72FD2EB-16D8-445E-8F7D-2903D36BF110}"/>
              </a:ext>
            </a:extLst>
          </p:cNvPr>
          <p:cNvSpPr/>
          <p:nvPr/>
        </p:nvSpPr>
        <p:spPr>
          <a:xfrm>
            <a:off x="3620002" y="2521268"/>
            <a:ext cx="2079733" cy="2837714"/>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endParaRPr lang="en-US" sz="100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Dharini </a:t>
            </a:r>
            <a:r>
              <a:rPr lang="en-US" sz="1000" err="1">
                <a:latin typeface="Open Sans"/>
                <a:ea typeface="Open Sans"/>
                <a:cs typeface="Open Sans"/>
              </a:rPr>
              <a:t>Jivrajani</a:t>
            </a:r>
            <a:r>
              <a:rPr lang="en-US" sz="1000">
                <a:latin typeface="Open Sans"/>
                <a:ea typeface="Open Sans"/>
                <a:cs typeface="Open Sans"/>
              </a:rPr>
              <a:t> (SM)</a:t>
            </a:r>
          </a:p>
          <a:p>
            <a:pPr algn="ctr" defTabSz="457195">
              <a:defRPr/>
            </a:pPr>
            <a:r>
              <a:rPr lang="en-US" sz="1000">
                <a:latin typeface="Open Sans"/>
                <a:ea typeface="Open Sans"/>
                <a:cs typeface="Open Sans"/>
              </a:rPr>
              <a:t>Mamilla Bhavita (PO)</a:t>
            </a:r>
          </a:p>
          <a:p>
            <a:pPr algn="ctr" defTabSz="457195">
              <a:defRPr/>
            </a:pPr>
            <a:r>
              <a:rPr lang="en-US" sz="1000">
                <a:latin typeface="Open Sans"/>
                <a:ea typeface="Open Sans"/>
                <a:cs typeface="Open Sans"/>
              </a:rPr>
              <a:t>Zois </a:t>
            </a:r>
            <a:r>
              <a:rPr lang="en-US" sz="1000" err="1">
                <a:latin typeface="Open Sans"/>
                <a:ea typeface="Open Sans"/>
                <a:cs typeface="Open Sans"/>
              </a:rPr>
              <a:t>Bouikidis</a:t>
            </a:r>
            <a:r>
              <a:rPr lang="en-US" sz="1000">
                <a:latin typeface="Open Sans"/>
                <a:ea typeface="Open Sans"/>
                <a:cs typeface="Open Sans"/>
              </a:rPr>
              <a:t> (PO)</a:t>
            </a:r>
          </a:p>
          <a:p>
            <a:pPr algn="ctr" defTabSz="457195">
              <a:defRPr/>
            </a:pPr>
            <a:r>
              <a:rPr lang="en-US" sz="1000">
                <a:latin typeface="Open Sans"/>
                <a:ea typeface="Open Sans"/>
                <a:cs typeface="Open Sans"/>
              </a:rPr>
              <a:t>Kanini (PO)</a:t>
            </a: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TBD (Dev)</a:t>
            </a:r>
          </a:p>
          <a:p>
            <a:pPr algn="ctr" defTabSz="457195">
              <a:defRPr/>
            </a:pPr>
            <a:r>
              <a:rPr lang="en-US" sz="1000">
                <a:latin typeface="Open Sans"/>
                <a:ea typeface="Open Sans"/>
                <a:cs typeface="Open Sans"/>
              </a:rPr>
              <a:t>TBD (Dev)</a:t>
            </a:r>
          </a:p>
          <a:p>
            <a:pPr algn="ctr" defTabSz="457195">
              <a:defRPr/>
            </a:pPr>
            <a:r>
              <a:rPr lang="en-US" sz="1000">
                <a:latin typeface="Open Sans"/>
                <a:ea typeface="Open Sans"/>
                <a:cs typeface="Open Sans"/>
              </a:rPr>
              <a:t>TBD (Dev)</a:t>
            </a:r>
          </a:p>
          <a:p>
            <a:pPr algn="ctr" defTabSz="457195">
              <a:defRPr/>
            </a:pPr>
            <a:r>
              <a:rPr lang="en-US" sz="1000">
                <a:latin typeface="Open Sans"/>
                <a:ea typeface="Open Sans"/>
                <a:cs typeface="Open Sans"/>
              </a:rPr>
              <a:t>TBD (Dev)</a:t>
            </a:r>
          </a:p>
          <a:p>
            <a:pPr algn="ctr" defTabSz="457195">
              <a:defRPr/>
            </a:pPr>
            <a:endParaRPr lang="en-US" sz="1000">
              <a:latin typeface="Open Sans"/>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TBD (SDET)</a:t>
            </a:r>
            <a:endParaRPr lang="en-US">
              <a:ea typeface="Open Sans"/>
              <a:cs typeface="Open Sans"/>
            </a:endParaRPr>
          </a:p>
          <a:p>
            <a:pPr algn="ctr" defTabSz="457195">
              <a:defRPr/>
            </a:pPr>
            <a:r>
              <a:rPr lang="en-US" altLang="en-US" sz="1000">
                <a:latin typeface="Open Sans"/>
                <a:ea typeface="Open Sans"/>
                <a:cs typeface="Open Sans"/>
              </a:rPr>
              <a:t>TBD </a:t>
            </a:r>
            <a:r>
              <a:rPr lang="en-US" sz="1000">
                <a:latin typeface="Open Sans"/>
                <a:ea typeface="Open Sans"/>
                <a:cs typeface="Open Sans"/>
              </a:rPr>
              <a:t> (SDET)</a:t>
            </a: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27">
            <a:extLst>
              <a:ext uri="{FF2B5EF4-FFF2-40B4-BE49-F238E27FC236}">
                <a16:creationId xmlns:a16="http://schemas.microsoft.com/office/drawing/2014/main" id="{76D644CB-FFB9-48DC-A8BD-CD6FBA84ACE8}"/>
              </a:ext>
            </a:extLst>
          </p:cNvPr>
          <p:cNvSpPr txBox="1"/>
          <p:nvPr/>
        </p:nvSpPr>
        <p:spPr>
          <a:xfrm>
            <a:off x="3944663" y="2292647"/>
            <a:ext cx="1421338" cy="169277"/>
          </a:xfrm>
          <a:prstGeom prst="rect">
            <a:avLst/>
          </a:prstGeom>
          <a:noFill/>
        </p:spPr>
        <p:txBody>
          <a:bodyPr vert="horz" wrap="square" lIns="0" tIns="0" rIns="0" bIns="0" rtlCol="0" anchor="t">
            <a:spAutoFit/>
          </a:bodyPr>
          <a:lstStyle/>
          <a:p>
            <a:pPr algn="ctr" defTabSz="457195">
              <a:spcBef>
                <a:spcPts val="114"/>
              </a:spcBef>
              <a:buSzPct val="100000"/>
              <a:defRPr/>
            </a:pPr>
            <a:r>
              <a:rPr lang="en-US" sz="1100" b="1">
                <a:latin typeface="Open Sans"/>
                <a:ea typeface="Open Sans"/>
                <a:cs typeface="Open Sans"/>
              </a:rPr>
              <a:t>Kanini</a:t>
            </a:r>
            <a:endPar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Rounded Rectangle 16">
            <a:extLst>
              <a:ext uri="{FF2B5EF4-FFF2-40B4-BE49-F238E27FC236}">
                <a16:creationId xmlns:a16="http://schemas.microsoft.com/office/drawing/2014/main" id="{AB0A6B7A-648A-421C-9406-0EB9F5F95026}"/>
              </a:ext>
            </a:extLst>
          </p:cNvPr>
          <p:cNvSpPr/>
          <p:nvPr/>
        </p:nvSpPr>
        <p:spPr>
          <a:xfrm>
            <a:off x="1359568" y="1010719"/>
            <a:ext cx="9168870" cy="36005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100">
                <a:latin typeface="Open Sans"/>
                <a:ea typeface="Open Sans"/>
                <a:cs typeface="Open Sans"/>
              </a:rPr>
              <a:t>Technical Owner: Shabab Hussain (US), Suresh Thandalay (USI)</a:t>
            </a:r>
            <a:endParaRPr lang="en-US" sz="1100">
              <a:solidFill>
                <a:srgbClr val="FF0000"/>
              </a:solidFill>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2638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6499960" y="2419521"/>
            <a:ext cx="3764903" cy="2018957"/>
          </a:xfrm>
        </p:spPr>
        <p:txBody>
          <a:bodyPr vert="horz" lIns="68580" tIns="34292" rIns="68580" bIns="34292" rtlCol="0" anchor="ctr" anchorCtr="0">
            <a:noAutofit/>
          </a:bodyPr>
          <a:lstStyle/>
          <a:p>
            <a:pPr marL="0" indent="0">
              <a:spcBef>
                <a:spcPts val="0"/>
              </a:spcBef>
              <a:buNone/>
            </a:pPr>
            <a:r>
              <a:rPr lang="en-US" sz="2000" b="1">
                <a:solidFill>
                  <a:srgbClr val="000000"/>
                </a:solidFill>
                <a:latin typeface="Open Sans" panose="020B0606030504020204" pitchFamily="34" charset="0"/>
                <a:ea typeface="Open Sans" panose="020B0606030504020204" pitchFamily="34" charset="0"/>
                <a:cs typeface="Open Sans" panose="020B0606030504020204" pitchFamily="34" charset="0"/>
              </a:rPr>
              <a:t>Business Impact </a:t>
            </a:r>
          </a:p>
          <a:p>
            <a:pPr marL="0" indent="0">
              <a:spcBef>
                <a:spcPts val="0"/>
              </a:spcBef>
              <a:buNone/>
            </a:pPr>
            <a:endParaRPr lang="en-US" sz="20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indent="0">
              <a:spcBef>
                <a:spcPts val="0"/>
              </a:spcBef>
              <a:buNone/>
            </a:pPr>
            <a:r>
              <a:rPr lang="en-US" sz="2000"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rnold / Ben </a:t>
            </a:r>
          </a:p>
        </p:txBody>
      </p:sp>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8096" y="916946"/>
            <a:ext cx="5278632" cy="5278632"/>
          </a:xfrm>
          <a:prstGeom prst="rect">
            <a:avLst/>
          </a:prstGeom>
        </p:spPr>
      </p:pic>
    </p:spTree>
    <p:extLst>
      <p:ext uri="{BB962C8B-B14F-4D97-AF65-F5344CB8AC3E}">
        <p14:creationId xmlns:p14="http://schemas.microsoft.com/office/powerpoint/2010/main" val="34444915"/>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1">
            <a:extLst>
              <a:ext uri="{FF2B5EF4-FFF2-40B4-BE49-F238E27FC236}">
                <a16:creationId xmlns:a16="http://schemas.microsoft.com/office/drawing/2014/main" id="{886FAB09-98B1-4D1E-9B26-9ABFEEE8767D}"/>
              </a:ext>
            </a:extLst>
          </p:cNvPr>
          <p:cNvSpPr/>
          <p:nvPr/>
        </p:nvSpPr>
        <p:spPr bwMode="gray">
          <a:xfrm>
            <a:off x="1359568" y="5808881"/>
            <a:ext cx="9168867" cy="321026"/>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100">
                <a:solidFill>
                  <a:prstClr val="black"/>
                </a:solidFill>
                <a:latin typeface="Open Sans"/>
                <a:ea typeface="Open Sans" panose="020B0606030504020204" pitchFamily="34" charset="0"/>
                <a:cs typeface="Open Sans" panose="020B0606030504020204" pitchFamily="34" charset="0"/>
              </a:rPr>
              <a:t>Business</a:t>
            </a:r>
            <a:r>
              <a:rPr lang="en-US" sz="1001">
                <a:solidFill>
                  <a:prstClr val="black"/>
                </a:solidFill>
                <a:latin typeface="Open Sans"/>
                <a:ea typeface="Open Sans" panose="020B0606030504020204" pitchFamily="34" charset="0"/>
                <a:cs typeface="Open Sans" panose="020B0606030504020204" pitchFamily="34" charset="0"/>
              </a:rPr>
              <a:t> </a:t>
            </a:r>
            <a:r>
              <a:rPr lang="en-US" sz="1100">
                <a:solidFill>
                  <a:prstClr val="black"/>
                </a:solidFill>
                <a:latin typeface="Open Sans"/>
                <a:ea typeface="Open Sans" panose="020B0606030504020204" pitchFamily="34" charset="0"/>
                <a:cs typeface="Open Sans" panose="020B0606030504020204" pitchFamily="34" charset="0"/>
              </a:rPr>
              <a:t>Deployment</a:t>
            </a:r>
            <a:r>
              <a:rPr lang="en-US" sz="1001">
                <a:solidFill>
                  <a:prstClr val="black"/>
                </a:solidFill>
                <a:latin typeface="Open Sans"/>
                <a:ea typeface="Open Sans" panose="020B0606030504020204" pitchFamily="34" charset="0"/>
                <a:cs typeface="Open Sans" panose="020B0606030504020204" pitchFamily="34" charset="0"/>
              </a:rPr>
              <a:t>: </a:t>
            </a:r>
            <a:r>
              <a:rPr lang="en-US" sz="1100">
                <a:solidFill>
                  <a:prstClr val="black"/>
                </a:solidFill>
                <a:latin typeface="Open Sans"/>
                <a:ea typeface="Open Sans" panose="020B0606030504020204" pitchFamily="34" charset="0"/>
                <a:cs typeface="Open Sans" panose="020B0606030504020204" pitchFamily="34" charset="0"/>
              </a:rPr>
              <a:t>Leah</a:t>
            </a:r>
            <a:r>
              <a:rPr lang="en-US" sz="1001">
                <a:solidFill>
                  <a:prstClr val="black"/>
                </a:solidFill>
                <a:latin typeface="Open Sans"/>
                <a:ea typeface="Open Sans" panose="020B0606030504020204" pitchFamily="34" charset="0"/>
                <a:cs typeface="Open Sans" panose="020B0606030504020204" pitchFamily="34" charset="0"/>
              </a:rPr>
              <a:t> </a:t>
            </a:r>
            <a:r>
              <a:rPr lang="en-US" sz="1100" err="1">
                <a:solidFill>
                  <a:prstClr val="black"/>
                </a:solidFill>
                <a:latin typeface="Open Sans"/>
                <a:ea typeface="Open Sans" panose="020B0606030504020204" pitchFamily="34" charset="0"/>
                <a:cs typeface="Open Sans" panose="020B0606030504020204" pitchFamily="34" charset="0"/>
              </a:rPr>
              <a:t>Pais</a:t>
            </a:r>
            <a:endParaRPr lang="en-US" sz="1100">
              <a:solidFill>
                <a:prstClr val="black"/>
              </a:solidFill>
              <a:latin typeface="Open Sans"/>
              <a:ea typeface="Open Sans" panose="020B0606030504020204" pitchFamily="34" charset="0"/>
              <a:cs typeface="Open Sans" panose="020B0606030504020204" pitchFamily="34" charset="0"/>
            </a:endParaRPr>
          </a:p>
        </p:txBody>
      </p:sp>
      <p:sp>
        <p:nvSpPr>
          <p:cNvPr id="11" name="Rectangle: Rounded Corners 2">
            <a:extLst>
              <a:ext uri="{FF2B5EF4-FFF2-40B4-BE49-F238E27FC236}">
                <a16:creationId xmlns:a16="http://schemas.microsoft.com/office/drawing/2014/main" id="{87771578-1EA4-4F1C-88F2-9EF60D8C6089}"/>
              </a:ext>
            </a:extLst>
          </p:cNvPr>
          <p:cNvSpPr/>
          <p:nvPr/>
        </p:nvSpPr>
        <p:spPr bwMode="gray">
          <a:xfrm>
            <a:off x="1359568" y="6277528"/>
            <a:ext cx="9168867" cy="321026"/>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100">
                <a:latin typeface="Open Sans"/>
                <a:ea typeface="Open Sans" panose="020B0606030504020204" pitchFamily="34" charset="0"/>
                <a:cs typeface="Open Sans" panose="020B0606030504020204" pitchFamily="34" charset="0"/>
              </a:rPr>
              <a:t>Dev</a:t>
            </a:r>
            <a:r>
              <a:rPr lang="en-US" sz="1000">
                <a:latin typeface="Open Sans"/>
                <a:ea typeface="Open Sans" panose="020B0606030504020204" pitchFamily="34" charset="0"/>
                <a:cs typeface="Open Sans" panose="020B0606030504020204" pitchFamily="34" charset="0"/>
              </a:rPr>
              <a:t> </a:t>
            </a:r>
            <a:r>
              <a:rPr lang="en-US" sz="1100">
                <a:latin typeface="Open Sans"/>
                <a:ea typeface="Open Sans" panose="020B0606030504020204" pitchFamily="34" charset="0"/>
                <a:cs typeface="Open Sans" panose="020B0606030504020204" pitchFamily="34" charset="0"/>
              </a:rPr>
              <a:t>Ops: Rahul Thakur Singh, Navneeth Kaur</a:t>
            </a:r>
            <a:endParaRPr lang="en-US" sz="1100">
              <a:solidFill>
                <a:prstClr val="black"/>
              </a:solidFill>
              <a:latin typeface="Open Sans"/>
              <a:ea typeface="Open Sans" panose="020B0606030504020204" pitchFamily="34" charset="0"/>
              <a:cs typeface="Open Sans" panose="020B0606030504020204" pitchFamily="34" charset="0"/>
            </a:endParaRPr>
          </a:p>
        </p:txBody>
      </p:sp>
      <p:sp>
        <p:nvSpPr>
          <p:cNvPr id="12" name="Rounded Rectangle 7">
            <a:extLst>
              <a:ext uri="{FF2B5EF4-FFF2-40B4-BE49-F238E27FC236}">
                <a16:creationId xmlns:a16="http://schemas.microsoft.com/office/drawing/2014/main" id="{9C163676-2CF3-4FA5-9828-5A9969A379CA}"/>
              </a:ext>
            </a:extLst>
          </p:cNvPr>
          <p:cNvSpPr/>
          <p:nvPr/>
        </p:nvSpPr>
        <p:spPr>
          <a:xfrm>
            <a:off x="4699406" y="2583736"/>
            <a:ext cx="2624222" cy="2519472"/>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endParaRPr lang="en-US" sz="1000">
              <a:latin typeface="Open Sans"/>
              <a:ea typeface="Open Sans" panose="020B0606030504020204" pitchFamily="34" charset="0"/>
              <a:cs typeface="Open Sans" panose="020B0606030504020204" pitchFamily="34" charset="0"/>
            </a:endParaRPr>
          </a:p>
          <a:p>
            <a:pPr algn="ctr" defTabSz="457195">
              <a:defRPr/>
            </a:pPr>
            <a:endParaRPr lang="en-US" sz="1000">
              <a:latin typeface="Open Sans"/>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Ezra Hermon (PO / SM)</a:t>
            </a:r>
          </a:p>
          <a:p>
            <a:pPr algn="ctr" defTabSz="457195">
              <a:defRPr/>
            </a:pPr>
            <a:r>
              <a:rPr lang="en-US" sz="1000">
                <a:latin typeface="Open Sans"/>
                <a:ea typeface="Open Sans"/>
                <a:cs typeface="Open Sans"/>
              </a:rPr>
              <a:t>Koyal Mitra (PO)</a:t>
            </a:r>
            <a:endParaRPr lang="en-US" sz="100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1">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Ramesh Kumar Avva (Dev)</a:t>
            </a:r>
          </a:p>
          <a:p>
            <a:pPr algn="ctr" defTabSz="457195">
              <a:defRPr/>
            </a:pPr>
            <a:r>
              <a:rPr lang="en-US" sz="1000">
                <a:latin typeface="Open Sans"/>
                <a:ea typeface="Open Sans"/>
                <a:cs typeface="Open Sans"/>
              </a:rPr>
              <a:t>Nishanth (Dev)</a:t>
            </a:r>
          </a:p>
          <a:p>
            <a:pPr algn="ctr" defTabSz="457195">
              <a:defRPr/>
            </a:pPr>
            <a:r>
              <a:rPr lang="en-US" sz="1000">
                <a:latin typeface="Open Sans"/>
                <a:ea typeface="Open Sans"/>
                <a:cs typeface="Open Sans"/>
              </a:rPr>
              <a:t>Appani Mallikarjun (Dev)</a:t>
            </a:r>
          </a:p>
          <a:p>
            <a:pPr algn="ctr" defTabSz="457195">
              <a:defRPr/>
            </a:pPr>
            <a:r>
              <a:rPr lang="en-US" sz="1000">
                <a:latin typeface="Open Sans"/>
              </a:rPr>
              <a:t>Avinash Longadge (Dev)</a:t>
            </a:r>
            <a:endParaRPr lang="en-US">
              <a:latin typeface="Open Sans"/>
            </a:endParaRPr>
          </a:p>
          <a:p>
            <a:pPr algn="ctr" defTabSz="457195">
              <a:defRPr/>
            </a:pPr>
            <a:endParaRPr lang="en-US" sz="1000">
              <a:latin typeface="Open Sans"/>
              <a:ea typeface="Open Sans" panose="020B0606030504020204" pitchFamily="34" charset="0"/>
              <a:cs typeface="Open Sans" panose="020B0606030504020204" pitchFamily="34" charset="0"/>
            </a:endParaRPr>
          </a:p>
          <a:p>
            <a:pPr algn="ctr" defTabSz="457195">
              <a:defRPr/>
            </a:pPr>
            <a:endParaRPr lang="en-US" sz="1000">
              <a:latin typeface="Open Sans"/>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Shravan Kumar R Sedala (SDET)</a:t>
            </a:r>
          </a:p>
          <a:p>
            <a:pPr algn="ctr" defTabSz="457195">
              <a:defRPr/>
            </a:pPr>
            <a:r>
              <a:rPr lang="en-US" sz="1000">
                <a:latin typeface="Open Sans"/>
                <a:ea typeface="Open Sans"/>
                <a:cs typeface="Open Sans"/>
              </a:rPr>
              <a:t>Chintala Chaitanya (SDET)</a:t>
            </a:r>
          </a:p>
          <a:p>
            <a:pPr algn="ctr" defTabSz="457195">
              <a:defRPr/>
            </a:pPr>
            <a:r>
              <a:rPr lang="en-US" sz="1000">
                <a:latin typeface="Open Sans"/>
                <a:ea typeface="Open Sans"/>
                <a:cs typeface="Open Sans"/>
              </a:rPr>
              <a:t>Rajasekhar Venkata (SDET)</a:t>
            </a:r>
          </a:p>
          <a:p>
            <a:pPr algn="ctr" defTabSz="457195">
              <a:defRPr/>
            </a:pPr>
            <a:endParaRPr lang="en-US" sz="1001">
              <a:solidFill>
                <a:prstClr val="white"/>
              </a:solidFill>
              <a:latin typeface="Open Sans"/>
              <a:ea typeface="Open Sans" panose="020B0606030504020204" pitchFamily="34" charset="0"/>
              <a:cs typeface="Open Sans" panose="020B0606030504020204" pitchFamily="34" charset="0"/>
            </a:endParaRP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2FF7FA96-5460-41BF-B646-00CA733C67C0}"/>
              </a:ext>
            </a:extLst>
          </p:cNvPr>
          <p:cNvSpPr txBox="1"/>
          <p:nvPr/>
        </p:nvSpPr>
        <p:spPr>
          <a:xfrm>
            <a:off x="5216498" y="2339957"/>
            <a:ext cx="1428966" cy="169277"/>
          </a:xfrm>
          <a:prstGeom prst="rect">
            <a:avLst/>
          </a:prstGeom>
          <a:noFill/>
        </p:spPr>
        <p:txBody>
          <a:bodyPr vert="horz" wrap="square" lIns="0" tIns="0" rIns="0" bIns="0" rtlCol="0" anchor="t">
            <a:spAutoFit/>
          </a:bodyPr>
          <a:lstStyle/>
          <a:p>
            <a:pPr algn="ctr" defTabSz="457195">
              <a:spcBef>
                <a:spcPts val="114"/>
              </a:spcBef>
              <a:buSzPct val="100000"/>
              <a:defRPr/>
            </a:pPr>
            <a:r>
              <a:rPr lang="en-US" sz="1100" b="1">
                <a:latin typeface="Open Sans"/>
                <a:ea typeface="Open Sans" panose="020B0606030504020204" pitchFamily="34" charset="0"/>
                <a:cs typeface="Open Sans" panose="020B0606030504020204" pitchFamily="34" charset="0"/>
              </a:rPr>
              <a:t>Data Dynamics</a:t>
            </a:r>
            <a:endPar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Rounded Rectangle 9">
            <a:extLst>
              <a:ext uri="{FF2B5EF4-FFF2-40B4-BE49-F238E27FC236}">
                <a16:creationId xmlns:a16="http://schemas.microsoft.com/office/drawing/2014/main" id="{06D724A7-A55C-468D-B48D-302C407D05AE}"/>
              </a:ext>
            </a:extLst>
          </p:cNvPr>
          <p:cNvSpPr/>
          <p:nvPr/>
        </p:nvSpPr>
        <p:spPr>
          <a:xfrm>
            <a:off x="1343075" y="796155"/>
            <a:ext cx="9185364" cy="35644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5">
              <a:defRPr/>
            </a:pPr>
            <a:r>
              <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rPr>
              <a:t>CPO: Ben Hamilton</a:t>
            </a:r>
          </a:p>
        </p:txBody>
      </p:sp>
      <p:sp>
        <p:nvSpPr>
          <p:cNvPr id="15" name="Rounded Rectangle 10">
            <a:extLst>
              <a:ext uri="{FF2B5EF4-FFF2-40B4-BE49-F238E27FC236}">
                <a16:creationId xmlns:a16="http://schemas.microsoft.com/office/drawing/2014/main" id="{2AE3758D-7C33-4FE4-A382-D35FFA709335}"/>
              </a:ext>
            </a:extLst>
          </p:cNvPr>
          <p:cNvSpPr/>
          <p:nvPr/>
        </p:nvSpPr>
        <p:spPr>
          <a:xfrm>
            <a:off x="1343355" y="1823861"/>
            <a:ext cx="9168869" cy="346238"/>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100">
                <a:latin typeface="Open Sans"/>
                <a:ea typeface="Open Sans"/>
                <a:cs typeface="Open Sans"/>
              </a:rPr>
              <a:t>Product Manager: Andrew </a:t>
            </a:r>
            <a:r>
              <a:rPr lang="en-US" sz="1100" err="1">
                <a:latin typeface="Open Sans"/>
                <a:ea typeface="Open Sans"/>
                <a:cs typeface="Open Sans"/>
              </a:rPr>
              <a:t>Thilakan</a:t>
            </a:r>
          </a:p>
        </p:txBody>
      </p:sp>
      <p:sp>
        <p:nvSpPr>
          <p:cNvPr id="20" name="Rounded Rectangle 16">
            <a:extLst>
              <a:ext uri="{FF2B5EF4-FFF2-40B4-BE49-F238E27FC236}">
                <a16:creationId xmlns:a16="http://schemas.microsoft.com/office/drawing/2014/main" id="{6E754AEB-26AB-48BA-AD37-21E8E60DC65B}"/>
              </a:ext>
            </a:extLst>
          </p:cNvPr>
          <p:cNvSpPr/>
          <p:nvPr/>
        </p:nvSpPr>
        <p:spPr>
          <a:xfrm>
            <a:off x="1359569" y="1263506"/>
            <a:ext cx="9168870" cy="36005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100">
                <a:latin typeface="Open Sans"/>
                <a:ea typeface="Open Sans"/>
                <a:cs typeface="Open Sans"/>
              </a:rPr>
              <a:t>DL: Sowmya Kandula</a:t>
            </a:r>
          </a:p>
        </p:txBody>
      </p:sp>
      <p:sp>
        <p:nvSpPr>
          <p:cNvPr id="21" name="Title 1">
            <a:extLst>
              <a:ext uri="{FF2B5EF4-FFF2-40B4-BE49-F238E27FC236}">
                <a16:creationId xmlns:a16="http://schemas.microsoft.com/office/drawing/2014/main" id="{BBC230EB-5697-4BB6-B89F-025E9D5DC5E9}"/>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panose="020B0606030504020204" pitchFamily="34" charset="0"/>
                <a:ea typeface="Open Sans" panose="020B0606030504020204" pitchFamily="34" charset="0"/>
                <a:cs typeface="Open Sans" panose="020B0606030504020204" pitchFamily="34" charset="0"/>
              </a:rPr>
              <a:t>Diagnostics –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Team Structure</a:t>
            </a:r>
          </a:p>
        </p:txBody>
      </p:sp>
    </p:spTree>
    <p:extLst>
      <p:ext uri="{BB962C8B-B14F-4D97-AF65-F5344CB8AC3E}">
        <p14:creationId xmlns:p14="http://schemas.microsoft.com/office/powerpoint/2010/main" val="97590252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Rounded Corners 1">
            <a:extLst>
              <a:ext uri="{FF2B5EF4-FFF2-40B4-BE49-F238E27FC236}">
                <a16:creationId xmlns:a16="http://schemas.microsoft.com/office/drawing/2014/main" id="{886FAB09-98B1-4D1E-9B26-9ABFEEE8767D}"/>
              </a:ext>
            </a:extLst>
          </p:cNvPr>
          <p:cNvSpPr/>
          <p:nvPr/>
        </p:nvSpPr>
        <p:spPr bwMode="gray">
          <a:xfrm>
            <a:off x="1359568" y="5808881"/>
            <a:ext cx="9168867" cy="321026"/>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100">
                <a:solidFill>
                  <a:prstClr val="black"/>
                </a:solidFill>
                <a:latin typeface="Open Sans"/>
                <a:ea typeface="Open Sans" panose="020B0606030504020204" pitchFamily="34" charset="0"/>
                <a:cs typeface="Open Sans" panose="020B0606030504020204" pitchFamily="34" charset="0"/>
              </a:rPr>
              <a:t>Business</a:t>
            </a:r>
            <a:r>
              <a:rPr lang="en-US" sz="1001">
                <a:solidFill>
                  <a:prstClr val="black"/>
                </a:solidFill>
                <a:latin typeface="Open Sans"/>
                <a:ea typeface="Open Sans" panose="020B0606030504020204" pitchFamily="34" charset="0"/>
                <a:cs typeface="Open Sans" panose="020B0606030504020204" pitchFamily="34" charset="0"/>
              </a:rPr>
              <a:t> </a:t>
            </a:r>
            <a:r>
              <a:rPr lang="en-US" sz="1100">
                <a:solidFill>
                  <a:prstClr val="black"/>
                </a:solidFill>
                <a:latin typeface="Open Sans"/>
                <a:ea typeface="Open Sans" panose="020B0606030504020204" pitchFamily="34" charset="0"/>
                <a:cs typeface="Open Sans" panose="020B0606030504020204" pitchFamily="34" charset="0"/>
              </a:rPr>
              <a:t>Deployment</a:t>
            </a:r>
            <a:r>
              <a:rPr lang="en-US" sz="1001">
                <a:solidFill>
                  <a:prstClr val="black"/>
                </a:solidFill>
                <a:latin typeface="Open Sans"/>
                <a:ea typeface="Open Sans" panose="020B0606030504020204" pitchFamily="34" charset="0"/>
                <a:cs typeface="Open Sans" panose="020B0606030504020204" pitchFamily="34" charset="0"/>
              </a:rPr>
              <a:t>: </a:t>
            </a:r>
            <a:r>
              <a:rPr lang="en-US" sz="1100">
                <a:solidFill>
                  <a:prstClr val="black"/>
                </a:solidFill>
                <a:latin typeface="Open Sans"/>
                <a:ea typeface="Open Sans" panose="020B0606030504020204" pitchFamily="34" charset="0"/>
                <a:cs typeface="Open Sans" panose="020B0606030504020204" pitchFamily="34" charset="0"/>
              </a:rPr>
              <a:t>Leah</a:t>
            </a:r>
            <a:r>
              <a:rPr lang="en-US" sz="1001">
                <a:solidFill>
                  <a:prstClr val="black"/>
                </a:solidFill>
                <a:latin typeface="Open Sans"/>
                <a:ea typeface="Open Sans" panose="020B0606030504020204" pitchFamily="34" charset="0"/>
                <a:cs typeface="Open Sans" panose="020B0606030504020204" pitchFamily="34" charset="0"/>
              </a:rPr>
              <a:t> </a:t>
            </a:r>
            <a:r>
              <a:rPr lang="en-US" sz="1100" err="1">
                <a:solidFill>
                  <a:prstClr val="black"/>
                </a:solidFill>
                <a:latin typeface="Open Sans"/>
                <a:ea typeface="Open Sans" panose="020B0606030504020204" pitchFamily="34" charset="0"/>
                <a:cs typeface="Open Sans" panose="020B0606030504020204" pitchFamily="34" charset="0"/>
              </a:rPr>
              <a:t>Pais</a:t>
            </a:r>
            <a:endParaRPr lang="en-US" sz="1100">
              <a:solidFill>
                <a:prstClr val="black"/>
              </a:solidFill>
              <a:latin typeface="Open Sans"/>
              <a:ea typeface="Open Sans" panose="020B0606030504020204" pitchFamily="34" charset="0"/>
              <a:cs typeface="Open Sans" panose="020B0606030504020204" pitchFamily="34" charset="0"/>
            </a:endParaRPr>
          </a:p>
        </p:txBody>
      </p:sp>
      <p:sp>
        <p:nvSpPr>
          <p:cNvPr id="26" name="Rectangle: Rounded Corners 2">
            <a:extLst>
              <a:ext uri="{FF2B5EF4-FFF2-40B4-BE49-F238E27FC236}">
                <a16:creationId xmlns:a16="http://schemas.microsoft.com/office/drawing/2014/main" id="{87771578-1EA4-4F1C-88F2-9EF60D8C6089}"/>
              </a:ext>
            </a:extLst>
          </p:cNvPr>
          <p:cNvSpPr/>
          <p:nvPr/>
        </p:nvSpPr>
        <p:spPr bwMode="gray">
          <a:xfrm>
            <a:off x="1359568" y="6277528"/>
            <a:ext cx="9168867" cy="321026"/>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100">
                <a:latin typeface="Open Sans"/>
                <a:ea typeface="Open Sans"/>
                <a:cs typeface="Open Sans"/>
              </a:rPr>
              <a:t>Dev</a:t>
            </a:r>
            <a:r>
              <a:rPr lang="en-US" sz="1000">
                <a:latin typeface="Open Sans"/>
                <a:ea typeface="Open Sans"/>
                <a:cs typeface="Open Sans"/>
              </a:rPr>
              <a:t> </a:t>
            </a:r>
            <a:r>
              <a:rPr lang="en-US" sz="1100">
                <a:latin typeface="Open Sans"/>
                <a:ea typeface="Open Sans"/>
                <a:cs typeface="Open Sans"/>
              </a:rPr>
              <a:t>Ops: Sravya Ramana; Srinath Reddy</a:t>
            </a:r>
            <a:endParaRPr lang="en-US" sz="1100">
              <a:solidFill>
                <a:prstClr val="black"/>
              </a:solidFill>
              <a:latin typeface="Open Sans"/>
              <a:ea typeface="Open Sans"/>
              <a:cs typeface="Open Sans"/>
            </a:endParaRPr>
          </a:p>
        </p:txBody>
      </p:sp>
      <p:sp>
        <p:nvSpPr>
          <p:cNvPr id="27" name="TextBox 26">
            <a:extLst>
              <a:ext uri="{FF2B5EF4-FFF2-40B4-BE49-F238E27FC236}">
                <a16:creationId xmlns:a16="http://schemas.microsoft.com/office/drawing/2014/main" id="{F0F99DC0-F3CE-4F26-B75F-AE975B313665}"/>
              </a:ext>
            </a:extLst>
          </p:cNvPr>
          <p:cNvSpPr txBox="1"/>
          <p:nvPr/>
        </p:nvSpPr>
        <p:spPr>
          <a:xfrm>
            <a:off x="3252253" y="2202385"/>
            <a:ext cx="1428966" cy="169277"/>
          </a:xfrm>
          <a:prstGeom prst="rect">
            <a:avLst/>
          </a:prstGeom>
          <a:noFill/>
        </p:spPr>
        <p:txBody>
          <a:bodyPr vert="horz" wrap="square" lIns="0" tIns="0" rIns="0" bIns="0" rtlCol="0" anchor="t">
            <a:spAutoFit/>
          </a:bodyPr>
          <a:lstStyle/>
          <a:p>
            <a:pPr algn="ctr" defTabSz="457195">
              <a:spcBef>
                <a:spcPts val="114"/>
              </a:spcBef>
              <a:buSzPct val="100000"/>
              <a:defRPr/>
            </a:pPr>
            <a:r>
              <a:rPr lang="en-US" sz="1100" b="1">
                <a:latin typeface="Open Sans"/>
                <a:ea typeface="Open Sans" panose="020B0606030504020204" pitchFamily="34" charset="0"/>
                <a:cs typeface="Open Sans" panose="020B0606030504020204" pitchFamily="34" charset="0"/>
              </a:rPr>
              <a:t>Data Warriors</a:t>
            </a:r>
            <a:endParaRPr lang="en-US" sz="1100" b="1" err="1">
              <a:solidFill>
                <a:prstClr val="black"/>
              </a:solidFill>
              <a:latin typeface="Open Sans"/>
              <a:ea typeface="Open Sans" panose="020B0606030504020204" pitchFamily="34" charset="0"/>
              <a:cs typeface="Open Sans" panose="020B0606030504020204" pitchFamily="34" charset="0"/>
            </a:endParaRPr>
          </a:p>
        </p:txBody>
      </p:sp>
      <p:sp>
        <p:nvSpPr>
          <p:cNvPr id="28" name="Rectangle: Rounded Corners 12">
            <a:extLst>
              <a:ext uri="{FF2B5EF4-FFF2-40B4-BE49-F238E27FC236}">
                <a16:creationId xmlns:a16="http://schemas.microsoft.com/office/drawing/2014/main" id="{EF8A928F-790F-4408-9D94-F7104E6CE2DC}"/>
              </a:ext>
            </a:extLst>
          </p:cNvPr>
          <p:cNvSpPr/>
          <p:nvPr/>
        </p:nvSpPr>
        <p:spPr bwMode="gray">
          <a:xfrm>
            <a:off x="1359569" y="5366137"/>
            <a:ext cx="9168868" cy="321026"/>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100">
                <a:latin typeface="Open Sans"/>
                <a:ea typeface="Open Sans" panose="020B0606030504020204" pitchFamily="34" charset="0"/>
                <a:cs typeface="Open Sans" panose="020B0606030504020204" pitchFamily="34" charset="0"/>
              </a:rPr>
              <a:t>Technical</a:t>
            </a:r>
            <a:r>
              <a:rPr lang="en-US" sz="1000">
                <a:latin typeface="Open Sans"/>
                <a:ea typeface="Open Sans" panose="020B0606030504020204" pitchFamily="34" charset="0"/>
                <a:cs typeface="Open Sans" panose="020B0606030504020204" pitchFamily="34" charset="0"/>
              </a:rPr>
              <a:t> </a:t>
            </a:r>
            <a:r>
              <a:rPr lang="en-US" sz="1100">
                <a:latin typeface="Open Sans"/>
                <a:ea typeface="Open Sans" panose="020B0606030504020204" pitchFamily="34" charset="0"/>
                <a:cs typeface="Open Sans" panose="020B0606030504020204" pitchFamily="34" charset="0"/>
              </a:rPr>
              <a:t>Architect:</a:t>
            </a:r>
            <a:r>
              <a:rPr lang="en-US" sz="1000">
                <a:latin typeface="Open Sans"/>
                <a:ea typeface="Open Sans" panose="020B0606030504020204" pitchFamily="34" charset="0"/>
                <a:cs typeface="Open Sans" panose="020B0606030504020204" pitchFamily="34" charset="0"/>
              </a:rPr>
              <a:t> Ashok Thuremella</a:t>
            </a:r>
            <a:endParaRPr lang="en-US" sz="1100">
              <a:latin typeface="Open Sans"/>
              <a:ea typeface="Open Sans" panose="020B0606030504020204" pitchFamily="34" charset="0"/>
              <a:cs typeface="Open Sans" panose="020B0606030504020204" pitchFamily="34" charset="0"/>
            </a:endParaRPr>
          </a:p>
        </p:txBody>
      </p:sp>
      <p:sp>
        <p:nvSpPr>
          <p:cNvPr id="29" name="Rounded Rectangle 7">
            <a:extLst>
              <a:ext uri="{FF2B5EF4-FFF2-40B4-BE49-F238E27FC236}">
                <a16:creationId xmlns:a16="http://schemas.microsoft.com/office/drawing/2014/main" id="{E000F57D-05FA-4E5A-8E44-848A42C21BE2}"/>
              </a:ext>
            </a:extLst>
          </p:cNvPr>
          <p:cNvSpPr/>
          <p:nvPr/>
        </p:nvSpPr>
        <p:spPr>
          <a:xfrm>
            <a:off x="2876325" y="2417740"/>
            <a:ext cx="2547138" cy="2829844"/>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Abdullah Girach (PO/SM)</a:t>
            </a: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Soma Kundu (Dev)</a:t>
            </a:r>
          </a:p>
          <a:p>
            <a:pPr algn="ctr" defTabSz="457195">
              <a:defRPr/>
            </a:pPr>
            <a:r>
              <a:rPr lang="en-US" sz="1000">
                <a:latin typeface="Open Sans"/>
                <a:ea typeface="Open Sans"/>
                <a:cs typeface="Open Sans"/>
              </a:rPr>
              <a:t>Sandeep Marru (Dev Lead)</a:t>
            </a:r>
          </a:p>
          <a:p>
            <a:pPr algn="ctr" defTabSz="457195">
              <a:defRPr/>
            </a:pPr>
            <a:r>
              <a:rPr lang="en-US" sz="1000">
                <a:latin typeface="Open Sans"/>
              </a:rPr>
              <a:t>Himanshu Gautam (Dev)</a:t>
            </a:r>
            <a:endParaRPr lang="en-US"/>
          </a:p>
          <a:p>
            <a:pPr algn="ctr" defTabSz="457195">
              <a:defRPr/>
            </a:pPr>
            <a:r>
              <a:rPr lang="en-US" sz="1000">
                <a:latin typeface="Open Sans"/>
                <a:ea typeface="Open Sans"/>
                <a:cs typeface="Open Sans"/>
              </a:rPr>
              <a:t>Gowtham Reddy </a:t>
            </a:r>
            <a:r>
              <a:rPr lang="en-US" sz="1000" err="1">
                <a:latin typeface="Open Sans"/>
                <a:ea typeface="Open Sans"/>
                <a:cs typeface="Open Sans"/>
              </a:rPr>
              <a:t>Guntaka</a:t>
            </a:r>
            <a:r>
              <a:rPr lang="en-US" sz="1000">
                <a:latin typeface="Open Sans"/>
                <a:ea typeface="Open Sans"/>
                <a:cs typeface="Open Sans"/>
              </a:rPr>
              <a:t> (Dev)</a:t>
            </a:r>
          </a:p>
          <a:p>
            <a:pPr algn="ctr" defTabSz="457195">
              <a:defRPr/>
            </a:pPr>
            <a:r>
              <a:rPr lang="en-US" sz="1000">
                <a:latin typeface="Open Sans"/>
              </a:rPr>
              <a:t>Praveen Vitta(Dev)</a:t>
            </a:r>
            <a:endParaRPr lang="en-US" sz="1000">
              <a:latin typeface="Open Sans"/>
              <a:ea typeface="Open Sans"/>
              <a:cs typeface="Open Sans"/>
            </a:endParaRPr>
          </a:p>
          <a:p>
            <a:pPr algn="ctr" defTabSz="457195">
              <a:defRPr/>
            </a:pPr>
            <a:r>
              <a:rPr lang="en-US" sz="1000">
                <a:latin typeface="Open Sans"/>
                <a:ea typeface="+mn-lt"/>
                <a:cs typeface="+mn-lt"/>
              </a:rPr>
              <a:t>Jinesh Shakya(Dev)</a:t>
            </a:r>
          </a:p>
          <a:p>
            <a:pPr algn="ctr" defTabSz="457195">
              <a:defRPr/>
            </a:pPr>
            <a:r>
              <a:rPr lang="en-US" sz="1000">
                <a:solidFill>
                  <a:srgbClr val="FFFF00"/>
                </a:solidFill>
                <a:latin typeface="Open Sans"/>
                <a:ea typeface="+mn-lt"/>
                <a:cs typeface="+mn-lt"/>
              </a:rPr>
              <a:t>Open Position (Dev)</a:t>
            </a:r>
          </a:p>
          <a:p>
            <a:pPr algn="ctr" defTabSz="457195">
              <a:defRPr/>
            </a:pPr>
            <a:r>
              <a:rPr lang="en-US" sz="1000">
                <a:solidFill>
                  <a:srgbClr val="FFFF00"/>
                </a:solidFill>
                <a:latin typeface="Open Sans"/>
                <a:ea typeface="+mn-lt"/>
                <a:cs typeface="+mn-lt"/>
              </a:rPr>
              <a:t>Open Position (Dev)</a:t>
            </a:r>
          </a:p>
          <a:p>
            <a:pPr algn="ctr" defTabSz="457195">
              <a:defRPr/>
            </a:pPr>
            <a:endParaRPr lang="en-US" sz="1000">
              <a:latin typeface="Open Sans"/>
              <a:ea typeface="+mn-lt"/>
              <a:cs typeface="+mn-lt"/>
            </a:endParaRPr>
          </a:p>
          <a:p>
            <a:pPr algn="ctr" defTabSz="457195">
              <a:defRPr/>
            </a:pPr>
            <a:endParaRPr lang="en-US" sz="1000">
              <a:latin typeface="Calibri" panose="020F0502020204030204"/>
              <a:ea typeface="Open Sans" panose="020B0606030504020204" pitchFamily="34" charset="0"/>
              <a:cs typeface="Calibri" panose="020F0502020204030204"/>
            </a:endParaRPr>
          </a:p>
          <a:p>
            <a:pPr algn="ctr" defTabSz="457195">
              <a:defRPr/>
            </a:pPr>
            <a:r>
              <a:rPr lang="en-US" sz="1000">
                <a:latin typeface="Open Sans"/>
                <a:ea typeface="Open Sans"/>
                <a:cs typeface="Open Sans"/>
              </a:rPr>
              <a:t>Anjaneyulu Chinni (SDET)</a:t>
            </a:r>
          </a:p>
          <a:p>
            <a:pPr algn="ctr" defTabSz="457195">
              <a:defRPr/>
            </a:pPr>
            <a:r>
              <a:rPr lang="en-US" sz="1000" err="1">
                <a:latin typeface="Open Sans"/>
                <a:ea typeface="Open Sans"/>
                <a:cs typeface="Open Sans"/>
              </a:rPr>
              <a:t>Guddadgi</a:t>
            </a:r>
            <a:r>
              <a:rPr lang="en-US" sz="1000">
                <a:latin typeface="Open Sans"/>
                <a:ea typeface="Open Sans"/>
                <a:cs typeface="Open Sans"/>
              </a:rPr>
              <a:t>, </a:t>
            </a:r>
            <a:r>
              <a:rPr lang="en-US" sz="1000" err="1">
                <a:latin typeface="Open Sans"/>
                <a:ea typeface="Open Sans"/>
                <a:cs typeface="Open Sans"/>
              </a:rPr>
              <a:t>Sharanabasappa</a:t>
            </a:r>
            <a:r>
              <a:rPr lang="en-US" sz="1000">
                <a:latin typeface="Open Sans"/>
                <a:ea typeface="Open Sans"/>
                <a:cs typeface="Open Sans"/>
              </a:rPr>
              <a:t> (SDET)</a:t>
            </a:r>
          </a:p>
          <a:p>
            <a:pPr algn="ctr" defTabSz="457195">
              <a:defRPr/>
            </a:pPr>
            <a:r>
              <a:rPr lang="en-US" sz="1000">
                <a:latin typeface="Open Sans"/>
                <a:ea typeface="Open Sans"/>
                <a:cs typeface="Open Sans"/>
              </a:rPr>
              <a:t>Ankit Jain (SDET)</a:t>
            </a:r>
          </a:p>
          <a:p>
            <a:pPr algn="ctr" defTabSz="457195">
              <a:defRPr/>
            </a:pPr>
            <a:r>
              <a:rPr lang="en-US" sz="1000">
                <a:latin typeface="Open Sans"/>
                <a:ea typeface="+mn-lt"/>
                <a:cs typeface="+mn-lt"/>
              </a:rPr>
              <a:t>Bhanu Prakash (SDET)</a:t>
            </a:r>
            <a:endParaRPr lang="en-US" sz="1000">
              <a:ea typeface="+mn-lt"/>
              <a:cs typeface="+mn-lt"/>
            </a:endParaRPr>
          </a:p>
          <a:p>
            <a:pPr algn="ctr" defTabSz="457195">
              <a:defRPr/>
            </a:pPr>
            <a:endParaRPr lang="en-US" sz="1000">
              <a:latin typeface="Open Sans"/>
            </a:endParaRPr>
          </a:p>
          <a:p>
            <a:pPr algn="ctr" defTabSz="457195">
              <a:defRPr/>
            </a:pPr>
            <a:endParaRPr lang="en-US" sz="1000">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Rounded Rectangle 9">
            <a:extLst>
              <a:ext uri="{FF2B5EF4-FFF2-40B4-BE49-F238E27FC236}">
                <a16:creationId xmlns:a16="http://schemas.microsoft.com/office/drawing/2014/main" id="{06D724A7-A55C-468D-B48D-302C407D05AE}"/>
              </a:ext>
            </a:extLst>
          </p:cNvPr>
          <p:cNvSpPr/>
          <p:nvPr/>
        </p:nvSpPr>
        <p:spPr>
          <a:xfrm>
            <a:off x="1343075" y="796155"/>
            <a:ext cx="9185364" cy="35644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5">
              <a:defRPr/>
            </a:pPr>
            <a:r>
              <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rPr>
              <a:t>CPO: Ben Hamilton</a:t>
            </a:r>
          </a:p>
        </p:txBody>
      </p:sp>
      <p:sp>
        <p:nvSpPr>
          <p:cNvPr id="31" name="Rounded Rectangle 10">
            <a:extLst>
              <a:ext uri="{FF2B5EF4-FFF2-40B4-BE49-F238E27FC236}">
                <a16:creationId xmlns:a16="http://schemas.microsoft.com/office/drawing/2014/main" id="{2AE3758D-7C33-4FE4-A382-D35FFA709335}"/>
              </a:ext>
            </a:extLst>
          </p:cNvPr>
          <p:cNvSpPr/>
          <p:nvPr/>
        </p:nvSpPr>
        <p:spPr>
          <a:xfrm>
            <a:off x="1359568" y="1783329"/>
            <a:ext cx="9168869" cy="346238"/>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100">
                <a:latin typeface="Open Sans"/>
                <a:ea typeface="Open Sans"/>
                <a:cs typeface="Open Sans"/>
              </a:rPr>
              <a:t>Product Manager: Andrew / Spencer / Jen Kelly</a:t>
            </a:r>
            <a:endPar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ounded Rectangle 16">
            <a:extLst>
              <a:ext uri="{FF2B5EF4-FFF2-40B4-BE49-F238E27FC236}">
                <a16:creationId xmlns:a16="http://schemas.microsoft.com/office/drawing/2014/main" id="{6E754AEB-26AB-48BA-AD37-21E8E60DC65B}"/>
              </a:ext>
            </a:extLst>
          </p:cNvPr>
          <p:cNvSpPr/>
          <p:nvPr/>
        </p:nvSpPr>
        <p:spPr>
          <a:xfrm>
            <a:off x="1359569" y="1263506"/>
            <a:ext cx="9168870" cy="36005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100">
                <a:latin typeface="Open Sans"/>
                <a:ea typeface="Open Sans"/>
                <a:cs typeface="Open Sans"/>
              </a:rPr>
              <a:t>DL: Sravanthi Jonnalagadda, Sowmya Kandula</a:t>
            </a:r>
          </a:p>
        </p:txBody>
      </p:sp>
      <p:sp>
        <p:nvSpPr>
          <p:cNvPr id="33" name="Title 1">
            <a:extLst>
              <a:ext uri="{FF2B5EF4-FFF2-40B4-BE49-F238E27FC236}">
                <a16:creationId xmlns:a16="http://schemas.microsoft.com/office/drawing/2014/main" id="{BBC230EB-5697-4BB6-B89F-025E9D5DC5E9}"/>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0" b="1">
                <a:latin typeface="Open Sans"/>
                <a:ea typeface="Open Sans" panose="020B0606030504020204" pitchFamily="34" charset="0"/>
                <a:cs typeface="Open Sans" panose="020B0606030504020204" pitchFamily="34" charset="0"/>
              </a:rPr>
              <a:t>Diagnostics Extended Reporting – </a:t>
            </a:r>
            <a:r>
              <a:rPr lang="en-US" sz="1800" b="1">
                <a:solidFill>
                  <a:schemeClr val="tx1">
                    <a:lumMod val="50000"/>
                    <a:lumOff val="50000"/>
                  </a:schemeClr>
                </a:solidFill>
                <a:latin typeface="Open Sans"/>
                <a:ea typeface="Open Sans" panose="020B0606030504020204" pitchFamily="34" charset="0"/>
                <a:cs typeface="Open Sans" panose="020B0606030504020204" pitchFamily="34" charset="0"/>
              </a:rPr>
              <a:t>Team Structure</a:t>
            </a:r>
          </a:p>
        </p:txBody>
      </p:sp>
      <p:sp>
        <p:nvSpPr>
          <p:cNvPr id="34" name="Rectangle: Rounded Corners 3">
            <a:extLst>
              <a:ext uri="{FF2B5EF4-FFF2-40B4-BE49-F238E27FC236}">
                <a16:creationId xmlns:a16="http://schemas.microsoft.com/office/drawing/2014/main" id="{EE3FC98C-C0E2-42A9-A652-86D56169AA65}"/>
              </a:ext>
            </a:extLst>
          </p:cNvPr>
          <p:cNvSpPr/>
          <p:nvPr/>
        </p:nvSpPr>
        <p:spPr>
          <a:xfrm>
            <a:off x="6204324" y="2421568"/>
            <a:ext cx="2480552" cy="282912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35A39DDA-C958-4529-8881-AE8EDF6A51AE}"/>
              </a:ext>
            </a:extLst>
          </p:cNvPr>
          <p:cNvSpPr txBox="1"/>
          <p:nvPr/>
        </p:nvSpPr>
        <p:spPr>
          <a:xfrm>
            <a:off x="6910752" y="2160996"/>
            <a:ext cx="1478603"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b="1"/>
              <a:t>Data Routers{Kanini}</a:t>
            </a:r>
            <a:endParaRPr lang="en-US" sz="1100" b="1">
              <a:cs typeface="Calibri"/>
            </a:endParaRPr>
          </a:p>
        </p:txBody>
      </p:sp>
      <p:sp>
        <p:nvSpPr>
          <p:cNvPr id="36" name="TextBox 35">
            <a:extLst>
              <a:ext uri="{FF2B5EF4-FFF2-40B4-BE49-F238E27FC236}">
                <a16:creationId xmlns:a16="http://schemas.microsoft.com/office/drawing/2014/main" id="{C86B36EA-5E39-4CD9-AFBA-3DA43EE3ED69}"/>
              </a:ext>
            </a:extLst>
          </p:cNvPr>
          <p:cNvSpPr txBox="1"/>
          <p:nvPr/>
        </p:nvSpPr>
        <p:spPr>
          <a:xfrm>
            <a:off x="6235132" y="2593945"/>
            <a:ext cx="2456635" cy="30008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a:solidFill>
                  <a:schemeClr val="bg1"/>
                </a:solidFill>
                <a:ea typeface="+mn-lt"/>
                <a:cs typeface="+mn-lt"/>
              </a:rPr>
              <a:t>TBD (PO)</a:t>
            </a:r>
            <a:endParaRPr lang="en-US" sz="1100">
              <a:solidFill>
                <a:schemeClr val="bg1"/>
              </a:solidFill>
              <a:cs typeface="Calibri"/>
            </a:endParaRPr>
          </a:p>
          <a:p>
            <a:pPr algn="ctr"/>
            <a:r>
              <a:rPr lang="en-US" sz="1100">
                <a:solidFill>
                  <a:schemeClr val="bg1"/>
                </a:solidFill>
                <a:ea typeface="+mn-lt"/>
                <a:cs typeface="+mn-lt"/>
              </a:rPr>
              <a:t>Krishnamoorthy, Ramesh (Lead) </a:t>
            </a:r>
            <a:endParaRPr lang="en-US" sz="1100">
              <a:solidFill>
                <a:schemeClr val="bg1"/>
              </a:solidFill>
              <a:cs typeface="Calibri"/>
            </a:endParaRPr>
          </a:p>
          <a:p>
            <a:pPr algn="ctr"/>
            <a:endParaRPr lang="en-US" sz="1100">
              <a:solidFill>
                <a:schemeClr val="bg1"/>
              </a:solidFill>
              <a:ea typeface="+mn-lt"/>
              <a:cs typeface="+mn-lt"/>
            </a:endParaRPr>
          </a:p>
          <a:p>
            <a:pPr algn="ctr"/>
            <a:r>
              <a:rPr lang="en-US" sz="1100">
                <a:solidFill>
                  <a:schemeClr val="bg1"/>
                </a:solidFill>
                <a:ea typeface="+mn-lt"/>
                <a:cs typeface="+mn-lt"/>
              </a:rPr>
              <a:t>Balasubramanian, Amuthasakaran(Dev) </a:t>
            </a:r>
            <a:endParaRPr lang="en-US" sz="1100">
              <a:solidFill>
                <a:schemeClr val="bg1"/>
              </a:solidFill>
              <a:cs typeface="Calibri"/>
            </a:endParaRPr>
          </a:p>
          <a:p>
            <a:pPr algn="ctr"/>
            <a:r>
              <a:rPr lang="en-US" sz="1100">
                <a:solidFill>
                  <a:schemeClr val="bg1"/>
                </a:solidFill>
                <a:ea typeface="+mn-lt"/>
                <a:cs typeface="+mn-lt"/>
              </a:rPr>
              <a:t>Sampath, Sridhar(Dev) </a:t>
            </a:r>
            <a:endParaRPr lang="en-US" sz="1100">
              <a:solidFill>
                <a:schemeClr val="bg1"/>
              </a:solidFill>
              <a:cs typeface="Calibri"/>
            </a:endParaRPr>
          </a:p>
          <a:p>
            <a:pPr algn="ctr"/>
            <a:r>
              <a:rPr lang="en-US" sz="1100">
                <a:solidFill>
                  <a:schemeClr val="bg1"/>
                </a:solidFill>
                <a:ea typeface="+mn-lt"/>
                <a:cs typeface="+mn-lt"/>
              </a:rPr>
              <a:t>Selvaraj, Selva Sajin(Dev)</a:t>
            </a:r>
            <a:endParaRPr lang="en-US" sz="1100">
              <a:solidFill>
                <a:schemeClr val="bg1"/>
              </a:solidFill>
              <a:cs typeface="Calibri"/>
            </a:endParaRPr>
          </a:p>
          <a:p>
            <a:pPr algn="ctr"/>
            <a:r>
              <a:rPr lang="en-US" sz="1100">
                <a:solidFill>
                  <a:schemeClr val="bg1"/>
                </a:solidFill>
                <a:ea typeface="+mn-lt"/>
                <a:cs typeface="+mn-lt"/>
              </a:rPr>
              <a:t>Selvaraj, Sriramsankar (Dev)</a:t>
            </a:r>
            <a:endParaRPr lang="en-US" sz="1100">
              <a:solidFill>
                <a:schemeClr val="bg1"/>
              </a:solidFill>
              <a:cs typeface="Calibri"/>
            </a:endParaRPr>
          </a:p>
          <a:p>
            <a:pPr algn="ctr"/>
            <a:r>
              <a:rPr lang="en-US" sz="1100">
                <a:solidFill>
                  <a:schemeClr val="bg1"/>
                </a:solidFill>
                <a:ea typeface="+mn-lt"/>
                <a:cs typeface="+mn-lt"/>
              </a:rPr>
              <a:t>Selvaraj, </a:t>
            </a:r>
            <a:r>
              <a:rPr lang="en-US" sz="1100" err="1">
                <a:solidFill>
                  <a:schemeClr val="bg1"/>
                </a:solidFill>
                <a:ea typeface="+mn-lt"/>
                <a:cs typeface="+mn-lt"/>
              </a:rPr>
              <a:t>Vasantha</a:t>
            </a:r>
            <a:r>
              <a:rPr lang="en-US" sz="1100">
                <a:solidFill>
                  <a:schemeClr val="bg1"/>
                </a:solidFill>
                <a:ea typeface="+mn-lt"/>
                <a:cs typeface="+mn-lt"/>
              </a:rPr>
              <a:t> Kumar(Dev)</a:t>
            </a:r>
            <a:endParaRPr lang="en-US" sz="1100">
              <a:solidFill>
                <a:schemeClr val="bg1"/>
              </a:solidFill>
              <a:cs typeface="Calibri"/>
            </a:endParaRPr>
          </a:p>
          <a:p>
            <a:pPr algn="ctr"/>
            <a:r>
              <a:rPr lang="en-US" sz="1100">
                <a:solidFill>
                  <a:schemeClr val="bg1"/>
                </a:solidFill>
                <a:ea typeface="+mn-lt"/>
                <a:cs typeface="+mn-lt"/>
              </a:rPr>
              <a:t>Sharma, Navin(Dev)</a:t>
            </a:r>
            <a:endParaRPr lang="en-US" sz="1100">
              <a:solidFill>
                <a:schemeClr val="bg1"/>
              </a:solidFill>
              <a:cs typeface="Calibri"/>
            </a:endParaRPr>
          </a:p>
          <a:p>
            <a:pPr algn="ctr"/>
            <a:r>
              <a:rPr lang="en-US" sz="1100" err="1">
                <a:solidFill>
                  <a:schemeClr val="bg1"/>
                </a:solidFill>
                <a:ea typeface="+mn-lt"/>
                <a:cs typeface="+mn-lt"/>
              </a:rPr>
              <a:t>Umapathy</a:t>
            </a:r>
            <a:r>
              <a:rPr lang="en-US" sz="1100">
                <a:solidFill>
                  <a:schemeClr val="bg1"/>
                </a:solidFill>
                <a:ea typeface="+mn-lt"/>
                <a:cs typeface="+mn-lt"/>
              </a:rPr>
              <a:t>, </a:t>
            </a:r>
            <a:r>
              <a:rPr lang="en-US" sz="1100" err="1">
                <a:solidFill>
                  <a:schemeClr val="bg1"/>
                </a:solidFill>
                <a:ea typeface="+mn-lt"/>
                <a:cs typeface="+mn-lt"/>
              </a:rPr>
              <a:t>Chethan</a:t>
            </a:r>
            <a:r>
              <a:rPr lang="en-US" sz="1100">
                <a:solidFill>
                  <a:schemeClr val="bg1"/>
                </a:solidFill>
                <a:ea typeface="+mn-lt"/>
                <a:cs typeface="+mn-lt"/>
              </a:rPr>
              <a:t> Kumar(Dev) </a:t>
            </a:r>
            <a:endParaRPr lang="en-US" sz="1100">
              <a:solidFill>
                <a:schemeClr val="bg1"/>
              </a:solidFill>
              <a:cs typeface="Calibri"/>
            </a:endParaRPr>
          </a:p>
          <a:p>
            <a:pPr algn="ctr"/>
            <a:endParaRPr lang="en-US" sz="1100">
              <a:solidFill>
                <a:schemeClr val="bg1"/>
              </a:solidFill>
              <a:ea typeface="+mn-lt"/>
              <a:cs typeface="+mn-lt"/>
            </a:endParaRPr>
          </a:p>
          <a:p>
            <a:pPr algn="ctr"/>
            <a:r>
              <a:rPr lang="en-US" sz="1100">
                <a:solidFill>
                  <a:schemeClr val="bg1"/>
                </a:solidFill>
                <a:ea typeface="+mn-lt"/>
                <a:cs typeface="+mn-lt"/>
              </a:rPr>
              <a:t>Jani, Ahamed Ali (QA)</a:t>
            </a:r>
            <a:endParaRPr lang="en-US" sz="1100">
              <a:solidFill>
                <a:schemeClr val="bg1"/>
              </a:solidFill>
              <a:cs typeface="Calibri"/>
            </a:endParaRPr>
          </a:p>
          <a:p>
            <a:pPr algn="ctr"/>
            <a:r>
              <a:rPr lang="en-US" sz="1100" err="1">
                <a:solidFill>
                  <a:schemeClr val="bg1"/>
                </a:solidFill>
                <a:ea typeface="+mn-lt"/>
                <a:cs typeface="+mn-lt"/>
              </a:rPr>
              <a:t>Pesala</a:t>
            </a:r>
            <a:r>
              <a:rPr lang="en-US" sz="1100">
                <a:solidFill>
                  <a:schemeClr val="bg1"/>
                </a:solidFill>
                <a:ea typeface="+mn-lt"/>
                <a:cs typeface="+mn-lt"/>
              </a:rPr>
              <a:t>, </a:t>
            </a:r>
            <a:r>
              <a:rPr lang="en-US" sz="1100" err="1">
                <a:solidFill>
                  <a:schemeClr val="bg1"/>
                </a:solidFill>
                <a:ea typeface="+mn-lt"/>
                <a:cs typeface="+mn-lt"/>
              </a:rPr>
              <a:t>Nagamani</a:t>
            </a:r>
            <a:r>
              <a:rPr lang="en-US" sz="1100">
                <a:solidFill>
                  <a:schemeClr val="bg1"/>
                </a:solidFill>
                <a:ea typeface="+mn-lt"/>
                <a:cs typeface="+mn-lt"/>
              </a:rPr>
              <a:t> (QA)</a:t>
            </a:r>
            <a:endParaRPr lang="en-US" sz="1100">
              <a:solidFill>
                <a:schemeClr val="bg1"/>
              </a:solidFill>
              <a:cs typeface="Calibri"/>
            </a:endParaRPr>
          </a:p>
          <a:p>
            <a:pPr algn="ctr"/>
            <a:r>
              <a:rPr lang="en-US" sz="1100">
                <a:solidFill>
                  <a:schemeClr val="bg1"/>
                </a:solidFill>
                <a:cs typeface="Calibri"/>
              </a:rPr>
              <a:t>Janani </a:t>
            </a:r>
            <a:r>
              <a:rPr lang="en-US" sz="1100" err="1">
                <a:solidFill>
                  <a:schemeClr val="bg1"/>
                </a:solidFill>
                <a:cs typeface="Calibri"/>
              </a:rPr>
              <a:t>Rajan</a:t>
            </a:r>
            <a:r>
              <a:rPr lang="en-US" sz="1100">
                <a:solidFill>
                  <a:schemeClr val="bg1"/>
                </a:solidFill>
                <a:cs typeface="Calibri"/>
              </a:rPr>
              <a:t>(QA)</a:t>
            </a:r>
          </a:p>
          <a:p>
            <a:endParaRPr lang="en-US" sz="1100">
              <a:cs typeface="Calibri"/>
            </a:endParaRPr>
          </a:p>
          <a:p>
            <a:endParaRPr lang="en-US"/>
          </a:p>
        </p:txBody>
      </p:sp>
    </p:spTree>
    <p:extLst>
      <p:ext uri="{BB962C8B-B14F-4D97-AF65-F5344CB8AC3E}">
        <p14:creationId xmlns:p14="http://schemas.microsoft.com/office/powerpoint/2010/main" val="192126835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3">
            <a:extLst>
              <a:ext uri="{FF2B5EF4-FFF2-40B4-BE49-F238E27FC236}">
                <a16:creationId xmlns:a16="http://schemas.microsoft.com/office/drawing/2014/main" id="{D6A4EF2C-BE94-453D-B335-1781A8B545B9}"/>
              </a:ext>
            </a:extLst>
          </p:cNvPr>
          <p:cNvSpPr/>
          <p:nvPr/>
        </p:nvSpPr>
        <p:spPr bwMode="gray">
          <a:xfrm>
            <a:off x="1359568" y="5718125"/>
            <a:ext cx="9168868" cy="356447"/>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001">
                <a:solidFill>
                  <a:prstClr val="black"/>
                </a:solidFill>
                <a:latin typeface="Open Sans" panose="020B0606030504020204" pitchFamily="34" charset="0"/>
                <a:ea typeface="Open Sans" panose="020B0606030504020204" pitchFamily="34" charset="0"/>
                <a:cs typeface="Open Sans" panose="020B0606030504020204" pitchFamily="34" charset="0"/>
              </a:rPr>
              <a:t>Technical Architects: Manish S, Open*</a:t>
            </a:r>
          </a:p>
        </p:txBody>
      </p:sp>
      <p:sp>
        <p:nvSpPr>
          <p:cNvPr id="21" name="Rounded Rectangle 20">
            <a:extLst>
              <a:ext uri="{FF2B5EF4-FFF2-40B4-BE49-F238E27FC236}">
                <a16:creationId xmlns:a16="http://schemas.microsoft.com/office/drawing/2014/main" id="{3AD73DD1-CA9D-43A7-AE40-783F13202818}"/>
              </a:ext>
            </a:extLst>
          </p:cNvPr>
          <p:cNvSpPr/>
          <p:nvPr/>
        </p:nvSpPr>
        <p:spPr>
          <a:xfrm>
            <a:off x="1519895" y="2529891"/>
            <a:ext cx="2402582" cy="2943620"/>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defTabSz="1219155">
              <a:defRPr/>
            </a:pPr>
            <a:r>
              <a:rPr lang="en-US" sz="1000">
                <a:latin typeface="Open Sans"/>
                <a:ea typeface="Open Sans"/>
                <a:cs typeface="Open Sans"/>
              </a:rPr>
              <a:t>Rakesh Sharma Palla (PO)</a:t>
            </a:r>
          </a:p>
          <a:p>
            <a:pPr algn="ctr" defTabSz="1219155">
              <a:defRPr/>
            </a:pPr>
            <a:r>
              <a:rPr lang="en-US" sz="1000" err="1">
                <a:latin typeface="Open Sans"/>
                <a:ea typeface="Open Sans"/>
                <a:cs typeface="Open Sans"/>
              </a:rPr>
              <a:t>Vanisree</a:t>
            </a:r>
            <a:r>
              <a:rPr lang="en-US" sz="1000">
                <a:latin typeface="Open Sans"/>
                <a:ea typeface="Open Sans"/>
                <a:cs typeface="Open Sans"/>
              </a:rPr>
              <a:t> </a:t>
            </a:r>
            <a:r>
              <a:rPr lang="en-US" sz="1000" err="1">
                <a:latin typeface="Open Sans"/>
                <a:ea typeface="Open Sans"/>
                <a:cs typeface="Open Sans"/>
              </a:rPr>
              <a:t>Venkatachalapathy</a:t>
            </a:r>
            <a:r>
              <a:rPr lang="en-US" sz="1000">
                <a:latin typeface="Open Sans"/>
                <a:ea typeface="Open Sans"/>
                <a:cs typeface="Open Sans"/>
              </a:rPr>
              <a:t> (PO)</a:t>
            </a:r>
          </a:p>
          <a:p>
            <a:pPr algn="ctr" defTabSz="1219155">
              <a:defRPr/>
            </a:pPr>
            <a:r>
              <a:rPr lang="en-US" sz="1000">
                <a:latin typeface="Open Sans"/>
                <a:ea typeface="Open Sans"/>
                <a:cs typeface="Open Sans"/>
              </a:rPr>
              <a:t>Jyothi Adusumilli(SM)</a:t>
            </a:r>
          </a:p>
          <a:p>
            <a:pPr algn="ctr" defTabSz="1219155">
              <a:defRPr/>
            </a:pPr>
            <a:endParaRPr lang="en-US" sz="1000">
              <a:latin typeface="Open Sans"/>
              <a:ea typeface="Open Sans" panose="020B0606030504020204" pitchFamily="34" charset="0"/>
              <a:cs typeface="Open Sans" panose="020B0606030504020204" pitchFamily="34" charset="0"/>
            </a:endParaRPr>
          </a:p>
          <a:p>
            <a:pPr algn="ctr" defTabSz="1219155">
              <a:defRPr/>
            </a:pPr>
            <a:endParaRPr lang="en-US" sz="1000">
              <a:latin typeface="Calibri" panose="020F0502020204030204"/>
              <a:ea typeface="Open Sans" panose="020B0606030504020204" pitchFamily="34" charset="0"/>
              <a:cs typeface="Calibri" panose="020F0502020204030204"/>
            </a:endParaRPr>
          </a:p>
          <a:p>
            <a:pPr algn="ctr" defTabSz="1219155">
              <a:defRPr/>
            </a:pPr>
            <a:r>
              <a:rPr lang="en-US" sz="1000">
                <a:latin typeface="Open Sans"/>
                <a:ea typeface="+mn-lt"/>
                <a:cs typeface="+mn-lt"/>
              </a:rPr>
              <a:t> Vasu </a:t>
            </a:r>
            <a:r>
              <a:rPr lang="en-US" sz="1000" err="1">
                <a:latin typeface="Open Sans"/>
                <a:ea typeface="+mn-lt"/>
                <a:cs typeface="+mn-lt"/>
              </a:rPr>
              <a:t>Gundipalli</a:t>
            </a:r>
            <a:r>
              <a:rPr lang="en-US" sz="1000">
                <a:latin typeface="Open Sans"/>
                <a:ea typeface="+mn-lt"/>
                <a:cs typeface="+mn-lt"/>
              </a:rPr>
              <a:t>(Dev Lead)</a:t>
            </a:r>
            <a:endParaRPr lang="en-US" sz="1000">
              <a:ea typeface="+mn-lt"/>
              <a:cs typeface="+mn-lt"/>
            </a:endParaRPr>
          </a:p>
          <a:p>
            <a:pPr algn="ctr" defTabSz="1219155">
              <a:defRPr/>
            </a:pPr>
            <a:r>
              <a:rPr lang="en-US" sz="1000">
                <a:latin typeface="Open Sans"/>
                <a:ea typeface="Open Sans"/>
                <a:cs typeface="Open Sans"/>
              </a:rPr>
              <a:t>Chandrika Bandi (DMG Lead)</a:t>
            </a:r>
            <a:endParaRPr lang="en-US" sz="1000">
              <a:ea typeface="+mn-lt"/>
              <a:cs typeface="+mn-lt"/>
            </a:endParaRPr>
          </a:p>
          <a:p>
            <a:pPr algn="ctr" defTabSz="1219155">
              <a:defRPr/>
            </a:pPr>
            <a:r>
              <a:rPr lang="en-US" sz="1000">
                <a:latin typeface="Open Sans"/>
                <a:ea typeface="+mn-lt"/>
                <a:cs typeface="+mn-lt"/>
              </a:rPr>
              <a:t>Ramesh </a:t>
            </a:r>
            <a:r>
              <a:rPr lang="en-US" sz="1000" err="1">
                <a:latin typeface="Open Sans"/>
                <a:ea typeface="+mn-lt"/>
                <a:cs typeface="+mn-lt"/>
              </a:rPr>
              <a:t>Palapati</a:t>
            </a:r>
            <a:r>
              <a:rPr lang="en-US" sz="1000">
                <a:latin typeface="Open Sans"/>
                <a:ea typeface="+mn-lt"/>
                <a:cs typeface="+mn-lt"/>
              </a:rPr>
              <a:t> (Dev)</a:t>
            </a:r>
            <a:endParaRPr lang="en-US" sz="1000">
              <a:ea typeface="+mn-lt"/>
              <a:cs typeface="+mn-lt"/>
            </a:endParaRPr>
          </a:p>
          <a:p>
            <a:pPr algn="ctr" defTabSz="1219155">
              <a:defRPr/>
            </a:pPr>
            <a:r>
              <a:rPr lang="en-US" sz="1000">
                <a:latin typeface="Open Sans"/>
                <a:ea typeface="+mn-lt"/>
                <a:cs typeface="+mn-lt"/>
              </a:rPr>
              <a:t>Nagesh </a:t>
            </a:r>
            <a:r>
              <a:rPr lang="en-US" sz="1000" err="1">
                <a:latin typeface="Open Sans"/>
                <a:ea typeface="+mn-lt"/>
                <a:cs typeface="+mn-lt"/>
              </a:rPr>
              <a:t>Jammula</a:t>
            </a:r>
            <a:r>
              <a:rPr lang="en-US" sz="1000">
                <a:latin typeface="Open Sans"/>
                <a:ea typeface="+mn-lt"/>
                <a:cs typeface="+mn-lt"/>
              </a:rPr>
              <a:t> (Dev)</a:t>
            </a:r>
          </a:p>
          <a:p>
            <a:pPr algn="ctr" defTabSz="1219155">
              <a:defRPr/>
            </a:pPr>
            <a:r>
              <a:rPr lang="en-US" sz="1000">
                <a:latin typeface="Open Sans"/>
                <a:ea typeface="+mn-lt"/>
                <a:cs typeface="Calibri"/>
              </a:rPr>
              <a:t>Prathyusha </a:t>
            </a:r>
            <a:r>
              <a:rPr lang="en-US" sz="1000" err="1">
                <a:latin typeface="Open Sans"/>
                <a:ea typeface="+mn-lt"/>
                <a:cs typeface="Calibri"/>
              </a:rPr>
              <a:t>Boyidi</a:t>
            </a:r>
            <a:r>
              <a:rPr lang="en-US" sz="1000">
                <a:latin typeface="Open Sans"/>
                <a:ea typeface="+mn-lt"/>
                <a:cs typeface="Calibri"/>
              </a:rPr>
              <a:t>(DEV)</a:t>
            </a:r>
            <a:endParaRPr lang="en-US" sz="1000">
              <a:ea typeface="+mn-lt"/>
              <a:cs typeface="+mn-lt"/>
            </a:endParaRPr>
          </a:p>
          <a:p>
            <a:pPr algn="ctr" defTabSz="1219155">
              <a:defRPr/>
            </a:pPr>
            <a:r>
              <a:rPr lang="en-US" sz="1000" err="1">
                <a:latin typeface="Open Sans"/>
                <a:ea typeface="+mn-lt"/>
                <a:cs typeface="Calibri"/>
              </a:rPr>
              <a:t>Lallu</a:t>
            </a:r>
            <a:r>
              <a:rPr lang="en-US" sz="1000">
                <a:latin typeface="Open Sans"/>
                <a:ea typeface="+mn-lt"/>
                <a:cs typeface="Calibri"/>
              </a:rPr>
              <a:t> Prasad(Dev)</a:t>
            </a:r>
            <a:endParaRPr lang="en-US" sz="1000">
              <a:ea typeface="+mn-lt"/>
              <a:cs typeface="+mn-lt"/>
            </a:endParaRPr>
          </a:p>
          <a:p>
            <a:pPr algn="ctr" defTabSz="1219155">
              <a:defRPr/>
            </a:pPr>
            <a:endParaRPr lang="en-US" sz="1000">
              <a:latin typeface="Open Sans"/>
              <a:ea typeface="Open Sans" panose="020B0606030504020204" pitchFamily="34" charset="0"/>
              <a:cs typeface="Calibri"/>
            </a:endParaRPr>
          </a:p>
          <a:p>
            <a:pPr algn="ctr" defTabSz="1219155">
              <a:defRPr/>
            </a:pPr>
            <a:r>
              <a:rPr lang="en-US" sz="1000">
                <a:latin typeface="Open Sans"/>
                <a:ea typeface="Open Sans"/>
                <a:cs typeface="Open Sans"/>
              </a:rPr>
              <a:t>Manoj </a:t>
            </a:r>
            <a:r>
              <a:rPr lang="en-US" sz="1000" err="1">
                <a:latin typeface="Open Sans"/>
                <a:ea typeface="Open Sans"/>
                <a:cs typeface="Open Sans"/>
              </a:rPr>
              <a:t>Aluvala</a:t>
            </a:r>
            <a:r>
              <a:rPr lang="en-US" sz="1000">
                <a:latin typeface="Open Sans"/>
                <a:ea typeface="Open Sans"/>
                <a:cs typeface="Open Sans"/>
              </a:rPr>
              <a:t> (DMG)</a:t>
            </a:r>
            <a:endParaRPr lang="en-US">
              <a:ea typeface="Open Sans"/>
              <a:cs typeface="Open Sans"/>
            </a:endParaRPr>
          </a:p>
          <a:p>
            <a:pPr algn="ctr" defTabSz="1219155">
              <a:defRPr/>
            </a:pPr>
            <a:r>
              <a:rPr lang="en-US" sz="1000">
                <a:latin typeface="Open Sans"/>
                <a:ea typeface="Open Sans"/>
                <a:cs typeface="Open Sans"/>
              </a:rPr>
              <a:t>Parul Priya(DMG)</a:t>
            </a:r>
          </a:p>
          <a:p>
            <a:pPr algn="ctr">
              <a:defRPr/>
            </a:pPr>
            <a:endParaRPr lang="en-US" sz="1000">
              <a:latin typeface="Open Sans"/>
              <a:ea typeface="Open Sans" panose="020B0606030504020204" pitchFamily="34" charset="0"/>
              <a:cs typeface="Open Sans" panose="020B0606030504020204" pitchFamily="34" charset="0"/>
            </a:endParaRPr>
          </a:p>
          <a:p>
            <a:pPr algn="ctr">
              <a:defRPr/>
            </a:pPr>
            <a:r>
              <a:rPr lang="en-US" sz="1000">
                <a:latin typeface="Open Sans"/>
                <a:ea typeface="+mn-lt"/>
                <a:cs typeface="+mn-lt"/>
              </a:rPr>
              <a:t>Jyothi Adusumilli(QA Lead)</a:t>
            </a:r>
            <a:endParaRPr lang="en-US" sz="1000">
              <a:ea typeface="+mn-lt"/>
              <a:cs typeface="+mn-lt"/>
            </a:endParaRPr>
          </a:p>
          <a:p>
            <a:pPr algn="ctr">
              <a:defRPr/>
            </a:pPr>
            <a:r>
              <a:rPr lang="en-US" sz="1000" err="1">
                <a:latin typeface="Open Sans"/>
                <a:ea typeface="Open Sans"/>
                <a:cs typeface="Open Sans"/>
              </a:rPr>
              <a:t>Shravya</a:t>
            </a:r>
            <a:r>
              <a:rPr lang="en-US" sz="1000">
                <a:latin typeface="Open Sans"/>
                <a:ea typeface="Open Sans"/>
                <a:cs typeface="Open Sans"/>
              </a:rPr>
              <a:t> </a:t>
            </a:r>
            <a:r>
              <a:rPr lang="en-US" sz="1000" err="1">
                <a:latin typeface="Open Sans"/>
                <a:ea typeface="Open Sans"/>
                <a:cs typeface="Open Sans"/>
              </a:rPr>
              <a:t>Sunkavalli</a:t>
            </a:r>
            <a:r>
              <a:rPr lang="en-US" sz="1000">
                <a:latin typeface="Open Sans"/>
                <a:ea typeface="Open Sans"/>
                <a:cs typeface="Open Sans"/>
              </a:rPr>
              <a:t> (SDET)</a:t>
            </a:r>
          </a:p>
          <a:p>
            <a:pPr algn="ctr">
              <a:defRPr/>
            </a:pPr>
            <a:r>
              <a:rPr lang="en-US" sz="1000" err="1">
                <a:latin typeface="Open Sans"/>
                <a:ea typeface="Open Sans"/>
                <a:cs typeface="Open Sans"/>
              </a:rPr>
              <a:t>VijayaLakshmi</a:t>
            </a:r>
            <a:r>
              <a:rPr lang="en-US" sz="1000">
                <a:latin typeface="Open Sans"/>
                <a:ea typeface="Open Sans"/>
                <a:cs typeface="Open Sans"/>
              </a:rPr>
              <a:t>(QA)</a:t>
            </a:r>
          </a:p>
        </p:txBody>
      </p:sp>
      <p:sp>
        <p:nvSpPr>
          <p:cNvPr id="22" name="TextBox 21">
            <a:extLst>
              <a:ext uri="{FF2B5EF4-FFF2-40B4-BE49-F238E27FC236}">
                <a16:creationId xmlns:a16="http://schemas.microsoft.com/office/drawing/2014/main" id="{07389087-CF20-4FC5-84F8-9D79CFDD7349}"/>
              </a:ext>
            </a:extLst>
          </p:cNvPr>
          <p:cNvSpPr txBox="1"/>
          <p:nvPr/>
        </p:nvSpPr>
        <p:spPr>
          <a:xfrm>
            <a:off x="1849567" y="2289028"/>
            <a:ext cx="1428966" cy="169277"/>
          </a:xfrm>
          <a:prstGeom prst="rect">
            <a:avLst/>
          </a:prstGeom>
          <a:noFill/>
        </p:spPr>
        <p:txBody>
          <a:bodyPr vert="horz" wrap="square" lIns="0" tIns="0" rIns="0" bIns="0" rtlCol="0">
            <a:spAutoFit/>
          </a:bodyPr>
          <a:lstStyle/>
          <a:p>
            <a:pPr algn="ctr" defTabSz="457195">
              <a:spcBef>
                <a:spcPts val="114"/>
              </a:spcBef>
              <a:buSzPct val="100000"/>
              <a:defRPr/>
            </a:pP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Bahamas</a:t>
            </a:r>
          </a:p>
        </p:txBody>
      </p:sp>
      <p:sp>
        <p:nvSpPr>
          <p:cNvPr id="23" name="Rounded Rectangle 7">
            <a:extLst>
              <a:ext uri="{FF2B5EF4-FFF2-40B4-BE49-F238E27FC236}">
                <a16:creationId xmlns:a16="http://schemas.microsoft.com/office/drawing/2014/main" id="{63C4D4D1-A06E-4F86-8E1F-FBE3DBFA51E8}"/>
              </a:ext>
            </a:extLst>
          </p:cNvPr>
          <p:cNvSpPr/>
          <p:nvPr/>
        </p:nvSpPr>
        <p:spPr>
          <a:xfrm>
            <a:off x="4499140" y="2532798"/>
            <a:ext cx="2402582" cy="2932152"/>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155"/>
            <a:endParaRPr lang="en-US" sz="1001">
              <a:latin typeface="Open Sans"/>
              <a:ea typeface="Open Sans" panose="020B0606030504020204" pitchFamily="34" charset="0"/>
              <a:cs typeface="Open Sans" panose="020B0606030504020204" pitchFamily="34" charset="0"/>
            </a:endParaRPr>
          </a:p>
          <a:p>
            <a:pPr algn="ctr" defTabSz="1219155"/>
            <a:endParaRPr lang="en-US" sz="1001">
              <a:latin typeface="Open Sans"/>
              <a:ea typeface="Open Sans" panose="020B0606030504020204" pitchFamily="34" charset="0"/>
              <a:cs typeface="Open Sans" panose="020B0606030504020204" pitchFamily="34" charset="0"/>
            </a:endParaRPr>
          </a:p>
          <a:p>
            <a:pPr algn="ctr" defTabSz="1219155"/>
            <a:endParaRPr lang="en-US" sz="1001">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r>
              <a:rPr lang="en-US" sz="1000">
                <a:latin typeface="Open Sans"/>
                <a:ea typeface="Open Sans"/>
                <a:cs typeface="Open Sans"/>
              </a:rPr>
              <a:t>Rakesh Sharma Palla (PO)</a:t>
            </a:r>
            <a:endParaRPr lang="en-US">
              <a:ea typeface="Open Sans"/>
              <a:cs typeface="Open Sans"/>
            </a:endParaRPr>
          </a:p>
          <a:p>
            <a:pPr algn="ctr" defTabSz="1219155"/>
            <a:r>
              <a:rPr lang="en-US" sz="1000">
                <a:latin typeface="Open Sans"/>
                <a:ea typeface="Open Sans"/>
                <a:cs typeface="Open Sans"/>
              </a:rPr>
              <a:t>Usha </a:t>
            </a:r>
            <a:r>
              <a:rPr lang="en-US" sz="1000" err="1">
                <a:latin typeface="Open Sans"/>
                <a:ea typeface="Open Sans"/>
                <a:cs typeface="Open Sans"/>
              </a:rPr>
              <a:t>Muppana</a:t>
            </a:r>
            <a:r>
              <a:rPr lang="en-US" sz="1000">
                <a:latin typeface="Open Sans"/>
                <a:ea typeface="Open Sans"/>
                <a:cs typeface="Open Sans"/>
              </a:rPr>
              <a:t> (PO)</a:t>
            </a:r>
          </a:p>
          <a:p>
            <a:pPr algn="ctr" defTabSz="1219155"/>
            <a:r>
              <a:rPr lang="en-US" sz="1000">
                <a:latin typeface="Open Sans"/>
                <a:ea typeface="Open Sans"/>
                <a:cs typeface="Open Sans"/>
              </a:rPr>
              <a:t>Jyothi Adusumilli(SM)</a:t>
            </a:r>
          </a:p>
          <a:p>
            <a:pPr algn="ctr" defTabSz="1219155"/>
            <a:endParaRPr lang="en-US" sz="1000">
              <a:latin typeface="Calibri" panose="020F0502020204030204"/>
              <a:ea typeface="Open Sans" panose="020B0606030504020204" pitchFamily="34" charset="0"/>
              <a:cs typeface="Calibri" panose="020F0502020204030204"/>
            </a:endParaRPr>
          </a:p>
          <a:p>
            <a:pPr algn="ctr" defTabSz="1219155"/>
            <a:r>
              <a:rPr lang="en-US" sz="1000">
                <a:latin typeface="Open Sans"/>
                <a:ea typeface="Open Sans"/>
                <a:cs typeface="Open Sans"/>
              </a:rPr>
              <a:t>Venkata </a:t>
            </a:r>
            <a:r>
              <a:rPr lang="en-US" sz="1000" err="1">
                <a:latin typeface="Open Sans"/>
                <a:ea typeface="Open Sans"/>
                <a:cs typeface="Open Sans"/>
              </a:rPr>
              <a:t>Kunduru</a:t>
            </a:r>
            <a:r>
              <a:rPr lang="en-US" sz="1000">
                <a:latin typeface="Open Sans"/>
                <a:ea typeface="Open Sans"/>
                <a:cs typeface="Open Sans"/>
              </a:rPr>
              <a:t> (Dev)</a:t>
            </a:r>
          </a:p>
          <a:p>
            <a:pPr algn="ctr" defTabSz="1219155"/>
            <a:r>
              <a:rPr lang="en-US" sz="1000">
                <a:latin typeface="Open Sans"/>
                <a:ea typeface="Open Sans"/>
                <a:cs typeface="Open Sans"/>
              </a:rPr>
              <a:t>Ashok G(Dev)</a:t>
            </a:r>
          </a:p>
          <a:p>
            <a:pPr algn="ctr" defTabSz="1219155"/>
            <a:r>
              <a:rPr lang="en-US" sz="1000">
                <a:latin typeface="Open Sans"/>
                <a:ea typeface="Open Sans"/>
                <a:cs typeface="Open Sans"/>
              </a:rPr>
              <a:t>Aditya Patidar</a:t>
            </a:r>
            <a:endParaRPr lang="en-US" sz="1000">
              <a:latin typeface="Open Sans"/>
              <a:cs typeface="Open Sans"/>
            </a:endParaRPr>
          </a:p>
          <a:p>
            <a:pPr algn="ctr" defTabSz="1219155"/>
            <a:r>
              <a:rPr lang="en-US" sz="1000">
                <a:latin typeface="Open Sans"/>
                <a:cs typeface="Calibri" panose="020F0502020204030204"/>
              </a:rPr>
              <a:t>Krishnamurthy </a:t>
            </a:r>
            <a:r>
              <a:rPr lang="en-US" sz="1000" err="1">
                <a:latin typeface="Open Sans"/>
                <a:cs typeface="Calibri" panose="020F0502020204030204"/>
              </a:rPr>
              <a:t>Gonnuru</a:t>
            </a:r>
            <a:r>
              <a:rPr lang="en-US" sz="1000">
                <a:latin typeface="Open Sans"/>
                <a:cs typeface="Calibri" panose="020F0502020204030204"/>
              </a:rPr>
              <a:t>(Dev)</a:t>
            </a:r>
            <a:endParaRPr lang="en-US" sz="1000">
              <a:latin typeface="Open Sans"/>
              <a:ea typeface="Open Sans"/>
              <a:cs typeface="Calibri" panose="020F0502020204030204"/>
            </a:endParaRPr>
          </a:p>
          <a:p>
            <a:pPr algn="ctr" defTabSz="1219155"/>
            <a:r>
              <a:rPr lang="en-US" sz="1000">
                <a:latin typeface="Open Sans"/>
                <a:cs typeface="Calibri" panose="020F0502020204030204"/>
              </a:rPr>
              <a:t>Open(Dev)</a:t>
            </a:r>
            <a:endParaRPr lang="en-US" sz="1000">
              <a:ea typeface="+mn-lt"/>
              <a:cs typeface="+mn-lt"/>
            </a:endParaRPr>
          </a:p>
          <a:p>
            <a:pPr algn="ctr" defTabSz="1219155"/>
            <a:endParaRPr lang="en-US" sz="1000">
              <a:latin typeface="Open Sans"/>
              <a:cs typeface="Calibri" panose="020F0502020204030204"/>
            </a:endParaRPr>
          </a:p>
          <a:p>
            <a:pPr algn="ctr" defTabSz="1219155"/>
            <a:endParaRPr lang="en-US" sz="1000">
              <a:latin typeface="Open Sans"/>
              <a:cs typeface="Calibri" panose="020F0502020204030204"/>
            </a:endParaRPr>
          </a:p>
          <a:p>
            <a:pPr algn="ctr" defTabSz="1219155"/>
            <a:r>
              <a:rPr lang="en-US" sz="1000">
                <a:latin typeface="Open Sans"/>
                <a:cs typeface="Calibri" panose="020F0502020204030204"/>
              </a:rPr>
              <a:t>Jyothi Adusumilli(QA Lead)</a:t>
            </a:r>
            <a:endParaRPr lang="en-US"/>
          </a:p>
          <a:p>
            <a:pPr algn="ctr" defTabSz="1219155"/>
            <a:r>
              <a:rPr lang="en-US" sz="1000">
                <a:latin typeface="Open Sans"/>
                <a:ea typeface="Open Sans"/>
                <a:cs typeface="Calibri" panose="020F0502020204030204"/>
              </a:rPr>
              <a:t>Siva Priya (SDET)</a:t>
            </a:r>
            <a:endParaRPr lang="en-US" sz="1000">
              <a:latin typeface="Open Sans"/>
              <a:cs typeface="Calibri" panose="020F0502020204030204"/>
            </a:endParaRPr>
          </a:p>
          <a:p>
            <a:pPr algn="ctr" defTabSz="1219155"/>
            <a:r>
              <a:rPr lang="en-US" sz="1000">
                <a:latin typeface="Open Sans"/>
                <a:cs typeface="Calibri" panose="020F0502020204030204"/>
              </a:rPr>
              <a:t>Anusha Ramisetty(SDET)</a:t>
            </a:r>
            <a:endParaRPr lang="en-US" sz="1000">
              <a:latin typeface="Open Sans"/>
              <a:ea typeface="Open Sans"/>
              <a:cs typeface="Calibri" panose="020F0502020204030204"/>
            </a:endParaRPr>
          </a:p>
          <a:p>
            <a:pPr algn="ctr" defTabSz="1219155"/>
            <a:endParaRPr lang="en-US" sz="1000">
              <a:latin typeface="Open Sans"/>
              <a:cs typeface="Calibri" panose="020F0502020204030204"/>
            </a:endParaRPr>
          </a:p>
          <a:p>
            <a:pPr algn="ctr" defTabSz="1219155"/>
            <a:endParaRPr lang="en-US" sz="1000">
              <a:latin typeface="Open Sans"/>
              <a:cs typeface="Calibri" panose="020F0502020204030204"/>
            </a:endParaRPr>
          </a:p>
          <a:p>
            <a:pPr algn="ctr" defTabSz="1219155"/>
            <a:endParaRPr lang="en-US" sz="1000">
              <a:latin typeface="Open Sans"/>
              <a:ea typeface="Open Sans" panose="020B0606030504020204" pitchFamily="34" charset="0"/>
              <a:cs typeface="Calibri" panose="020F0502020204030204"/>
            </a:endParaRPr>
          </a:p>
          <a:p>
            <a:pPr algn="ctr" defTabSz="1219155"/>
            <a:endParaRPr lang="en-US" sz="1000">
              <a:latin typeface="Open Sans"/>
              <a:ea typeface="Open Sans" panose="020B0606030504020204" pitchFamily="34" charset="0"/>
              <a:cs typeface="Calibri" panose="020F0502020204030204"/>
            </a:endParaRPr>
          </a:p>
          <a:p>
            <a:pPr algn="ctr" defTabSz="1219155"/>
            <a:endParaRPr lang="en-US">
              <a:latin typeface="Calibri" panose="020F0502020204030204"/>
              <a:ea typeface="Open Sans" panose="020B0606030504020204" pitchFamily="34" charset="0"/>
              <a:cs typeface="Calibri" panose="020F0502020204030204"/>
            </a:endParaRPr>
          </a:p>
          <a:p>
            <a:pPr algn="ctr" defTabSz="1219155"/>
            <a:br>
              <a:rPr lang="en-US" sz="1000">
                <a:latin typeface="Open Sans"/>
                <a:ea typeface="Open Sans" panose="020B0606030504020204" pitchFamily="34" charset="0"/>
                <a:cs typeface="Open Sans" panose="020B0606030504020204" pitchFamily="34" charset="0"/>
              </a:rPr>
            </a:br>
            <a:endParaRPr lang="en-US" sz="1001">
              <a:latin typeface="Open Sans"/>
              <a:ea typeface="Open Sans" panose="020B0606030504020204" pitchFamily="34" charset="0"/>
              <a:cs typeface="Open Sans" panose="020B0606030504020204" pitchFamily="34" charset="0"/>
            </a:endParaRPr>
          </a:p>
          <a:p>
            <a:pPr algn="ctr" defTabSz="1219155"/>
            <a:br>
              <a:rPr lang="en-US" sz="1000">
                <a:latin typeface="Open Sans"/>
                <a:ea typeface="Open Sans" panose="020B0606030504020204" pitchFamily="34" charset="0"/>
                <a:cs typeface="Open Sans" panose="020B0606030504020204" pitchFamily="34" charset="0"/>
              </a:rPr>
            </a:br>
            <a:endParaRPr lang="en-US" sz="1001">
              <a:latin typeface="Open Sans"/>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E073CBCA-BD37-4F56-AE47-957A7BF5A91A}"/>
              </a:ext>
            </a:extLst>
          </p:cNvPr>
          <p:cNvSpPr txBox="1"/>
          <p:nvPr/>
        </p:nvSpPr>
        <p:spPr>
          <a:xfrm>
            <a:off x="4857521" y="2287056"/>
            <a:ext cx="1428966" cy="169277"/>
          </a:xfrm>
          <a:prstGeom prst="rect">
            <a:avLst/>
          </a:prstGeom>
          <a:noFill/>
        </p:spPr>
        <p:txBody>
          <a:bodyPr vert="horz" wrap="square" lIns="0" tIns="0" rIns="0" bIns="0" rtlCol="0">
            <a:spAutoFit/>
          </a:bodyPr>
          <a:lstStyle/>
          <a:p>
            <a:pPr algn="ctr" defTabSz="457195">
              <a:spcBef>
                <a:spcPts val="114"/>
              </a:spcBef>
              <a:buSzPct val="100000"/>
              <a:defRPr/>
            </a:pP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Jamaica</a:t>
            </a:r>
          </a:p>
        </p:txBody>
      </p:sp>
      <p:sp>
        <p:nvSpPr>
          <p:cNvPr id="25" name="Rectangle: Rounded Corners 11">
            <a:extLst>
              <a:ext uri="{FF2B5EF4-FFF2-40B4-BE49-F238E27FC236}">
                <a16:creationId xmlns:a16="http://schemas.microsoft.com/office/drawing/2014/main" id="{19AE7B81-7518-4072-90B7-AA4FF720F67E}"/>
              </a:ext>
            </a:extLst>
          </p:cNvPr>
          <p:cNvSpPr/>
          <p:nvPr/>
        </p:nvSpPr>
        <p:spPr bwMode="gray">
          <a:xfrm>
            <a:off x="1359568" y="6263156"/>
            <a:ext cx="9168868" cy="356448"/>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000">
                <a:latin typeface="Open Sans"/>
                <a:ea typeface="Open Sans"/>
                <a:cs typeface="Open Sans"/>
              </a:rPr>
              <a:t>Dev Ops: Santhosh </a:t>
            </a:r>
            <a:r>
              <a:rPr lang="en-US" sz="1000" err="1">
                <a:latin typeface="Open Sans"/>
                <a:ea typeface="Open Sans"/>
                <a:cs typeface="Open Sans"/>
              </a:rPr>
              <a:t>Kondreddy</a:t>
            </a:r>
            <a:r>
              <a:rPr lang="en-US" sz="1000">
                <a:latin typeface="Open Sans"/>
                <a:ea typeface="Open Sans"/>
                <a:cs typeface="Open Sans"/>
              </a:rPr>
              <a:t> , Navneeth Kaur</a:t>
            </a:r>
            <a:endParaRPr lang="en-US" sz="1001">
              <a:latin typeface="Open Sans"/>
              <a:ea typeface="Open Sans" panose="020B0606030504020204" pitchFamily="34" charset="0"/>
              <a:cs typeface="Open Sans" panose="020B0606030504020204" pitchFamily="34" charset="0"/>
            </a:endParaRPr>
          </a:p>
        </p:txBody>
      </p:sp>
      <p:sp>
        <p:nvSpPr>
          <p:cNvPr id="26" name="Title 1">
            <a:extLst>
              <a:ext uri="{FF2B5EF4-FFF2-40B4-BE49-F238E27FC236}">
                <a16:creationId xmlns:a16="http://schemas.microsoft.com/office/drawing/2014/main" id="{4429595C-361E-4574-9F33-3FE856B88F5B}"/>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panose="020B0606030504020204" pitchFamily="34" charset="0"/>
                <a:ea typeface="Open Sans" panose="020B0606030504020204" pitchFamily="34" charset="0"/>
                <a:cs typeface="Open Sans" panose="020B0606030504020204" pitchFamily="34" charset="0"/>
              </a:rPr>
              <a:t>EMS –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Team Structure</a:t>
            </a:r>
          </a:p>
        </p:txBody>
      </p:sp>
      <p:sp>
        <p:nvSpPr>
          <p:cNvPr id="27" name="Rounded Rectangle 9">
            <a:extLst>
              <a:ext uri="{FF2B5EF4-FFF2-40B4-BE49-F238E27FC236}">
                <a16:creationId xmlns:a16="http://schemas.microsoft.com/office/drawing/2014/main" id="{4123DC42-A0FC-4CE7-9391-9CDE39B0A3FE}"/>
              </a:ext>
            </a:extLst>
          </p:cNvPr>
          <p:cNvSpPr/>
          <p:nvPr/>
        </p:nvSpPr>
        <p:spPr>
          <a:xfrm>
            <a:off x="1651299" y="796155"/>
            <a:ext cx="3868489" cy="365008"/>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5">
              <a:defRPr/>
            </a:pPr>
            <a:r>
              <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rPr>
              <a:t>CPO: Arnold Berkhout</a:t>
            </a:r>
          </a:p>
        </p:txBody>
      </p:sp>
      <p:sp>
        <p:nvSpPr>
          <p:cNvPr id="28" name="Rounded Rectangle 10">
            <a:extLst>
              <a:ext uri="{FF2B5EF4-FFF2-40B4-BE49-F238E27FC236}">
                <a16:creationId xmlns:a16="http://schemas.microsoft.com/office/drawing/2014/main" id="{DFFD532C-E8B5-447D-9A6B-E46D75E74440}"/>
              </a:ext>
            </a:extLst>
          </p:cNvPr>
          <p:cNvSpPr/>
          <p:nvPr/>
        </p:nvSpPr>
        <p:spPr>
          <a:xfrm>
            <a:off x="1359568" y="1783329"/>
            <a:ext cx="9168869" cy="346238"/>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5">
              <a:defRPr/>
            </a:pPr>
            <a:r>
              <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rPr>
              <a:t>Product Manager: Eduardo Alonso</a:t>
            </a:r>
          </a:p>
        </p:txBody>
      </p:sp>
      <p:sp>
        <p:nvSpPr>
          <p:cNvPr id="29" name="Rounded Rectangle 28">
            <a:extLst>
              <a:ext uri="{FF2B5EF4-FFF2-40B4-BE49-F238E27FC236}">
                <a16:creationId xmlns:a16="http://schemas.microsoft.com/office/drawing/2014/main" id="{CAA4663B-072D-4594-83A1-1A582238E822}"/>
              </a:ext>
            </a:extLst>
          </p:cNvPr>
          <p:cNvSpPr/>
          <p:nvPr/>
        </p:nvSpPr>
        <p:spPr>
          <a:xfrm>
            <a:off x="1359569" y="1263506"/>
            <a:ext cx="9168870" cy="36005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100">
                <a:latin typeface="Open Sans"/>
                <a:ea typeface="Open Sans"/>
                <a:cs typeface="Open Sans"/>
              </a:rPr>
              <a:t>DL: Vijaya Rudraraju</a:t>
            </a:r>
          </a:p>
        </p:txBody>
      </p:sp>
      <p:sp>
        <p:nvSpPr>
          <p:cNvPr id="30" name="Rounded Rectangle 7">
            <a:extLst>
              <a:ext uri="{FF2B5EF4-FFF2-40B4-BE49-F238E27FC236}">
                <a16:creationId xmlns:a16="http://schemas.microsoft.com/office/drawing/2014/main" id="{900D62B6-90C9-4A98-BD85-D27F78539001}"/>
              </a:ext>
            </a:extLst>
          </p:cNvPr>
          <p:cNvSpPr/>
          <p:nvPr/>
        </p:nvSpPr>
        <p:spPr>
          <a:xfrm>
            <a:off x="7432564" y="2526045"/>
            <a:ext cx="2402582" cy="2932152"/>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155"/>
            <a:endParaRPr lang="en-US" sz="1001">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r>
              <a:rPr lang="en-US" sz="1000">
                <a:latin typeface="Open Sans"/>
                <a:ea typeface="Open Sans" panose="020B0606030504020204" pitchFamily="34" charset="0"/>
                <a:cs typeface="Open Sans" panose="020B0606030504020204" pitchFamily="34" charset="0"/>
              </a:rPr>
              <a:t>Debbie Eng(PO)</a:t>
            </a:r>
            <a:endParaRPr lang="en-US"/>
          </a:p>
          <a:p>
            <a:pPr algn="ctr" defTabSz="1219155"/>
            <a:r>
              <a:rPr lang="en-US" sz="1000">
                <a:latin typeface="Open Sans"/>
              </a:rPr>
              <a:t>Rakesh Sharma Palla (PO)</a:t>
            </a:r>
            <a:endParaRPr lang="en-US"/>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r>
              <a:rPr lang="en-US" sz="1000">
                <a:latin typeface="Open Sans"/>
                <a:ea typeface="Open Sans" panose="020B0606030504020204" pitchFamily="34" charset="0"/>
                <a:cs typeface="Open Sans" panose="020B0606030504020204" pitchFamily="34" charset="0"/>
              </a:rPr>
              <a:t>Priyanka Bharade (Dev Lead)</a:t>
            </a:r>
          </a:p>
          <a:p>
            <a:pPr algn="ctr" defTabSz="1219155"/>
            <a:r>
              <a:rPr lang="en-US" sz="1000">
                <a:latin typeface="Open Sans"/>
                <a:ea typeface="Open Sans" panose="020B0606030504020204" pitchFamily="34" charset="0"/>
                <a:cs typeface="Open Sans" panose="020B0606030504020204" pitchFamily="34" charset="0"/>
              </a:rPr>
              <a:t>Swami Dodla (Dev)</a:t>
            </a:r>
            <a:endParaRPr lang="en-US"/>
          </a:p>
          <a:p>
            <a:pPr algn="ctr" defTabSz="1219155"/>
            <a:r>
              <a:rPr lang="en-US" sz="1000">
                <a:latin typeface="Open Sans"/>
                <a:ea typeface="Open Sans" panose="020B0606030504020204" pitchFamily="34" charset="0"/>
                <a:cs typeface="Open Sans" panose="020B0606030504020204" pitchFamily="34" charset="0"/>
              </a:rPr>
              <a:t>Madhu Kunta(Dev)</a:t>
            </a:r>
          </a:p>
          <a:p>
            <a:pPr algn="ctr" defTabSz="1219155"/>
            <a:r>
              <a:rPr lang="en-US" sz="1000">
                <a:latin typeface="Open Sans"/>
                <a:ea typeface="Open Sans" panose="020B0606030504020204" pitchFamily="34" charset="0"/>
                <a:cs typeface="Open Sans" panose="020B0606030504020204" pitchFamily="34" charset="0"/>
              </a:rPr>
              <a:t>Ajay Srivastava(Dev)</a:t>
            </a: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r>
              <a:rPr lang="en-US" sz="1000">
                <a:latin typeface="Open Sans"/>
                <a:ea typeface="Open Sans" panose="020B0606030504020204" pitchFamily="34" charset="0"/>
                <a:cs typeface="Open Sans" panose="020B0606030504020204" pitchFamily="34" charset="0"/>
              </a:rPr>
              <a:t>Priyanka Nanduri (SDET)</a:t>
            </a:r>
          </a:p>
          <a:p>
            <a:pPr algn="ctr" defTabSz="1219155"/>
            <a:r>
              <a:rPr lang="it-IT" sz="1000">
                <a:solidFill>
                  <a:schemeClr val="bg1"/>
                </a:solidFill>
                <a:latin typeface="Open Sans"/>
              </a:rPr>
              <a:t> Shravani Manati </a:t>
            </a:r>
            <a:r>
              <a:rPr lang="en-US" sz="1000">
                <a:solidFill>
                  <a:schemeClr val="bg1"/>
                </a:solidFill>
                <a:latin typeface="Open Sans"/>
              </a:rPr>
              <a:t>(QA)</a:t>
            </a:r>
            <a:endParaRPr lang="en-US" sz="1000">
              <a:solidFill>
                <a:schemeClr val="bg1"/>
              </a:solidFill>
              <a:latin typeface="Open Sans"/>
              <a:ea typeface="Open Sans" panose="020B0606030504020204" pitchFamily="34" charset="0"/>
              <a:cs typeface="Open Sans" panose="020B0606030504020204" pitchFamily="34" charset="0"/>
            </a:endParaRPr>
          </a:p>
          <a:p>
            <a:pPr algn="ctr" defTabSz="1219155"/>
            <a:endParaRPr lang="en-US" sz="1001">
              <a:latin typeface="Open Sans"/>
              <a:ea typeface="Open Sans" panose="020B0606030504020204" pitchFamily="34" charset="0"/>
              <a:cs typeface="Open Sans" panose="020B0606030504020204" pitchFamily="34" charset="0"/>
            </a:endParaRPr>
          </a:p>
          <a:p>
            <a:pPr algn="ctr" defTabSz="1219155"/>
            <a:endParaRPr lang="en-US" sz="1001">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endParaRPr lang="en-US" sz="1000">
              <a:latin typeface="Open Sans"/>
              <a:ea typeface="Open Sans" panose="020B0606030504020204" pitchFamily="34" charset="0"/>
              <a:cs typeface="Open Sans" panose="020B0606030504020204" pitchFamily="34" charset="0"/>
            </a:endParaRPr>
          </a:p>
          <a:p>
            <a:pPr algn="ctr" defTabSz="1219155"/>
            <a:endParaRPr lang="en-US" sz="1000">
              <a:latin typeface="Open Sans"/>
              <a:cs typeface="Calibri" panose="020F0502020204030204"/>
            </a:endParaRPr>
          </a:p>
          <a:p>
            <a:pPr algn="ctr" defTabSz="1219155"/>
            <a:endParaRPr lang="en-US" sz="1000">
              <a:latin typeface="Open Sans"/>
              <a:cs typeface="Calibri" panose="020F0502020204030204"/>
            </a:endParaRPr>
          </a:p>
          <a:p>
            <a:pPr algn="ctr" defTabSz="1219155"/>
            <a:endParaRPr lang="en-US" sz="1000">
              <a:latin typeface="Open Sans"/>
            </a:endParaRPr>
          </a:p>
          <a:p>
            <a:pPr algn="ctr" defTabSz="1219155"/>
            <a:endParaRPr lang="en-US" sz="1000">
              <a:latin typeface="Open Sans"/>
            </a:endParaRPr>
          </a:p>
          <a:p>
            <a:pPr algn="ctr" defTabSz="1219155"/>
            <a:endParaRPr lang="en-US">
              <a:latin typeface="Calibri" panose="020F0502020204030204"/>
              <a:ea typeface="Open Sans" panose="020B0606030504020204" pitchFamily="34" charset="0"/>
              <a:cs typeface="Calibri" panose="020F0502020204030204"/>
            </a:endParaRPr>
          </a:p>
          <a:p>
            <a:pPr algn="ctr" defTabSz="1219155"/>
            <a:br>
              <a:rPr lang="en-US" sz="1000">
                <a:latin typeface="Open Sans"/>
                <a:ea typeface="Open Sans" panose="020B0606030504020204" pitchFamily="34" charset="0"/>
                <a:cs typeface="Open Sans" panose="020B0606030504020204" pitchFamily="34" charset="0"/>
              </a:rPr>
            </a:br>
            <a:endParaRPr lang="en-US" sz="1001">
              <a:latin typeface="Open Sans"/>
              <a:ea typeface="Open Sans" panose="020B0606030504020204" pitchFamily="34" charset="0"/>
              <a:cs typeface="Open Sans" panose="020B0606030504020204" pitchFamily="34" charset="0"/>
            </a:endParaRPr>
          </a:p>
          <a:p>
            <a:pPr algn="ctr" defTabSz="1219155"/>
            <a:br>
              <a:rPr lang="en-US" sz="1000">
                <a:latin typeface="Open Sans"/>
                <a:ea typeface="Open Sans" panose="020B0606030504020204" pitchFamily="34" charset="0"/>
                <a:cs typeface="Open Sans" panose="020B0606030504020204" pitchFamily="34" charset="0"/>
              </a:rPr>
            </a:br>
            <a:endParaRPr lang="en-US" sz="1001">
              <a:latin typeface="Open Sans"/>
              <a:ea typeface="Open Sans" panose="020B0606030504020204" pitchFamily="34" charset="0"/>
              <a:cs typeface="Open Sans" panose="020B0606030504020204" pitchFamily="34" charset="0"/>
            </a:endParaRPr>
          </a:p>
        </p:txBody>
      </p:sp>
      <p:sp>
        <p:nvSpPr>
          <p:cNvPr id="31" name="TextBox 30">
            <a:extLst>
              <a:ext uri="{FF2B5EF4-FFF2-40B4-BE49-F238E27FC236}">
                <a16:creationId xmlns:a16="http://schemas.microsoft.com/office/drawing/2014/main" id="{C9304D87-E891-44E3-8018-E5323E00430C}"/>
              </a:ext>
            </a:extLst>
          </p:cNvPr>
          <p:cNvSpPr txBox="1"/>
          <p:nvPr/>
        </p:nvSpPr>
        <p:spPr>
          <a:xfrm>
            <a:off x="7888049" y="2243689"/>
            <a:ext cx="1428966" cy="169277"/>
          </a:xfrm>
          <a:prstGeom prst="rect">
            <a:avLst/>
          </a:prstGeom>
          <a:noFill/>
        </p:spPr>
        <p:txBody>
          <a:bodyPr vert="horz" wrap="square" lIns="0" tIns="0" rIns="0" bIns="0" rtlCol="0" anchor="t">
            <a:spAutoFit/>
          </a:bodyPr>
          <a:lstStyle/>
          <a:p>
            <a:pPr algn="ctr" defTabSz="457195">
              <a:spcBef>
                <a:spcPts val="114"/>
              </a:spcBef>
              <a:buSzPct val="100000"/>
              <a:defRPr/>
            </a:pPr>
            <a:r>
              <a:rPr lang="en-US" sz="1100" b="1">
                <a:latin typeface="Open Sans"/>
                <a:ea typeface="Open Sans" panose="020B0606030504020204" pitchFamily="34" charset="0"/>
                <a:cs typeface="Open Sans" panose="020B0606030504020204" pitchFamily="34" charset="0"/>
              </a:rPr>
              <a:t>Amigos</a:t>
            </a:r>
            <a:endParaRPr lang="en-US" sz="1100" b="1">
              <a:latin typeface="Open Sans" panose="020B0606030504020204" pitchFamily="34" charset="0"/>
              <a:ea typeface="Open Sans" panose="020B0606030504020204" pitchFamily="34" charset="0"/>
              <a:cs typeface="Open Sans" panose="020B0606030504020204" pitchFamily="34" charset="0"/>
            </a:endParaRPr>
          </a:p>
        </p:txBody>
      </p:sp>
      <p:sp>
        <p:nvSpPr>
          <p:cNvPr id="15" name="Rounded Rectangle 9">
            <a:extLst>
              <a:ext uri="{FF2B5EF4-FFF2-40B4-BE49-F238E27FC236}">
                <a16:creationId xmlns:a16="http://schemas.microsoft.com/office/drawing/2014/main" id="{E036D192-6583-4C66-B760-D4D4415A9A6A}"/>
              </a:ext>
            </a:extLst>
          </p:cNvPr>
          <p:cNvSpPr/>
          <p:nvPr/>
        </p:nvSpPr>
        <p:spPr>
          <a:xfrm>
            <a:off x="6454467" y="796154"/>
            <a:ext cx="3688692" cy="365008"/>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100">
                <a:latin typeface="Open Sans"/>
                <a:ea typeface="Open Sans"/>
                <a:cs typeface="Open Sans"/>
              </a:rPr>
              <a:t>Engagement Lead: Suresh </a:t>
            </a:r>
            <a:r>
              <a:rPr lang="en-US" sz="1100" err="1">
                <a:latin typeface="Open Sans"/>
                <a:ea typeface="Open Sans"/>
                <a:cs typeface="Open Sans"/>
              </a:rPr>
              <a:t>Thandalay</a:t>
            </a:r>
          </a:p>
        </p:txBody>
      </p:sp>
    </p:spTree>
    <p:extLst>
      <p:ext uri="{BB962C8B-B14F-4D97-AF65-F5344CB8AC3E}">
        <p14:creationId xmlns:p14="http://schemas.microsoft.com/office/powerpoint/2010/main" val="168681466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2">
            <a:extLst>
              <a:ext uri="{FF2B5EF4-FFF2-40B4-BE49-F238E27FC236}">
                <a16:creationId xmlns:a16="http://schemas.microsoft.com/office/drawing/2014/main" id="{1A0176DF-1B97-473D-A10D-2782ED1043DD}"/>
              </a:ext>
            </a:extLst>
          </p:cNvPr>
          <p:cNvSpPr/>
          <p:nvPr/>
        </p:nvSpPr>
        <p:spPr bwMode="gray">
          <a:xfrm>
            <a:off x="1359568" y="5895773"/>
            <a:ext cx="9168869" cy="321026"/>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001">
                <a:solidFill>
                  <a:prstClr val="black"/>
                </a:solidFill>
                <a:latin typeface="Open Sans" panose="020B0606030504020204" pitchFamily="34" charset="0"/>
                <a:ea typeface="Open Sans" panose="020B0606030504020204" pitchFamily="34" charset="0"/>
                <a:cs typeface="Open Sans" panose="020B0606030504020204" pitchFamily="34" charset="0"/>
              </a:rPr>
              <a:t>Technical Architects</a:t>
            </a:r>
            <a:r>
              <a:rPr lang="en-US" sz="1001">
                <a:latin typeface="Open Sans"/>
                <a:ea typeface="Open Sans" panose="020B0606030504020204" pitchFamily="34" charset="0"/>
                <a:cs typeface="Open Sans" panose="020B0606030504020204" pitchFamily="34" charset="0"/>
              </a:rPr>
              <a:t>: Prathap Ramados</a:t>
            </a:r>
          </a:p>
        </p:txBody>
      </p:sp>
      <p:sp>
        <p:nvSpPr>
          <p:cNvPr id="11" name="Rectangle: Rounded Corners 3">
            <a:extLst>
              <a:ext uri="{FF2B5EF4-FFF2-40B4-BE49-F238E27FC236}">
                <a16:creationId xmlns:a16="http://schemas.microsoft.com/office/drawing/2014/main" id="{DA74E4A6-3B76-4E6E-8D06-3104FCD110F4}"/>
              </a:ext>
            </a:extLst>
          </p:cNvPr>
          <p:cNvSpPr/>
          <p:nvPr/>
        </p:nvSpPr>
        <p:spPr bwMode="gray">
          <a:xfrm>
            <a:off x="1359568" y="6310353"/>
            <a:ext cx="9168869" cy="283967"/>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000">
                <a:latin typeface="Open Sans"/>
                <a:ea typeface="Open Sans"/>
                <a:cs typeface="Open Sans"/>
              </a:rPr>
              <a:t>Dev Ops: , Sadaiah </a:t>
            </a:r>
            <a:r>
              <a:rPr lang="en-US" sz="1000" err="1">
                <a:latin typeface="Open Sans"/>
                <a:ea typeface="Open Sans"/>
                <a:cs typeface="Open Sans"/>
              </a:rPr>
              <a:t>Gundati</a:t>
            </a:r>
            <a:endParaRPr lang="en-US" sz="1001" err="1">
              <a:solidFill>
                <a:prstClr val="black"/>
              </a:solidFill>
              <a:latin typeface="Open Sans"/>
              <a:ea typeface="Open Sans"/>
              <a:cs typeface="Open Sans"/>
            </a:endParaRPr>
          </a:p>
        </p:txBody>
      </p:sp>
      <p:sp>
        <p:nvSpPr>
          <p:cNvPr id="12" name="Rounded Rectangle 7">
            <a:extLst>
              <a:ext uri="{FF2B5EF4-FFF2-40B4-BE49-F238E27FC236}">
                <a16:creationId xmlns:a16="http://schemas.microsoft.com/office/drawing/2014/main" id="{BD52B5DB-DDAB-4EC0-94A0-8CED04FAB517}"/>
              </a:ext>
            </a:extLst>
          </p:cNvPr>
          <p:cNvSpPr/>
          <p:nvPr/>
        </p:nvSpPr>
        <p:spPr>
          <a:xfrm>
            <a:off x="4798146" y="2755429"/>
            <a:ext cx="2407349" cy="2355294"/>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defTabSz="457195">
              <a:defRPr/>
            </a:pPr>
            <a:r>
              <a:rPr lang="en-US" sz="1000">
                <a:latin typeface="Open Sans"/>
                <a:ea typeface="Open Sans"/>
                <a:cs typeface="Open Sans"/>
              </a:rPr>
              <a:t>Sowjanya Chinda (SM)</a:t>
            </a:r>
          </a:p>
          <a:p>
            <a:pPr algn="ctr" defTabSz="457195">
              <a:defRPr/>
            </a:pPr>
            <a:endParaRPr lang="en-US" sz="1000">
              <a:latin typeface="Open Sans"/>
              <a:ea typeface="Open Sans"/>
              <a:cs typeface="Open Sans"/>
            </a:endParaRPr>
          </a:p>
          <a:p>
            <a:pPr algn="ctr" defTabSz="457195">
              <a:defRPr/>
            </a:pPr>
            <a:r>
              <a:rPr lang="en-US" sz="1000">
                <a:latin typeface="Open Sans"/>
                <a:ea typeface="Open Sans"/>
                <a:cs typeface="Open Sans"/>
              </a:rPr>
              <a:t>Kavya </a:t>
            </a:r>
            <a:r>
              <a:rPr lang="en-US" sz="1000" err="1">
                <a:latin typeface="Open Sans"/>
                <a:ea typeface="Open Sans"/>
                <a:cs typeface="Open Sans"/>
              </a:rPr>
              <a:t>Gajji</a:t>
            </a:r>
            <a:r>
              <a:rPr lang="en-US" sz="1000">
                <a:latin typeface="Open Sans"/>
                <a:ea typeface="Open Sans"/>
                <a:cs typeface="Open Sans"/>
              </a:rPr>
              <a:t> (PO)</a:t>
            </a:r>
            <a:endParaRPr lang="en-US" sz="100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Sonal Singh (PO)</a:t>
            </a:r>
          </a:p>
          <a:p>
            <a:pPr algn="ctr" defTabSz="457195">
              <a:defRPr/>
            </a:pPr>
            <a:endParaRPr lang="en-US" sz="1000">
              <a:latin typeface="Open Sans"/>
              <a:ea typeface="Open Sans"/>
              <a:cs typeface="Open Sans"/>
            </a:endParaRPr>
          </a:p>
          <a:p>
            <a:pPr algn="ctr" defTabSz="457195">
              <a:defRPr/>
            </a:pPr>
            <a:r>
              <a:rPr lang="en-US" sz="1000">
                <a:latin typeface="Open Sans"/>
                <a:ea typeface="Open Sans"/>
                <a:cs typeface="Open Sans"/>
              </a:rPr>
              <a:t>Fatima Saba (Dev)</a:t>
            </a:r>
            <a:endParaRPr lang="en-US">
              <a:ea typeface="Open Sans"/>
              <a:cs typeface="Open Sans"/>
            </a:endParaRPr>
          </a:p>
          <a:p>
            <a:pPr algn="ctr" defTabSz="457195">
              <a:defRPr/>
            </a:pPr>
            <a:r>
              <a:rPr lang="en-US" sz="1000">
                <a:latin typeface="Open Sans"/>
                <a:ea typeface="Open Sans"/>
                <a:cs typeface="Open Sans"/>
              </a:rPr>
              <a:t>Siva Sankar </a:t>
            </a:r>
            <a:r>
              <a:rPr lang="en-US" sz="1000" err="1">
                <a:latin typeface="Open Sans"/>
                <a:ea typeface="Open Sans"/>
                <a:cs typeface="Open Sans"/>
              </a:rPr>
              <a:t>Vurimi</a:t>
            </a:r>
            <a:r>
              <a:rPr lang="en-US" sz="1000">
                <a:latin typeface="Open Sans"/>
                <a:ea typeface="Open Sans"/>
                <a:cs typeface="Open Sans"/>
              </a:rPr>
              <a:t> (Dev)</a:t>
            </a:r>
          </a:p>
          <a:p>
            <a:pPr algn="ctr" defTabSz="457195">
              <a:defRPr/>
            </a:pPr>
            <a:endParaRPr lang="en-US" sz="1000">
              <a:solidFill>
                <a:srgbClr val="FFFF00"/>
              </a:solidFill>
              <a:latin typeface="Open Sans"/>
              <a:ea typeface="Open Sans" panose="020B0606030504020204" pitchFamily="34" charset="0"/>
              <a:cs typeface="Calibri"/>
            </a:endParaRPr>
          </a:p>
          <a:p>
            <a:pPr algn="ctr" defTabSz="457195">
              <a:defRPr/>
            </a:pPr>
            <a:r>
              <a:rPr lang="en-US" sz="1000" err="1">
                <a:latin typeface="Open Sans"/>
                <a:ea typeface="Open Sans"/>
                <a:cs typeface="Open Sans"/>
              </a:rPr>
              <a:t>Nagaswati</a:t>
            </a:r>
            <a:r>
              <a:rPr lang="en-US" sz="1000">
                <a:latin typeface="Open Sans"/>
                <a:ea typeface="Open Sans"/>
                <a:cs typeface="Open Sans"/>
              </a:rPr>
              <a:t> Chanda (SDET)</a:t>
            </a:r>
          </a:p>
        </p:txBody>
      </p:sp>
      <p:sp>
        <p:nvSpPr>
          <p:cNvPr id="13" name="TextBox 12">
            <a:extLst>
              <a:ext uri="{FF2B5EF4-FFF2-40B4-BE49-F238E27FC236}">
                <a16:creationId xmlns:a16="http://schemas.microsoft.com/office/drawing/2014/main" id="{00D873CA-324C-4F6A-8FCB-C440D2ECE292}"/>
              </a:ext>
            </a:extLst>
          </p:cNvPr>
          <p:cNvSpPr txBox="1"/>
          <p:nvPr/>
        </p:nvSpPr>
        <p:spPr>
          <a:xfrm>
            <a:off x="5381517" y="2486382"/>
            <a:ext cx="1428966" cy="169277"/>
          </a:xfrm>
          <a:prstGeom prst="rect">
            <a:avLst/>
          </a:prstGeom>
          <a:noFill/>
        </p:spPr>
        <p:txBody>
          <a:bodyPr vert="horz" wrap="square" lIns="0" tIns="0" rIns="0" bIns="0" rtlCol="0" anchor="t">
            <a:spAutoFit/>
          </a:bodyPr>
          <a:lstStyle/>
          <a:p>
            <a:pPr algn="ctr" defTabSz="457195">
              <a:spcBef>
                <a:spcPts val="114"/>
              </a:spcBef>
              <a:buSzPct val="100000"/>
              <a:defRPr/>
            </a:pPr>
            <a:r>
              <a:rPr lang="en-US" sz="1100" b="1">
                <a:latin typeface="Open Sans" panose="020B0606030504020204" pitchFamily="34" charset="0"/>
                <a:ea typeface="Open Sans" panose="020B0606030504020204" pitchFamily="34" charset="0"/>
                <a:cs typeface="Open Sans" panose="020B0606030504020204" pitchFamily="34" charset="0"/>
              </a:rPr>
              <a:t>Content Fosters</a:t>
            </a:r>
          </a:p>
        </p:txBody>
      </p:sp>
      <p:sp>
        <p:nvSpPr>
          <p:cNvPr id="14" name="Rounded Rectangle 9">
            <a:extLst>
              <a:ext uri="{FF2B5EF4-FFF2-40B4-BE49-F238E27FC236}">
                <a16:creationId xmlns:a16="http://schemas.microsoft.com/office/drawing/2014/main" id="{3A2580C5-CA76-46C2-9A0D-5F85045F5460}"/>
              </a:ext>
            </a:extLst>
          </p:cNvPr>
          <p:cNvSpPr/>
          <p:nvPr/>
        </p:nvSpPr>
        <p:spPr>
          <a:xfrm>
            <a:off x="1676985" y="744784"/>
            <a:ext cx="4022601" cy="35644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5">
              <a:defRPr/>
            </a:pPr>
            <a:r>
              <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rPr>
              <a:t>CPO: Arnold Berkhout</a:t>
            </a:r>
          </a:p>
        </p:txBody>
      </p:sp>
      <p:sp>
        <p:nvSpPr>
          <p:cNvPr id="19" name="Rounded Rectangle 10">
            <a:extLst>
              <a:ext uri="{FF2B5EF4-FFF2-40B4-BE49-F238E27FC236}">
                <a16:creationId xmlns:a16="http://schemas.microsoft.com/office/drawing/2014/main" id="{710120A0-9CD3-4973-9051-F6B314FD17A7}"/>
              </a:ext>
            </a:extLst>
          </p:cNvPr>
          <p:cNvSpPr/>
          <p:nvPr/>
        </p:nvSpPr>
        <p:spPr>
          <a:xfrm>
            <a:off x="1359568" y="1783329"/>
            <a:ext cx="9168869" cy="346238"/>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5">
              <a:defRPr/>
            </a:pPr>
            <a:r>
              <a:rPr lang="en-US" sz="1100">
                <a:latin typeface="Open Sans"/>
                <a:ea typeface="Open Sans" panose="020B0606030504020204" pitchFamily="34" charset="0"/>
                <a:cs typeface="Open Sans" panose="020B0606030504020204" pitchFamily="34" charset="0"/>
              </a:rPr>
              <a:t>Product Manager: Swetha Majjiga</a:t>
            </a:r>
          </a:p>
        </p:txBody>
      </p:sp>
      <p:sp>
        <p:nvSpPr>
          <p:cNvPr id="20" name="Rounded Rectangle 19">
            <a:extLst>
              <a:ext uri="{FF2B5EF4-FFF2-40B4-BE49-F238E27FC236}">
                <a16:creationId xmlns:a16="http://schemas.microsoft.com/office/drawing/2014/main" id="{7111F526-39E7-4973-AD26-42B4A4C98B3D}"/>
              </a:ext>
            </a:extLst>
          </p:cNvPr>
          <p:cNvSpPr/>
          <p:nvPr/>
        </p:nvSpPr>
        <p:spPr>
          <a:xfrm>
            <a:off x="1359569" y="1263506"/>
            <a:ext cx="9168870" cy="36005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100">
                <a:latin typeface="Open Sans"/>
                <a:ea typeface="Open Sans"/>
                <a:cs typeface="Open Sans"/>
              </a:rPr>
              <a:t>DL: Prathap </a:t>
            </a:r>
            <a:r>
              <a:rPr lang="en-US" sz="1100" err="1">
                <a:latin typeface="Open Sans"/>
                <a:ea typeface="Open Sans"/>
                <a:cs typeface="Open Sans"/>
              </a:rPr>
              <a:t>Ramados</a:t>
            </a:r>
            <a:endParaRPr lang="en-US" sz="1100" err="1">
              <a:latin typeface="Open Sans"/>
              <a:ea typeface="Open Sans" panose="020B0606030504020204" pitchFamily="34" charset="0"/>
              <a:cs typeface="Open Sans" panose="020B0606030504020204" pitchFamily="34" charset="0"/>
            </a:endParaRPr>
          </a:p>
        </p:txBody>
      </p:sp>
      <p:sp>
        <p:nvSpPr>
          <p:cNvPr id="21" name="Title 1">
            <a:extLst>
              <a:ext uri="{FF2B5EF4-FFF2-40B4-BE49-F238E27FC236}">
                <a16:creationId xmlns:a16="http://schemas.microsoft.com/office/drawing/2014/main" id="{9833B69B-8FC8-48B1-BAB1-9CA16F36D2A7}"/>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panose="020B0606030504020204" pitchFamily="34" charset="0"/>
                <a:ea typeface="Open Sans" panose="020B0606030504020204" pitchFamily="34" charset="0"/>
                <a:cs typeface="Open Sans" panose="020B0606030504020204" pitchFamily="34" charset="0"/>
              </a:rPr>
              <a:t>CMS –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Team Structure</a:t>
            </a:r>
          </a:p>
        </p:txBody>
      </p:sp>
      <p:sp>
        <p:nvSpPr>
          <p:cNvPr id="15" name="Rounded Rectangle 9">
            <a:extLst>
              <a:ext uri="{FF2B5EF4-FFF2-40B4-BE49-F238E27FC236}">
                <a16:creationId xmlns:a16="http://schemas.microsoft.com/office/drawing/2014/main" id="{C33E085A-F3DB-4100-807E-BADA3E2874E5}"/>
              </a:ext>
            </a:extLst>
          </p:cNvPr>
          <p:cNvSpPr/>
          <p:nvPr/>
        </p:nvSpPr>
        <p:spPr>
          <a:xfrm>
            <a:off x="5940759" y="744784"/>
            <a:ext cx="4022601" cy="35644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100">
                <a:latin typeface="Open Sans"/>
                <a:ea typeface="Open Sans"/>
                <a:cs typeface="Open Sans"/>
              </a:rPr>
              <a:t>Engagement Lead: Suresh </a:t>
            </a:r>
            <a:r>
              <a:rPr lang="en-US" sz="1100" err="1">
                <a:latin typeface="Open Sans"/>
                <a:ea typeface="Open Sans"/>
                <a:cs typeface="Open Sans"/>
              </a:rPr>
              <a:t>Thandalay</a:t>
            </a:r>
          </a:p>
        </p:txBody>
      </p:sp>
    </p:spTree>
    <p:extLst>
      <p:ext uri="{BB962C8B-B14F-4D97-AF65-F5344CB8AC3E}">
        <p14:creationId xmlns:p14="http://schemas.microsoft.com/office/powerpoint/2010/main" val="318636396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2">
            <a:extLst>
              <a:ext uri="{FF2B5EF4-FFF2-40B4-BE49-F238E27FC236}">
                <a16:creationId xmlns:a16="http://schemas.microsoft.com/office/drawing/2014/main" id="{1A0176DF-1B97-473D-A10D-2782ED1043DD}"/>
              </a:ext>
            </a:extLst>
          </p:cNvPr>
          <p:cNvSpPr/>
          <p:nvPr/>
        </p:nvSpPr>
        <p:spPr bwMode="gray">
          <a:xfrm>
            <a:off x="1359568" y="5895773"/>
            <a:ext cx="9168869" cy="321026"/>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100">
                <a:solidFill>
                  <a:schemeClr val="bg1"/>
                </a:solidFill>
                <a:latin typeface="Open Sans"/>
                <a:ea typeface="Open Sans"/>
                <a:cs typeface="Open Sans"/>
              </a:rPr>
              <a:t> TDM &amp; Technical Architect : Karthik Chandupatla</a:t>
            </a:r>
          </a:p>
        </p:txBody>
      </p:sp>
      <p:sp>
        <p:nvSpPr>
          <p:cNvPr id="11" name="Rectangle: Rounded Corners 3">
            <a:extLst>
              <a:ext uri="{FF2B5EF4-FFF2-40B4-BE49-F238E27FC236}">
                <a16:creationId xmlns:a16="http://schemas.microsoft.com/office/drawing/2014/main" id="{DA74E4A6-3B76-4E6E-8D06-3104FCD110F4}"/>
              </a:ext>
            </a:extLst>
          </p:cNvPr>
          <p:cNvSpPr/>
          <p:nvPr/>
        </p:nvSpPr>
        <p:spPr bwMode="gray">
          <a:xfrm>
            <a:off x="1359568" y="6310353"/>
            <a:ext cx="9168869" cy="283967"/>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100">
                <a:solidFill>
                  <a:schemeClr val="bg1"/>
                </a:solidFill>
                <a:latin typeface="Open Sans"/>
                <a:ea typeface="Open Sans"/>
                <a:cs typeface="Open Sans"/>
              </a:rPr>
              <a:t>Dev Ops: Santhosh Kondreddy, Devi Dasari</a:t>
            </a:r>
            <a:endParaRPr lang="en-US" sz="1100">
              <a:solidFill>
                <a:schemeClr val="bg1"/>
              </a:solidFill>
              <a:cs typeface="Calibri"/>
            </a:endParaRPr>
          </a:p>
        </p:txBody>
      </p:sp>
      <p:sp>
        <p:nvSpPr>
          <p:cNvPr id="12" name="Rounded Rectangle 7">
            <a:extLst>
              <a:ext uri="{FF2B5EF4-FFF2-40B4-BE49-F238E27FC236}">
                <a16:creationId xmlns:a16="http://schemas.microsoft.com/office/drawing/2014/main" id="{BD52B5DB-DDAB-4EC0-94A0-8CED04FAB517}"/>
              </a:ext>
            </a:extLst>
          </p:cNvPr>
          <p:cNvSpPr/>
          <p:nvPr/>
        </p:nvSpPr>
        <p:spPr>
          <a:xfrm>
            <a:off x="3083512" y="2626360"/>
            <a:ext cx="2513868" cy="3053536"/>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endParaRPr lang="en-US" sz="1000">
              <a:solidFill>
                <a:schemeClr val="tx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Krishnendu Mukherjee (PO) </a:t>
            </a: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Kalyan </a:t>
            </a:r>
            <a:r>
              <a:rPr lang="en-US" sz="1000" err="1">
                <a:latin typeface="Open Sans" panose="020B0606030504020204" pitchFamily="34" charset="0"/>
                <a:ea typeface="Open Sans" panose="020B0606030504020204" pitchFamily="34" charset="0"/>
                <a:cs typeface="Open Sans" panose="020B0606030504020204" pitchFamily="34" charset="0"/>
              </a:rPr>
              <a:t>Chakravarthi</a:t>
            </a:r>
            <a:r>
              <a:rPr lang="en-US" sz="1000">
                <a:latin typeface="Open Sans" panose="020B0606030504020204" pitchFamily="34" charset="0"/>
                <a:ea typeface="Open Sans" panose="020B0606030504020204" pitchFamily="34" charset="0"/>
                <a:cs typeface="Open Sans" panose="020B0606030504020204" pitchFamily="34" charset="0"/>
              </a:rPr>
              <a:t> (SM) </a:t>
            </a: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Vibha Uniyal (BSA)</a:t>
            </a: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Open position (Dev CL4)</a:t>
            </a: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Rohit Rai (Dev)</a:t>
            </a: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Vandana Mishra(Dev) </a:t>
            </a: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Ayushi Gupta (Dev) </a:t>
            </a: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Neha Aggarwal (Dev) </a:t>
            </a: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Mantha Yashasvi (Dev) </a:t>
            </a: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Sanjay Kumar (Dev) </a:t>
            </a: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Vamshi Akula (Dev) </a:t>
            </a: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Irfan Zaidi (Dev) </a:t>
            </a: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Kesava Vemula (SDET )</a:t>
            </a: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Rekha Devi Chinni (SDET) </a:t>
            </a:r>
            <a:endParaRPr lang="it-IT"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panose="020B0606030504020204" pitchFamily="34" charset="0"/>
                <a:ea typeface="Open Sans" panose="020B0606030504020204" pitchFamily="34" charset="0"/>
                <a:cs typeface="Open Sans" panose="020B0606030504020204" pitchFamily="34" charset="0"/>
              </a:rPr>
              <a:t>Vijay Kumar Kurre (SDET) </a:t>
            </a:r>
            <a:endParaRPr lang="it-IT"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it-IT" sz="1000">
              <a:solidFill>
                <a:schemeClr val="tx1"/>
              </a:solidFill>
              <a:highlight>
                <a:srgbClr val="00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13" name="Rounded Rectangle 9">
            <a:extLst>
              <a:ext uri="{FF2B5EF4-FFF2-40B4-BE49-F238E27FC236}">
                <a16:creationId xmlns:a16="http://schemas.microsoft.com/office/drawing/2014/main" id="{3A2580C5-CA76-46C2-9A0D-5F85045F5460}"/>
              </a:ext>
            </a:extLst>
          </p:cNvPr>
          <p:cNvSpPr/>
          <p:nvPr/>
        </p:nvSpPr>
        <p:spPr>
          <a:xfrm>
            <a:off x="1343073" y="728467"/>
            <a:ext cx="9185364" cy="35644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5">
              <a:defRPr/>
            </a:pPr>
            <a:r>
              <a:rPr lang="en-US" sz="1100">
                <a:latin typeface="Open Sans"/>
                <a:ea typeface="Open Sans" panose="020B0606030504020204" pitchFamily="34" charset="0"/>
                <a:cs typeface="Open Sans" panose="020B0606030504020204" pitchFamily="34" charset="0"/>
              </a:rPr>
              <a:t>CPO: </a:t>
            </a:r>
            <a:r>
              <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rPr>
              <a:t>Michelle</a:t>
            </a:r>
            <a:r>
              <a:rPr lang="en-US" sz="1100">
                <a:ea typeface="+mn-lt"/>
                <a:cs typeface="+mn-lt"/>
              </a:rPr>
              <a:t> </a:t>
            </a:r>
            <a:r>
              <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rPr>
              <a:t>Keyes, Michel Guertin </a:t>
            </a:r>
          </a:p>
        </p:txBody>
      </p:sp>
      <p:sp>
        <p:nvSpPr>
          <p:cNvPr id="14" name="Rounded Rectangle 10">
            <a:extLst>
              <a:ext uri="{FF2B5EF4-FFF2-40B4-BE49-F238E27FC236}">
                <a16:creationId xmlns:a16="http://schemas.microsoft.com/office/drawing/2014/main" id="{710120A0-9CD3-4973-9051-F6B314FD17A7}"/>
              </a:ext>
            </a:extLst>
          </p:cNvPr>
          <p:cNvSpPr/>
          <p:nvPr/>
        </p:nvSpPr>
        <p:spPr>
          <a:xfrm>
            <a:off x="1359568" y="1783329"/>
            <a:ext cx="9168869" cy="346238"/>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5">
              <a:defRPr/>
            </a:pPr>
            <a:r>
              <a:rPr lang="en-US" sz="1100">
                <a:latin typeface="Open Sans"/>
                <a:ea typeface="Open Sans" panose="020B0606030504020204" pitchFamily="34" charset="0"/>
                <a:cs typeface="Open Sans" panose="020B0606030504020204" pitchFamily="34" charset="0"/>
              </a:rPr>
              <a:t>Product Manager: </a:t>
            </a:r>
            <a:r>
              <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rPr>
              <a:t>Rose</a:t>
            </a:r>
            <a:r>
              <a:rPr lang="en-US" sz="1100">
                <a:latin typeface="Open Sans"/>
                <a:ea typeface="Open Sans" panose="020B0606030504020204" pitchFamily="34" charset="0"/>
                <a:cs typeface="Open Sans" panose="020B0606030504020204" pitchFamily="34" charset="0"/>
              </a:rPr>
              <a:t> </a:t>
            </a:r>
            <a:r>
              <a:rPr lang="en-US" sz="1100">
                <a:solidFill>
                  <a:prstClr val="white"/>
                </a:solidFill>
                <a:latin typeface="Open Sans" panose="020B0606030504020204" pitchFamily="34" charset="0"/>
                <a:ea typeface="Open Sans" panose="020B0606030504020204" pitchFamily="34" charset="0"/>
                <a:cs typeface="Open Sans" panose="020B0606030504020204" pitchFamily="34" charset="0"/>
              </a:rPr>
              <a:t>Zhong</a:t>
            </a:r>
          </a:p>
        </p:txBody>
      </p:sp>
      <p:sp>
        <p:nvSpPr>
          <p:cNvPr id="19" name="Rounded Rectangle 18">
            <a:extLst>
              <a:ext uri="{FF2B5EF4-FFF2-40B4-BE49-F238E27FC236}">
                <a16:creationId xmlns:a16="http://schemas.microsoft.com/office/drawing/2014/main" id="{7111F526-39E7-4973-AD26-42B4A4C98B3D}"/>
              </a:ext>
            </a:extLst>
          </p:cNvPr>
          <p:cNvSpPr/>
          <p:nvPr/>
        </p:nvSpPr>
        <p:spPr>
          <a:xfrm>
            <a:off x="1359568" y="1254096"/>
            <a:ext cx="9168870" cy="36005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100">
                <a:latin typeface="Open Sans"/>
                <a:ea typeface="+mn-lt"/>
                <a:cs typeface="+mn-lt"/>
              </a:rPr>
              <a:t>Engagement Lead: Suresh </a:t>
            </a:r>
            <a:r>
              <a:rPr lang="en-US" sz="1100" err="1">
                <a:latin typeface="Open Sans"/>
                <a:ea typeface="+mn-lt"/>
                <a:cs typeface="+mn-lt"/>
              </a:rPr>
              <a:t>Thandalay</a:t>
            </a:r>
            <a:r>
              <a:rPr lang="en-US" sz="1100">
                <a:latin typeface="Open Sans"/>
                <a:ea typeface="+mn-lt"/>
                <a:cs typeface="+mn-lt"/>
              </a:rPr>
              <a:t>, Shabab Hussain</a:t>
            </a:r>
            <a:endParaRPr lang="en-US">
              <a:latin typeface="Calibri" panose="020F0502020204030204"/>
              <a:ea typeface="+mn-lt"/>
              <a:cs typeface="+mn-lt"/>
            </a:endParaRPr>
          </a:p>
        </p:txBody>
      </p:sp>
      <p:sp>
        <p:nvSpPr>
          <p:cNvPr id="20" name="Title 1">
            <a:extLst>
              <a:ext uri="{FF2B5EF4-FFF2-40B4-BE49-F238E27FC236}">
                <a16:creationId xmlns:a16="http://schemas.microsoft.com/office/drawing/2014/main" id="{9833B69B-8FC8-48B1-BAB1-9CA16F36D2A7}"/>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0" b="1">
                <a:latin typeface="Open Sans"/>
                <a:ea typeface="Open Sans" panose="020B0606030504020204" pitchFamily="34" charset="0"/>
                <a:cs typeface="Open Sans" panose="020B0606030504020204" pitchFamily="34" charset="0"/>
              </a:rPr>
              <a:t>AQMM – </a:t>
            </a:r>
            <a:r>
              <a:rPr lang="en-US" sz="1800" b="1">
                <a:solidFill>
                  <a:schemeClr val="tx1">
                    <a:lumMod val="50000"/>
                    <a:lumOff val="50000"/>
                  </a:schemeClr>
                </a:solidFill>
                <a:latin typeface="Open Sans"/>
                <a:ea typeface="Open Sans" panose="020B0606030504020204" pitchFamily="34" charset="0"/>
                <a:cs typeface="Open Sans" panose="020B0606030504020204" pitchFamily="34" charset="0"/>
              </a:rPr>
              <a:t>Team Structure</a:t>
            </a:r>
          </a:p>
        </p:txBody>
      </p:sp>
      <p:sp>
        <p:nvSpPr>
          <p:cNvPr id="21" name="Rounded Rectangle 7">
            <a:extLst>
              <a:ext uri="{FF2B5EF4-FFF2-40B4-BE49-F238E27FC236}">
                <a16:creationId xmlns:a16="http://schemas.microsoft.com/office/drawing/2014/main" id="{5349EEFB-D456-493E-A735-8C86A8FF21EC}"/>
              </a:ext>
            </a:extLst>
          </p:cNvPr>
          <p:cNvSpPr/>
          <p:nvPr/>
        </p:nvSpPr>
        <p:spPr>
          <a:xfrm>
            <a:off x="6183463" y="2626360"/>
            <a:ext cx="2513868" cy="3053536"/>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it-IT" sz="1000">
                <a:latin typeface="Open Sans" panose="020B0606030504020204" pitchFamily="34" charset="0"/>
                <a:ea typeface="Open Sans" panose="020B0606030504020204" pitchFamily="34" charset="0"/>
                <a:cs typeface="Open Sans" panose="020B0606030504020204" pitchFamily="34" charset="0"/>
              </a:rPr>
              <a:t>Vajravel Bhoopalam (PO) </a:t>
            </a: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it-IT" sz="1000">
                <a:latin typeface="Open Sans" panose="020B0606030504020204" pitchFamily="34" charset="0"/>
                <a:ea typeface="Open Sans" panose="020B0606030504020204" pitchFamily="34" charset="0"/>
                <a:cs typeface="Open Sans" panose="020B0606030504020204" pitchFamily="34" charset="0"/>
              </a:rPr>
              <a:t>Sunil Verma (Technical Architect) </a:t>
            </a:r>
          </a:p>
          <a:p>
            <a:pPr algn="ctr" defTabSz="457195">
              <a:defRPr/>
            </a:pPr>
            <a:r>
              <a:rPr lang="it-IT" sz="1000">
                <a:latin typeface="Open Sans" panose="020B0606030504020204" pitchFamily="34" charset="0"/>
                <a:ea typeface="Open Sans" panose="020B0606030504020204" pitchFamily="34" charset="0"/>
                <a:cs typeface="Open Sans" panose="020B0606030504020204" pitchFamily="34" charset="0"/>
              </a:rPr>
              <a:t>Lakshmi Dhruvarao (SM) </a:t>
            </a:r>
          </a:p>
          <a:p>
            <a:pPr algn="ctr" defTabSz="457195">
              <a:defRPr/>
            </a:pPr>
            <a:endParaRPr lang="it-IT"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it-IT" sz="1000">
                <a:latin typeface="Open Sans" panose="020B0606030504020204" pitchFamily="34" charset="0"/>
                <a:ea typeface="Open Sans" panose="020B0606030504020204" pitchFamily="34" charset="0"/>
                <a:cs typeface="Open Sans" panose="020B0606030504020204" pitchFamily="34" charset="0"/>
              </a:rPr>
              <a:t>Gopinath G (Dev) </a:t>
            </a:r>
          </a:p>
          <a:p>
            <a:pPr algn="ctr" defTabSz="457195">
              <a:defRPr/>
            </a:pPr>
            <a:r>
              <a:rPr lang="it-IT" sz="1000">
                <a:latin typeface="Open Sans" panose="020B0606030504020204" pitchFamily="34" charset="0"/>
                <a:ea typeface="Open Sans" panose="020B0606030504020204" pitchFamily="34" charset="0"/>
                <a:cs typeface="Open Sans" panose="020B0606030504020204" pitchFamily="34" charset="0"/>
              </a:rPr>
              <a:t>Mahesh Pattar (Dev) </a:t>
            </a:r>
          </a:p>
          <a:p>
            <a:pPr algn="ctr" defTabSz="457195">
              <a:defRPr/>
            </a:pPr>
            <a:r>
              <a:rPr lang="it-IT" sz="1000">
                <a:latin typeface="Open Sans" panose="020B0606030504020204" pitchFamily="34" charset="0"/>
                <a:ea typeface="Open Sans" panose="020B0606030504020204" pitchFamily="34" charset="0"/>
                <a:cs typeface="Open Sans" panose="020B0606030504020204" pitchFamily="34" charset="0"/>
              </a:rPr>
              <a:t>Vijay Revtangav (Dev) </a:t>
            </a:r>
          </a:p>
          <a:p>
            <a:pPr algn="ctr" defTabSz="457195">
              <a:defRPr/>
            </a:pPr>
            <a:r>
              <a:rPr lang="it-IT" sz="1000">
                <a:latin typeface="Open Sans" panose="020B0606030504020204" pitchFamily="34" charset="0"/>
                <a:ea typeface="Open Sans" panose="020B0606030504020204" pitchFamily="34" charset="0"/>
                <a:cs typeface="Open Sans" panose="020B0606030504020204" pitchFamily="34" charset="0"/>
              </a:rPr>
              <a:t>Tejasimha (Dev) </a:t>
            </a:r>
          </a:p>
          <a:p>
            <a:pPr algn="ctr" defTabSz="457195">
              <a:defRPr/>
            </a:pPr>
            <a:r>
              <a:rPr lang="it-IT" sz="1000">
                <a:latin typeface="Open Sans" panose="020B0606030504020204" pitchFamily="34" charset="0"/>
                <a:ea typeface="Open Sans" panose="020B0606030504020204" pitchFamily="34" charset="0"/>
                <a:cs typeface="Open Sans" panose="020B0606030504020204" pitchFamily="34" charset="0"/>
              </a:rPr>
              <a:t>ChetanRaj (Dev) </a:t>
            </a:r>
          </a:p>
          <a:p>
            <a:pPr algn="ctr" defTabSz="457195">
              <a:defRPr/>
            </a:pPr>
            <a:endParaRPr lang="it-IT"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it-IT" sz="1000">
                <a:latin typeface="Open Sans" panose="020B0606030504020204" pitchFamily="34" charset="0"/>
                <a:ea typeface="Open Sans" panose="020B0606030504020204" pitchFamily="34" charset="0"/>
                <a:cs typeface="Open Sans" panose="020B0606030504020204" pitchFamily="34" charset="0"/>
              </a:rPr>
              <a:t>Sachin Rai (SDET) </a:t>
            </a:r>
          </a:p>
          <a:p>
            <a:pPr algn="ctr" defTabSz="457195">
              <a:defRPr/>
            </a:pPr>
            <a:r>
              <a:rPr lang="it-IT" sz="1000">
                <a:latin typeface="Open Sans" panose="020B0606030504020204" pitchFamily="34" charset="0"/>
                <a:ea typeface="Open Sans" panose="020B0606030504020204" pitchFamily="34" charset="0"/>
                <a:cs typeface="Open Sans" panose="020B0606030504020204" pitchFamily="34" charset="0"/>
              </a:rPr>
              <a:t>Gowthama Nagaraja (SDET) </a:t>
            </a:r>
          </a:p>
          <a:p>
            <a:pPr algn="ctr" defTabSz="457195">
              <a:defRPr/>
            </a:pPr>
            <a:r>
              <a:rPr lang="it-IT" sz="1000">
                <a:latin typeface="Open Sans" panose="020B0606030504020204" pitchFamily="34" charset="0"/>
                <a:ea typeface="Open Sans" panose="020B0606030504020204" pitchFamily="34" charset="0"/>
                <a:cs typeface="Open Sans" panose="020B0606030504020204" pitchFamily="34" charset="0"/>
              </a:rPr>
              <a:t>Prajakta Jhadav (SDET) </a:t>
            </a:r>
          </a:p>
          <a:p>
            <a:pPr algn="ctr" defTabSz="457195">
              <a:defRPr/>
            </a:pPr>
            <a:endParaRPr lang="it-IT" sz="1000">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03A9E2FA-7F2A-4CC1-B1E1-D9264FE9B626}"/>
              </a:ext>
            </a:extLst>
          </p:cNvPr>
          <p:cNvSpPr txBox="1"/>
          <p:nvPr/>
        </p:nvSpPr>
        <p:spPr>
          <a:xfrm>
            <a:off x="3136772" y="2246389"/>
            <a:ext cx="240734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ea typeface="+mn-lt"/>
                <a:cs typeface="+mn-lt"/>
              </a:rPr>
              <a:t>Falcon Heavy</a:t>
            </a:r>
            <a:endParaRPr lang="en-US" sz="1400" b="1">
              <a:cs typeface="Calibri"/>
            </a:endParaRPr>
          </a:p>
        </p:txBody>
      </p:sp>
      <p:sp>
        <p:nvSpPr>
          <p:cNvPr id="23" name="TextBox 22">
            <a:extLst>
              <a:ext uri="{FF2B5EF4-FFF2-40B4-BE49-F238E27FC236}">
                <a16:creationId xmlns:a16="http://schemas.microsoft.com/office/drawing/2014/main" id="{D230441B-247A-4C6E-942E-34750B95EE39}"/>
              </a:ext>
            </a:extLst>
          </p:cNvPr>
          <p:cNvSpPr txBox="1"/>
          <p:nvPr/>
        </p:nvSpPr>
        <p:spPr>
          <a:xfrm>
            <a:off x="6236723" y="2245545"/>
            <a:ext cx="240734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ea typeface="+mn-lt"/>
                <a:cs typeface="+mn-lt"/>
              </a:rPr>
              <a:t>Saturn V</a:t>
            </a:r>
            <a:endParaRPr lang="en-US" sz="1400">
              <a:cs typeface="Calibri"/>
            </a:endParaRPr>
          </a:p>
        </p:txBody>
      </p:sp>
    </p:spTree>
    <p:extLst>
      <p:ext uri="{BB962C8B-B14F-4D97-AF65-F5344CB8AC3E}">
        <p14:creationId xmlns:p14="http://schemas.microsoft.com/office/powerpoint/2010/main" val="63325138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2">
            <a:extLst>
              <a:ext uri="{FF2B5EF4-FFF2-40B4-BE49-F238E27FC236}">
                <a16:creationId xmlns:a16="http://schemas.microsoft.com/office/drawing/2014/main" id="{1A0176DF-1B97-473D-A10D-2782ED1043DD}"/>
              </a:ext>
            </a:extLst>
          </p:cNvPr>
          <p:cNvSpPr/>
          <p:nvPr/>
        </p:nvSpPr>
        <p:spPr bwMode="gray">
          <a:xfrm>
            <a:off x="2249550" y="5297466"/>
            <a:ext cx="7714626" cy="321026"/>
          </a:xfrm>
          <a:prstGeom prst="roundRect">
            <a:avLst/>
          </a:prstGeom>
          <a:solidFill>
            <a:srgbClr val="00B0F0"/>
          </a:solidFill>
          <a:ln w="19050" algn="ctr">
            <a:noFill/>
            <a:miter lim="800000"/>
            <a:headEnd/>
            <a:tailEnd/>
          </a:ln>
        </p:spPr>
        <p:txBody>
          <a:bodyPr wrap="square" lIns="50007" tIns="50007" rIns="50007" bIns="50007" rtlCol="0" anchor="ctr"/>
          <a:lstStyle/>
          <a:p>
            <a:pPr algn="ctr" defTabSz="457195">
              <a:lnSpc>
                <a:spcPct val="106000"/>
              </a:lnSpc>
              <a:defRPr/>
            </a:pPr>
            <a:r>
              <a:rPr lang="en-US" sz="1000">
                <a:latin typeface="Open Sans"/>
                <a:ea typeface="Open Sans"/>
                <a:cs typeface="Open Sans"/>
              </a:rPr>
              <a:t>Global DevOps Lead: Mark </a:t>
            </a:r>
            <a:r>
              <a:rPr lang="en-US" sz="1000" err="1">
                <a:latin typeface="Open Sans"/>
                <a:ea typeface="Open Sans"/>
                <a:cs typeface="Open Sans"/>
              </a:rPr>
              <a:t>Strolle</a:t>
            </a:r>
            <a:r>
              <a:rPr lang="en-US" sz="1000">
                <a:latin typeface="Open Sans"/>
                <a:ea typeface="Open Sans"/>
                <a:cs typeface="Open Sans"/>
              </a:rPr>
              <a:t> | Portfolio Lead: Pete Tryon</a:t>
            </a:r>
            <a:endParaRPr lang="en-US" sz="1000" err="1">
              <a:solidFill>
                <a:prstClr val="black"/>
              </a:solidFill>
              <a:latin typeface="Open Sans"/>
              <a:ea typeface="Open Sans"/>
              <a:cs typeface="Open Sans"/>
            </a:endParaRPr>
          </a:p>
        </p:txBody>
      </p:sp>
      <p:sp>
        <p:nvSpPr>
          <p:cNvPr id="14" name="Rounded Rectangle 7">
            <a:extLst>
              <a:ext uri="{FF2B5EF4-FFF2-40B4-BE49-F238E27FC236}">
                <a16:creationId xmlns:a16="http://schemas.microsoft.com/office/drawing/2014/main" id="{BD52B5DB-DDAB-4EC0-94A0-8CED04FAB517}"/>
              </a:ext>
            </a:extLst>
          </p:cNvPr>
          <p:cNvSpPr/>
          <p:nvPr/>
        </p:nvSpPr>
        <p:spPr>
          <a:xfrm>
            <a:off x="5141222" y="2566804"/>
            <a:ext cx="1733796" cy="2341163"/>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000">
                <a:latin typeface="Open Sans"/>
                <a:ea typeface="Open Sans"/>
                <a:cs typeface="Open Sans"/>
              </a:rPr>
              <a:t>Navneeth Kaur (PO)</a:t>
            </a:r>
            <a:endParaRPr lang="en-US"/>
          </a:p>
          <a:p>
            <a:pPr algn="ctr" defTabSz="457195">
              <a:defRPr/>
            </a:pPr>
            <a:endParaRPr lang="en-US" sz="1001">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rPr>
              <a:t>Santhosh </a:t>
            </a:r>
            <a:r>
              <a:rPr lang="en-US" sz="1000" err="1">
                <a:latin typeface="Open Sans"/>
              </a:rPr>
              <a:t>Kondreddy</a:t>
            </a:r>
            <a:endParaRPr lang="en-US" sz="1000">
              <a:latin typeface="Open Sans"/>
            </a:endParaRPr>
          </a:p>
          <a:p>
            <a:pPr algn="ctr" defTabSz="457195">
              <a:defRPr/>
            </a:pPr>
            <a:r>
              <a:rPr lang="en-US" sz="1000">
                <a:latin typeface="Open Sans"/>
                <a:ea typeface="Open Sans"/>
                <a:cs typeface="Open Sans"/>
              </a:rPr>
              <a:t>Devi Dasari</a:t>
            </a:r>
            <a:endParaRPr lang="en-US"/>
          </a:p>
          <a:p>
            <a:pPr algn="ctr" defTabSz="457195">
              <a:defRPr/>
            </a:pPr>
            <a:r>
              <a:rPr lang="en-US" sz="1000">
                <a:latin typeface="Open Sans"/>
                <a:ea typeface="Open Sans"/>
                <a:cs typeface="Open Sans"/>
              </a:rPr>
              <a:t>Rahul Thakur</a:t>
            </a:r>
          </a:p>
          <a:p>
            <a:pPr algn="ctr" defTabSz="457195">
              <a:defRPr/>
            </a:pPr>
            <a:r>
              <a:rPr lang="en-US" sz="1000">
                <a:latin typeface="Open Sans"/>
                <a:ea typeface="Open Sans"/>
                <a:cs typeface="Open Sans"/>
              </a:rPr>
              <a:t>Navneeth Kaur</a:t>
            </a:r>
          </a:p>
          <a:p>
            <a:pPr algn="ctr" defTabSz="457195">
              <a:defRPr/>
            </a:pPr>
            <a:r>
              <a:rPr lang="en-US" sz="1000" err="1">
                <a:latin typeface="Open Sans" panose="020B0606030504020204" pitchFamily="34" charset="0"/>
                <a:ea typeface="Open Sans" panose="020B0606030504020204" pitchFamily="34" charset="0"/>
                <a:cs typeface="Open Sans" panose="020B0606030504020204" pitchFamily="34" charset="0"/>
              </a:rPr>
              <a:t>Sadaiah</a:t>
            </a:r>
            <a:r>
              <a:rPr lang="en-US" sz="1000">
                <a:latin typeface="Open Sans" panose="020B0606030504020204" pitchFamily="34" charset="0"/>
                <a:ea typeface="Open Sans" panose="020B0606030504020204" pitchFamily="34" charset="0"/>
                <a:cs typeface="Open Sans" panose="020B0606030504020204" pitchFamily="34" charset="0"/>
              </a:rPr>
              <a:t> </a:t>
            </a:r>
            <a:r>
              <a:rPr lang="en-US" sz="1000" err="1">
                <a:latin typeface="Open Sans" panose="020B0606030504020204" pitchFamily="34" charset="0"/>
                <a:ea typeface="Open Sans" panose="020B0606030504020204" pitchFamily="34" charset="0"/>
                <a:cs typeface="Open Sans" panose="020B0606030504020204" pitchFamily="34" charset="0"/>
              </a:rPr>
              <a:t>Gundati</a:t>
            </a: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00D873CA-324C-4F6A-8FCB-C440D2ECE292}"/>
              </a:ext>
            </a:extLst>
          </p:cNvPr>
          <p:cNvSpPr txBox="1"/>
          <p:nvPr/>
        </p:nvSpPr>
        <p:spPr>
          <a:xfrm>
            <a:off x="2673300" y="2137673"/>
            <a:ext cx="1843983" cy="351378"/>
          </a:xfrm>
          <a:prstGeom prst="rect">
            <a:avLst/>
          </a:prstGeom>
          <a:noFill/>
        </p:spPr>
        <p:txBody>
          <a:bodyPr vert="horz" wrap="square" lIns="0" tIns="0" rIns="0" bIns="0" rtlCol="0" anchor="t">
            <a:spAutoFit/>
          </a:bodyPr>
          <a:lstStyle/>
          <a:p>
            <a:pPr algn="ctr" defTabSz="457195">
              <a:spcBef>
                <a:spcPts val="114"/>
              </a:spcBef>
              <a:buSzPct val="100000"/>
              <a:defRPr/>
            </a:pPr>
            <a:r>
              <a:rPr lang="en-US" sz="1100" b="1">
                <a:latin typeface="Open Sans"/>
                <a:ea typeface="Open Sans"/>
                <a:cs typeface="Open Sans"/>
              </a:rPr>
              <a:t>Cloud Eagles</a:t>
            </a:r>
          </a:p>
          <a:p>
            <a:pPr algn="ctr" defTabSz="457195">
              <a:spcBef>
                <a:spcPts val="113"/>
              </a:spcBef>
              <a:defRPr/>
            </a:pPr>
            <a:r>
              <a:rPr lang="en-US" sz="1100" b="1">
                <a:latin typeface="Open Sans"/>
                <a:ea typeface="Open Sans"/>
                <a:cs typeface="Open Sans"/>
              </a:rPr>
              <a:t>AO/AQMM/ER</a:t>
            </a:r>
          </a:p>
        </p:txBody>
      </p:sp>
      <p:sp>
        <p:nvSpPr>
          <p:cNvPr id="19" name="Rounded Rectangle 16">
            <a:extLst>
              <a:ext uri="{FF2B5EF4-FFF2-40B4-BE49-F238E27FC236}">
                <a16:creationId xmlns:a16="http://schemas.microsoft.com/office/drawing/2014/main" id="{84D18CB2-B123-430E-9C92-802E3595183B}"/>
              </a:ext>
            </a:extLst>
          </p:cNvPr>
          <p:cNvSpPr/>
          <p:nvPr/>
        </p:nvSpPr>
        <p:spPr>
          <a:xfrm>
            <a:off x="2249550" y="1542766"/>
            <a:ext cx="7692899" cy="35644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r>
              <a:rPr lang="en-US" sz="1000">
                <a:latin typeface="Open Sans"/>
                <a:ea typeface="Open Sans"/>
                <a:cs typeface="Open Sans"/>
              </a:rPr>
              <a:t>DL: Anubha Bhargava &amp; Navneeth Kaur</a:t>
            </a:r>
          </a:p>
        </p:txBody>
      </p:sp>
      <p:sp>
        <p:nvSpPr>
          <p:cNvPr id="20" name="Title 1">
            <a:extLst>
              <a:ext uri="{FF2B5EF4-FFF2-40B4-BE49-F238E27FC236}">
                <a16:creationId xmlns:a16="http://schemas.microsoft.com/office/drawing/2014/main" id="{309532E8-1956-4E6A-9E67-D9B7D4473726}"/>
              </a:ext>
            </a:extLst>
          </p:cNvPr>
          <p:cNvSpPr txBox="1">
            <a:spLocks/>
          </p:cNvSpPr>
          <p:nvPr/>
        </p:nvSpPr>
        <p:spPr>
          <a:xfrm>
            <a:off x="381413" y="171442"/>
            <a:ext cx="11252200" cy="334102"/>
          </a:xfrm>
          <a:prstGeom prst="rect">
            <a:avLst/>
          </a:prstGeom>
        </p:spPr>
        <p:txBody>
          <a:bodyPr vert="horz" lIns="0" tIns="0" rIns="0" bIns="0" rtlCol="0" anchor="ctr" anchorCtr="0">
            <a:noAutofit/>
          </a:bodyPr>
          <a:lstStyle>
            <a:lvl1pPr algn="l" defTabSz="914388" rtl="0" eaLnBrk="1" latinLnBrk="0" hangingPunct="1">
              <a:lnSpc>
                <a:spcPct val="90000"/>
              </a:lnSpc>
              <a:spcBef>
                <a:spcPct val="0"/>
              </a:spcBef>
              <a:buNone/>
              <a:defRPr sz="4400" kern="1200">
                <a:solidFill>
                  <a:schemeClr val="tx1"/>
                </a:solidFill>
                <a:latin typeface="+mj-lt"/>
                <a:ea typeface="+mj-ea"/>
                <a:cs typeface="+mj-cs"/>
              </a:defRPr>
            </a:lvl1pPr>
          </a:lstStyle>
          <a:p>
            <a:pPr defTabSz="685792"/>
            <a:r>
              <a:rPr lang="en-US" sz="1801" b="1">
                <a:latin typeface="Open Sans" panose="020B0606030504020204" pitchFamily="34" charset="0"/>
                <a:ea typeface="Open Sans" panose="020B0606030504020204" pitchFamily="34" charset="0"/>
                <a:cs typeface="Open Sans" panose="020B0606030504020204" pitchFamily="34" charset="0"/>
              </a:rPr>
              <a:t>DevOps – </a:t>
            </a:r>
            <a:r>
              <a:rPr lang="en-US" sz="1801" b="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Team Structure</a:t>
            </a:r>
          </a:p>
        </p:txBody>
      </p:sp>
      <p:sp>
        <p:nvSpPr>
          <p:cNvPr id="21" name="Rounded Rectangle 7">
            <a:extLst>
              <a:ext uri="{FF2B5EF4-FFF2-40B4-BE49-F238E27FC236}">
                <a16:creationId xmlns:a16="http://schemas.microsoft.com/office/drawing/2014/main" id="{0B27B325-A52B-440A-906D-8E50421F1124}"/>
              </a:ext>
            </a:extLst>
          </p:cNvPr>
          <p:cNvSpPr/>
          <p:nvPr/>
        </p:nvSpPr>
        <p:spPr>
          <a:xfrm>
            <a:off x="2714844" y="2576449"/>
            <a:ext cx="1795027" cy="2341163"/>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endParaRPr lang="en-US" sz="1000">
              <a:latin typeface="Open Sans"/>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Dharini J (SM)</a:t>
            </a:r>
          </a:p>
          <a:p>
            <a:pPr algn="ctr" defTabSz="457195">
              <a:defRPr/>
            </a:pPr>
            <a:r>
              <a:rPr lang="en-US" sz="1000">
                <a:latin typeface="Open Sans"/>
                <a:ea typeface="Open Sans"/>
                <a:cs typeface="Open Sans"/>
              </a:rPr>
              <a:t>Anubha Bhargava(Lead)</a:t>
            </a:r>
          </a:p>
          <a:p>
            <a:pPr algn="ctr" defTabSz="457195">
              <a:defRPr/>
            </a:pPr>
            <a:endParaRPr lang="en-US" sz="1001">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Naveen Chandra Jaini </a:t>
            </a:r>
          </a:p>
          <a:p>
            <a:pPr algn="ctr" defTabSz="457195">
              <a:defRPr/>
            </a:pPr>
            <a:r>
              <a:rPr lang="en-US" sz="1000">
                <a:latin typeface="Open Sans"/>
                <a:ea typeface="Open Sans"/>
                <a:cs typeface="Open Sans"/>
              </a:rPr>
              <a:t>Vanessa </a:t>
            </a:r>
            <a:r>
              <a:rPr lang="en-US" sz="1000">
                <a:latin typeface="Open Sans"/>
              </a:rPr>
              <a:t>Minik</a:t>
            </a:r>
            <a:endParaRPr lang="en-US" sz="1000">
              <a:latin typeface="Open Sans"/>
              <a:ea typeface="Open Sans"/>
              <a:cs typeface="Open Sans"/>
            </a:endParaRPr>
          </a:p>
          <a:p>
            <a:pPr algn="ctr" defTabSz="457195">
              <a:defRPr/>
            </a:pPr>
            <a:r>
              <a:rPr lang="en-US" sz="1000">
                <a:latin typeface="Open Sans"/>
              </a:rPr>
              <a:t>Santhosh </a:t>
            </a:r>
            <a:r>
              <a:rPr lang="en-US" sz="1000" err="1">
                <a:latin typeface="Open Sans"/>
              </a:rPr>
              <a:t>Kondreddy</a:t>
            </a:r>
            <a:endParaRPr lang="en-US" sz="1000">
              <a:latin typeface="Open Sans"/>
            </a:endParaRPr>
          </a:p>
          <a:p>
            <a:pPr algn="ctr" defTabSz="457195">
              <a:defRPr/>
            </a:pPr>
            <a:r>
              <a:rPr lang="en-US" sz="1000">
                <a:latin typeface="Open Sans"/>
              </a:rPr>
              <a:t>Nitin Keswani</a:t>
            </a:r>
            <a:endParaRPr lang="en-US" sz="1000">
              <a:latin typeface="Open Sans"/>
              <a:ea typeface="Open Sans"/>
              <a:cs typeface="Open Sans"/>
            </a:endParaRPr>
          </a:p>
          <a:p>
            <a:pPr algn="ctr" defTabSz="457195">
              <a:defRPr/>
            </a:pPr>
            <a:r>
              <a:rPr lang="en-US" sz="1000">
                <a:latin typeface="Open Sans"/>
                <a:ea typeface="Open Sans"/>
                <a:cs typeface="Open Sans"/>
              </a:rPr>
              <a:t>Sravya Ramana </a:t>
            </a:r>
          </a:p>
          <a:p>
            <a:pPr algn="ctr" defTabSz="457195">
              <a:defRPr/>
            </a:pPr>
            <a:r>
              <a:rPr lang="en-US" sz="1000">
                <a:latin typeface="Open Sans"/>
                <a:ea typeface="Open Sans"/>
                <a:cs typeface="Open Sans"/>
              </a:rPr>
              <a:t>Srinath Reddy</a:t>
            </a:r>
            <a:endParaRPr lang="en-US"/>
          </a:p>
          <a:p>
            <a:pPr algn="ctr" defTabSz="457195">
              <a:defRPr/>
            </a:pPr>
            <a:r>
              <a:rPr lang="en-US" sz="1000">
                <a:latin typeface="Open Sans"/>
                <a:ea typeface="Open Sans"/>
                <a:cs typeface="Open Sans"/>
              </a:rPr>
              <a:t>Devi Dasari</a:t>
            </a: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60128E79-A065-4A34-9474-CCB7BA7EA8A9}"/>
              </a:ext>
            </a:extLst>
          </p:cNvPr>
          <p:cNvSpPr txBox="1"/>
          <p:nvPr/>
        </p:nvSpPr>
        <p:spPr>
          <a:xfrm>
            <a:off x="5189760" y="2136466"/>
            <a:ext cx="1428966" cy="338554"/>
          </a:xfrm>
          <a:prstGeom prst="rect">
            <a:avLst/>
          </a:prstGeom>
          <a:noFill/>
        </p:spPr>
        <p:txBody>
          <a:bodyPr vert="horz" wrap="square" lIns="0" tIns="0" rIns="0" bIns="0" rtlCol="0" anchor="t">
            <a:spAutoFit/>
          </a:bodyPr>
          <a:lstStyle/>
          <a:p>
            <a:pPr algn="ctr" defTabSz="457195">
              <a:spcBef>
                <a:spcPts val="114"/>
              </a:spcBef>
              <a:buSzPct val="100000"/>
              <a:defRPr/>
            </a:pPr>
            <a:r>
              <a:rPr lang="en-US" sz="1100" b="1">
                <a:latin typeface="Open Sans"/>
                <a:ea typeface="Open Sans"/>
                <a:cs typeface="Open Sans"/>
              </a:rPr>
              <a:t>DAD/CMS/EMS/TL/ACTT Support</a:t>
            </a:r>
          </a:p>
        </p:txBody>
      </p:sp>
      <p:sp>
        <p:nvSpPr>
          <p:cNvPr id="23" name="Rounded Rectangle 7">
            <a:extLst>
              <a:ext uri="{FF2B5EF4-FFF2-40B4-BE49-F238E27FC236}">
                <a16:creationId xmlns:a16="http://schemas.microsoft.com/office/drawing/2014/main" id="{E18AED6B-84FD-4790-91C5-95395913584E}"/>
              </a:ext>
            </a:extLst>
          </p:cNvPr>
          <p:cNvSpPr/>
          <p:nvPr/>
        </p:nvSpPr>
        <p:spPr>
          <a:xfrm>
            <a:off x="7516713" y="2576448"/>
            <a:ext cx="1856260" cy="2341163"/>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95">
              <a:defRPr/>
            </a:pPr>
            <a:endParaRPr lang="en-US" sz="1000">
              <a:latin typeface="Open Sans"/>
              <a:ea typeface="Open Sans" panose="020B0606030504020204" pitchFamily="34" charset="0"/>
              <a:cs typeface="Open Sans" panose="020B0606030504020204" pitchFamily="34" charset="0"/>
            </a:endParaRPr>
          </a:p>
          <a:p>
            <a:pPr algn="ctr" defTabSz="457195">
              <a:defRPr/>
            </a:pPr>
            <a:r>
              <a:rPr lang="en-US" sz="1000">
                <a:latin typeface="Open Sans"/>
                <a:ea typeface="Open Sans"/>
                <a:cs typeface="Open Sans"/>
              </a:rPr>
              <a:t>Anubha Bhargava (PO)</a:t>
            </a:r>
          </a:p>
          <a:p>
            <a:pPr algn="ctr" defTabSz="457195">
              <a:defRPr/>
            </a:pPr>
            <a:endParaRPr lang="en-US" sz="1001">
              <a:latin typeface="Open Sans" panose="020B0606030504020204" pitchFamily="34" charset="0"/>
              <a:ea typeface="Open Sans" panose="020B0606030504020204" pitchFamily="34" charset="0"/>
              <a:cs typeface="Open Sans" panose="020B0606030504020204" pitchFamily="34" charset="0"/>
            </a:endParaRPr>
          </a:p>
          <a:p>
            <a:pPr algn="ctr" defTabSz="457195">
              <a:defRPr/>
            </a:pPr>
            <a:r>
              <a:rPr lang="en-US" sz="1000">
                <a:latin typeface="Open Sans"/>
              </a:rPr>
              <a:t>German(EMA)</a:t>
            </a:r>
            <a:endParaRPr lang="en-US" sz="1000">
              <a:latin typeface="Open Sans"/>
              <a:ea typeface="Open Sans"/>
              <a:cs typeface="Open Sans"/>
            </a:endParaRPr>
          </a:p>
          <a:p>
            <a:pPr algn="ctr" defTabSz="457195">
              <a:defRPr/>
            </a:pPr>
            <a:r>
              <a:rPr lang="en-US" sz="1000">
                <a:latin typeface="Open Sans"/>
              </a:rPr>
              <a:t> Azrin </a:t>
            </a:r>
            <a:r>
              <a:rPr lang="en-US" sz="1000">
                <a:latin typeface="Open Sans"/>
                <a:ea typeface="Open Sans"/>
                <a:cs typeface="Open Sans"/>
              </a:rPr>
              <a:t>(APA)</a:t>
            </a:r>
          </a:p>
          <a:p>
            <a:pPr algn="ctr" defTabSz="457195">
              <a:defRPr/>
            </a:pPr>
            <a:r>
              <a:rPr lang="en-US" sz="1000">
                <a:latin typeface="Open Sans"/>
                <a:ea typeface="Open Sans"/>
                <a:cs typeface="Open Sans"/>
              </a:rPr>
              <a:t>AME </a:t>
            </a:r>
            <a:r>
              <a:rPr lang="en-US" sz="1000" err="1">
                <a:latin typeface="Open Sans"/>
                <a:ea typeface="Open Sans"/>
                <a:cs typeface="Open Sans"/>
              </a:rPr>
              <a:t>Devops</a:t>
            </a:r>
            <a:endParaRPr lang="en-US" sz="1000">
              <a:latin typeface="Open Sans"/>
              <a:ea typeface="Open Sans"/>
              <a:cs typeface="Open Sans"/>
            </a:endParaRPr>
          </a:p>
          <a:p>
            <a:pPr algn="ctr" defTabSz="457195">
              <a:defRPr/>
            </a:pPr>
            <a:endParaRPr lang="en-US" sz="1000">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B3BDCE9C-C83A-4790-A8BA-00C1B8888107}"/>
              </a:ext>
            </a:extLst>
          </p:cNvPr>
          <p:cNvSpPr txBox="1"/>
          <p:nvPr/>
        </p:nvSpPr>
        <p:spPr>
          <a:xfrm>
            <a:off x="7737622" y="2060508"/>
            <a:ext cx="1428966" cy="507831"/>
          </a:xfrm>
          <a:prstGeom prst="rect">
            <a:avLst/>
          </a:prstGeom>
          <a:noFill/>
        </p:spPr>
        <p:txBody>
          <a:bodyPr vert="horz" wrap="square" lIns="0" tIns="0" rIns="0" bIns="0" rtlCol="0" anchor="t">
            <a:spAutoFit/>
          </a:bodyPr>
          <a:lstStyle/>
          <a:p>
            <a:pPr algn="ctr" defTabSz="457195">
              <a:spcBef>
                <a:spcPts val="114"/>
              </a:spcBef>
              <a:buSzPct val="100000"/>
              <a:defRPr/>
            </a:pPr>
            <a:r>
              <a:rPr lang="en-US" sz="1100" b="1">
                <a:latin typeface="Open Sans"/>
                <a:ea typeface="Open Sans" panose="020B0606030504020204" pitchFamily="34" charset="0"/>
                <a:cs typeface="Open Sans" panose="020B0606030504020204" pitchFamily="34" charset="0"/>
              </a:rPr>
              <a:t>Cloud Production Support (AO/AQMM/ER)</a:t>
            </a:r>
          </a:p>
        </p:txBody>
      </p:sp>
    </p:spTree>
    <p:extLst>
      <p:ext uri="{BB962C8B-B14F-4D97-AF65-F5344CB8AC3E}">
        <p14:creationId xmlns:p14="http://schemas.microsoft.com/office/powerpoint/2010/main" val="9454058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B065F961-9C65-4EEA-85D5-88F17CDAF3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8096" y="916946"/>
            <a:ext cx="5278632" cy="5278632"/>
          </a:xfrm>
          <a:prstGeom prst="rect">
            <a:avLst/>
          </a:prstGeom>
        </p:spPr>
      </p:pic>
      <p:sp>
        <p:nvSpPr>
          <p:cNvPr id="4" name="TextBox 3">
            <a:extLst>
              <a:ext uri="{FF2B5EF4-FFF2-40B4-BE49-F238E27FC236}">
                <a16:creationId xmlns:a16="http://schemas.microsoft.com/office/drawing/2014/main" id="{7A9DFF01-0B03-48E4-B42D-F011C5ECF119}"/>
              </a:ext>
            </a:extLst>
          </p:cNvPr>
          <p:cNvSpPr txBox="1"/>
          <p:nvPr/>
        </p:nvSpPr>
        <p:spPr>
          <a:xfrm>
            <a:off x="6991991" y="3048430"/>
            <a:ext cx="3611115" cy="1015663"/>
          </a:xfrm>
          <a:prstGeom prst="rect">
            <a:avLst/>
          </a:prstGeom>
          <a:noFill/>
        </p:spPr>
        <p:txBody>
          <a:bodyPr wrap="square" rtlCol="0" anchor="t">
            <a:spAutoFit/>
          </a:bodyPr>
          <a:lstStyle/>
          <a:p>
            <a:r>
              <a:rPr lang="en-US" sz="2000" b="1">
                <a:latin typeface="Open Sans"/>
                <a:ea typeface="Open Sans" panose="020B0606030504020204" pitchFamily="34" charset="0"/>
                <a:cs typeface="Open Sans" panose="020B0606030504020204" pitchFamily="34" charset="0"/>
              </a:rPr>
              <a:t>US – Lunch Break | </a:t>
            </a:r>
            <a:r>
              <a:rPr lang="en-US" sz="2000" b="1">
                <a:solidFill>
                  <a:srgbClr val="000000"/>
                </a:solidFill>
                <a:latin typeface="Open Sans"/>
                <a:ea typeface="Open Sans" panose="020B0606030504020204" pitchFamily="34" charset="0"/>
                <a:cs typeface="Open Sans" panose="020B0606030504020204" pitchFamily="34" charset="0"/>
              </a:rPr>
              <a:t>75</a:t>
            </a:r>
            <a:r>
              <a:rPr lang="en-US" sz="2000" b="1">
                <a:solidFill>
                  <a:schemeClr val="tx1">
                    <a:lumMod val="50000"/>
                    <a:lumOff val="50000"/>
                  </a:schemeClr>
                </a:solidFill>
                <a:latin typeface="Open Sans"/>
                <a:ea typeface="Open Sans" panose="020B0606030504020204" pitchFamily="34" charset="0"/>
                <a:cs typeface="Open Sans" panose="020B0606030504020204" pitchFamily="34" charset="0"/>
              </a:rPr>
              <a:t> </a:t>
            </a:r>
            <a:r>
              <a:rPr lang="en-US" sz="2000" b="1">
                <a:solidFill>
                  <a:srgbClr val="000000"/>
                </a:solidFill>
                <a:latin typeface="Open Sans"/>
                <a:ea typeface="Open Sans" panose="020B0606030504020204" pitchFamily="34" charset="0"/>
                <a:cs typeface="Open Sans" panose="020B0606030504020204" pitchFamily="34" charset="0"/>
              </a:rPr>
              <a:t>Min</a:t>
            </a:r>
          </a:p>
          <a:p>
            <a:endParaRPr lang="en-US" sz="2000" b="1">
              <a:latin typeface="Open Sans" panose="020B0606030504020204" pitchFamily="34" charset="0"/>
              <a:ea typeface="Open Sans" panose="020B0606030504020204" pitchFamily="34" charset="0"/>
              <a:cs typeface="Open Sans" panose="020B0606030504020204" pitchFamily="34" charset="0"/>
            </a:endParaRPr>
          </a:p>
          <a:p>
            <a:r>
              <a:rPr lang="en-US" sz="2000" b="1">
                <a:latin typeface="Open Sans" panose="020B0606030504020204" pitchFamily="34" charset="0"/>
                <a:ea typeface="Open Sans" panose="020B0606030504020204" pitchFamily="34" charset="0"/>
                <a:cs typeface="Open Sans" panose="020B0606030504020204" pitchFamily="34" charset="0"/>
              </a:rPr>
              <a:t>USI - Break for the day</a:t>
            </a:r>
          </a:p>
        </p:txBody>
      </p:sp>
    </p:spTree>
    <p:extLst>
      <p:ext uri="{BB962C8B-B14F-4D97-AF65-F5344CB8AC3E}">
        <p14:creationId xmlns:p14="http://schemas.microsoft.com/office/powerpoint/2010/main" val="429277813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DA47CF8-20EA-4047-8BD0-15643BD8B0E1}"/>
              </a:ext>
            </a:extLst>
          </p:cNvPr>
          <p:cNvSpPr txBox="1"/>
          <p:nvPr/>
        </p:nvSpPr>
        <p:spPr>
          <a:xfrm>
            <a:off x="425245" y="424992"/>
            <a:ext cx="1167993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usiness Objectives of the Transformation ART</a:t>
            </a:r>
          </a:p>
        </p:txBody>
      </p:sp>
      <p:pic>
        <p:nvPicPr>
          <p:cNvPr id="8194" name="Picture 2">
            <a:extLst>
              <a:ext uri="{FF2B5EF4-FFF2-40B4-BE49-F238E27FC236}">
                <a16:creationId xmlns:a16="http://schemas.microsoft.com/office/drawing/2014/main" id="{FED0881C-9ADB-4023-8FA6-46ECEF25E1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03325" y="207852"/>
            <a:ext cx="742058" cy="74205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F85CF43-E422-47DE-8F88-44109D8C0D12}"/>
              </a:ext>
            </a:extLst>
          </p:cNvPr>
          <p:cNvPicPr>
            <a:picLocks noChangeAspect="1"/>
          </p:cNvPicPr>
          <p:nvPr/>
        </p:nvPicPr>
        <p:blipFill rotWithShape="1">
          <a:blip r:embed="rId3"/>
          <a:srcRect l="14184" t="14028" r="14162" b="14496"/>
          <a:stretch/>
        </p:blipFill>
        <p:spPr>
          <a:xfrm>
            <a:off x="4205779" y="2294450"/>
            <a:ext cx="3577701" cy="3568824"/>
          </a:xfrm>
          <a:prstGeom prst="rect">
            <a:avLst/>
          </a:prstGeom>
        </p:spPr>
      </p:pic>
      <p:pic>
        <p:nvPicPr>
          <p:cNvPr id="9222" name="Picture 6" descr="Legal Scale Vector Icon Symbol Of Justice A Sign Of A Heavy Balance Of  Punitive Marks, Scale Icons, Balance Icons, Sign Icons PNG and Vector with  Transparent Background for Free Download">
            <a:extLst>
              <a:ext uri="{FF2B5EF4-FFF2-40B4-BE49-F238E27FC236}">
                <a16:creationId xmlns:a16="http://schemas.microsoft.com/office/drawing/2014/main" id="{CBE7F74A-60D6-4008-ACAB-262CCB5743D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6199" t="25298" r="11972" b="47380"/>
          <a:stretch/>
        </p:blipFill>
        <p:spPr bwMode="auto">
          <a:xfrm>
            <a:off x="7004972" y="2847120"/>
            <a:ext cx="1957431" cy="245021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Legal Scale Vector Icon Symbol Of Justice A Sign Of A Heavy Balance Of  Punitive Marks, Scale Icons, Balance Icons, Sign Icons PNG and Vector with  Transparent Background for Free Download">
            <a:extLst>
              <a:ext uri="{FF2B5EF4-FFF2-40B4-BE49-F238E27FC236}">
                <a16:creationId xmlns:a16="http://schemas.microsoft.com/office/drawing/2014/main" id="{5A2519A3-4FE4-42E8-87AC-9353335BEF4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6199" t="25298" r="11972" b="47380"/>
          <a:stretch/>
        </p:blipFill>
        <p:spPr bwMode="auto">
          <a:xfrm>
            <a:off x="3001041" y="2847120"/>
            <a:ext cx="1957431" cy="245021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1BE1D5D-7D11-4166-B296-AE1E40E5B1F1}"/>
              </a:ext>
            </a:extLst>
          </p:cNvPr>
          <p:cNvSpPr/>
          <p:nvPr/>
        </p:nvSpPr>
        <p:spPr bwMode="gray">
          <a:xfrm>
            <a:off x="3661337" y="2722502"/>
            <a:ext cx="4673600" cy="137892"/>
          </a:xfrm>
          <a:prstGeom prst="rect">
            <a:avLst/>
          </a:prstGeom>
          <a:solidFill>
            <a:srgbClr val="33333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black"/>
              </a:solidFill>
              <a:effectLst/>
              <a:uLnTx/>
              <a:uFillTx/>
              <a:latin typeface="Verdana"/>
              <a:ea typeface="+mn-ea"/>
              <a:cs typeface="+mn-cs"/>
            </a:endParaRPr>
          </a:p>
        </p:txBody>
      </p:sp>
      <p:pic>
        <p:nvPicPr>
          <p:cNvPr id="10" name="Picture 9">
            <a:extLst>
              <a:ext uri="{FF2B5EF4-FFF2-40B4-BE49-F238E27FC236}">
                <a16:creationId xmlns:a16="http://schemas.microsoft.com/office/drawing/2014/main" id="{965C4AAC-2EFB-4290-B2BD-567AD265930B}"/>
              </a:ext>
            </a:extLst>
          </p:cNvPr>
          <p:cNvPicPr>
            <a:picLocks noChangeAspect="1"/>
          </p:cNvPicPr>
          <p:nvPr/>
        </p:nvPicPr>
        <p:blipFill rotWithShape="1">
          <a:blip r:embed="rId5"/>
          <a:srcRect l="26656" t="85094" r="23872"/>
          <a:stretch/>
        </p:blipFill>
        <p:spPr>
          <a:xfrm>
            <a:off x="4430467" y="5293974"/>
            <a:ext cx="3149564" cy="1174212"/>
          </a:xfrm>
          <a:prstGeom prst="rect">
            <a:avLst/>
          </a:prstGeom>
        </p:spPr>
      </p:pic>
      <p:sp>
        <p:nvSpPr>
          <p:cNvPr id="11" name="TextBox 10">
            <a:extLst>
              <a:ext uri="{FF2B5EF4-FFF2-40B4-BE49-F238E27FC236}">
                <a16:creationId xmlns:a16="http://schemas.microsoft.com/office/drawing/2014/main" id="{F32F14D0-C537-43F7-8089-0F1C5BFCE76C}"/>
              </a:ext>
            </a:extLst>
          </p:cNvPr>
          <p:cNvSpPr txBox="1"/>
          <p:nvPr/>
        </p:nvSpPr>
        <p:spPr>
          <a:xfrm>
            <a:off x="4216398" y="1471711"/>
            <a:ext cx="3577702" cy="8156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1" i="0" u="none" strike="noStrike" kern="1200" cap="none" spc="0" normalizeH="0" baseline="0" noProof="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ART Objective: </a:t>
            </a: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nable the audit transformation strategy through technology</a:t>
            </a:r>
            <a:endParaRPr kumimoji="0" lang="en-US" sz="1800" b="1"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TextBox 11">
            <a:extLst>
              <a:ext uri="{FF2B5EF4-FFF2-40B4-BE49-F238E27FC236}">
                <a16:creationId xmlns:a16="http://schemas.microsoft.com/office/drawing/2014/main" id="{DCD21F9B-79BB-42E3-A1E5-928D5B4D8DD5}"/>
              </a:ext>
            </a:extLst>
          </p:cNvPr>
          <p:cNvSpPr txBox="1"/>
          <p:nvPr/>
        </p:nvSpPr>
        <p:spPr>
          <a:xfrm>
            <a:off x="641963" y="4738912"/>
            <a:ext cx="2500973"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pport our existing audit systems being used on most audits today, which are critical to the execution of the Audit Transformation strategy</a:t>
            </a:r>
          </a:p>
        </p:txBody>
      </p:sp>
      <p:sp>
        <p:nvSpPr>
          <p:cNvPr id="6" name="Rectangle 5">
            <a:extLst>
              <a:ext uri="{FF2B5EF4-FFF2-40B4-BE49-F238E27FC236}">
                <a16:creationId xmlns:a16="http://schemas.microsoft.com/office/drawing/2014/main" id="{DB141F1C-1176-4D90-99E9-B5F68F1FA564}"/>
              </a:ext>
            </a:extLst>
          </p:cNvPr>
          <p:cNvSpPr/>
          <p:nvPr/>
        </p:nvSpPr>
        <p:spPr>
          <a:xfrm>
            <a:off x="5014465" y="5627231"/>
            <a:ext cx="198156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ransformation</a:t>
            </a:r>
          </a:p>
        </p:txBody>
      </p:sp>
      <p:sp>
        <p:nvSpPr>
          <p:cNvPr id="14" name="TextBox 13">
            <a:extLst>
              <a:ext uri="{FF2B5EF4-FFF2-40B4-BE49-F238E27FC236}">
                <a16:creationId xmlns:a16="http://schemas.microsoft.com/office/drawing/2014/main" id="{D5A1CBC1-130D-429B-B590-6840637532A9}"/>
              </a:ext>
            </a:extLst>
          </p:cNvPr>
          <p:cNvSpPr txBox="1"/>
          <p:nvPr/>
        </p:nvSpPr>
        <p:spPr>
          <a:xfrm>
            <a:off x="9090733" y="4738912"/>
            <a:ext cx="2711662" cy="129266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nable the delivery of the next generation of audit tools, including RADC Portal, Extended Reporting, Omnia and Levvia, which will be used to drive audit consistency in the future</a:t>
            </a:r>
          </a:p>
        </p:txBody>
      </p:sp>
      <p:sp>
        <p:nvSpPr>
          <p:cNvPr id="7" name="Rectangle 6">
            <a:extLst>
              <a:ext uri="{FF2B5EF4-FFF2-40B4-BE49-F238E27FC236}">
                <a16:creationId xmlns:a16="http://schemas.microsoft.com/office/drawing/2014/main" id="{A55C9364-305D-4F2D-BE6A-08365F1C51F6}"/>
              </a:ext>
            </a:extLst>
          </p:cNvPr>
          <p:cNvSpPr/>
          <p:nvPr/>
        </p:nvSpPr>
        <p:spPr>
          <a:xfrm>
            <a:off x="574607" y="4287619"/>
            <a:ext cx="2044406" cy="400110"/>
          </a:xfrm>
          <a:prstGeom prst="rect">
            <a:avLst/>
          </a:prstGeom>
        </p:spPr>
        <p:txBody>
          <a:bodyPr wrap="none">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Existing Audit Tools:</a:t>
            </a:r>
            <a:r>
              <a:rPr kumimoji="0" lang="en-US" sz="2000" b="1" i="0" u="none" strike="noStrike" kern="120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17" name="Rectangle 16">
            <a:extLst>
              <a:ext uri="{FF2B5EF4-FFF2-40B4-BE49-F238E27FC236}">
                <a16:creationId xmlns:a16="http://schemas.microsoft.com/office/drawing/2014/main" id="{A8C70B6F-0A8B-49AD-9F99-9E6F1494FAB2}"/>
              </a:ext>
            </a:extLst>
          </p:cNvPr>
          <p:cNvSpPr/>
          <p:nvPr/>
        </p:nvSpPr>
        <p:spPr>
          <a:xfrm>
            <a:off x="9063334" y="4287619"/>
            <a:ext cx="1939826" cy="400110"/>
          </a:xfrm>
          <a:prstGeom prst="rect">
            <a:avLst/>
          </a:prstGeom>
        </p:spPr>
        <p:txBody>
          <a:bodyPr wrap="none">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Future Audit Tools:</a:t>
            </a:r>
            <a:r>
              <a:rPr kumimoji="0" lang="en-US" sz="2000" b="1" i="0" u="none" strike="noStrike" kern="1200" cap="none" spc="0" normalizeH="0" baseline="0" noProof="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cxnSp>
        <p:nvCxnSpPr>
          <p:cNvPr id="27" name="Straight Connector 26">
            <a:extLst>
              <a:ext uri="{FF2B5EF4-FFF2-40B4-BE49-F238E27FC236}">
                <a16:creationId xmlns:a16="http://schemas.microsoft.com/office/drawing/2014/main" id="{5C03335F-893E-48C1-AB44-7704AE87A5B1}"/>
              </a:ext>
            </a:extLst>
          </p:cNvPr>
          <p:cNvCxnSpPr>
            <a:cxnSpLocks/>
          </p:cNvCxnSpPr>
          <p:nvPr/>
        </p:nvCxnSpPr>
        <p:spPr>
          <a:xfrm flipV="1">
            <a:off x="1596810" y="1917104"/>
            <a:ext cx="0" cy="1804199"/>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1589FE9-B14F-4E2A-8EA6-B572FDD4255B}"/>
              </a:ext>
            </a:extLst>
          </p:cNvPr>
          <p:cNvCxnSpPr>
            <a:cxnSpLocks/>
          </p:cNvCxnSpPr>
          <p:nvPr/>
        </p:nvCxnSpPr>
        <p:spPr>
          <a:xfrm>
            <a:off x="1596810" y="1926454"/>
            <a:ext cx="2382946" cy="0"/>
          </a:xfrm>
          <a:prstGeom prst="straightConnector1">
            <a:avLst/>
          </a:prstGeom>
          <a:ln w="12700">
            <a:solidFill>
              <a:schemeClr val="tx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9191D01-FAEE-4D7C-95A5-4CD36FBEFAA7}"/>
              </a:ext>
            </a:extLst>
          </p:cNvPr>
          <p:cNvCxnSpPr>
            <a:cxnSpLocks/>
          </p:cNvCxnSpPr>
          <p:nvPr/>
        </p:nvCxnSpPr>
        <p:spPr>
          <a:xfrm flipV="1">
            <a:off x="10446564" y="1926454"/>
            <a:ext cx="1" cy="1793965"/>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F4AEAD2-5E92-4304-8BFF-DC28FD6A7AD1}"/>
              </a:ext>
            </a:extLst>
          </p:cNvPr>
          <p:cNvCxnSpPr>
            <a:cxnSpLocks/>
          </p:cNvCxnSpPr>
          <p:nvPr/>
        </p:nvCxnSpPr>
        <p:spPr>
          <a:xfrm flipH="1">
            <a:off x="7983687" y="1917104"/>
            <a:ext cx="2462878" cy="0"/>
          </a:xfrm>
          <a:prstGeom prst="straightConnector1">
            <a:avLst/>
          </a:prstGeom>
          <a:ln w="12700">
            <a:solidFill>
              <a:schemeClr val="tx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12808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Read-Only]" id="{1B45AA95-54C6-4F90-9076-8459D2785A8A}" vid="{80BB197A-67B9-45C0-9E42-52DFE1234A30}"/>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Deloitte_US_Brand">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heme1" id="{356DFC0E-2123-473A-B9A6-C4A046AED4DE}" vid="{1CE52C2F-C0BE-4BD7-AE84-E6E7914AA07E}"/>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Deloitte_US_Brand">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heme1" id="{356DFC0E-2123-473A-B9A6-C4A046AED4DE}" vid="{1CE52C2F-C0BE-4BD7-AE84-E6E7914AA07E}"/>
    </a:ext>
  </a:extLst>
</a:theme>
</file>

<file path=ppt/theme/theme8.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3.xml><?xml version="1.0" encoding="utf-8"?>
<a:themeOverride xmlns:a="http://schemas.openxmlformats.org/drawingml/2006/main">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b034d5b-f0c3-46f2-afd8-1e723fa9a182">
      <UserInfo>
        <DisplayName>Zhong, Rose</DisplayName>
        <AccountId>134</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9721B435669B4C8416BA9CA260E995" ma:contentTypeVersion="11" ma:contentTypeDescription="Create a new document." ma:contentTypeScope="" ma:versionID="5e09f78a74dc9613d26006f25a3f2599">
  <xsd:schema xmlns:xsd="http://www.w3.org/2001/XMLSchema" xmlns:xs="http://www.w3.org/2001/XMLSchema" xmlns:p="http://schemas.microsoft.com/office/2006/metadata/properties" xmlns:ns2="981d754e-1893-44b2-af7b-9f89916f9077" xmlns:ns3="bb034d5b-f0c3-46f2-afd8-1e723fa9a182" targetNamespace="http://schemas.microsoft.com/office/2006/metadata/properties" ma:root="true" ma:fieldsID="9cfd10a48637ad6cec432388e9bd3b95" ns2:_="" ns3:_="">
    <xsd:import namespace="981d754e-1893-44b2-af7b-9f89916f9077"/>
    <xsd:import namespace="bb034d5b-f0c3-46f2-afd8-1e723fa9a18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1d754e-1893-44b2-af7b-9f89916f90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b034d5b-f0c3-46f2-afd8-1e723fa9a18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A6CF92B-9C80-4858-B96F-DA13E6EB4E52}">
  <ds:schemaRefs>
    <ds:schemaRef ds:uri="http://schemas.microsoft.com/sharepoint/v3/contenttype/forms"/>
  </ds:schemaRefs>
</ds:datastoreItem>
</file>

<file path=customXml/itemProps2.xml><?xml version="1.0" encoding="utf-8"?>
<ds:datastoreItem xmlns:ds="http://schemas.openxmlformats.org/officeDocument/2006/customXml" ds:itemID="{0ABDE435-3E6D-4650-8361-29D17DAAF9A2}">
  <ds:schemaRefs>
    <ds:schemaRef ds:uri="981d754e-1893-44b2-af7b-9f89916f9077"/>
    <ds:schemaRef ds:uri="bb034d5b-f0c3-46f2-afd8-1e723fa9a18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A75D3EA-0B21-48BE-B226-6BDE9D29A36A}">
  <ds:schemaRefs>
    <ds:schemaRef ds:uri="981d754e-1893-44b2-af7b-9f89916f9077"/>
    <ds:schemaRef ds:uri="bb034d5b-f0c3-46f2-afd8-1e723fa9a18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86</Slides>
  <Notes>25</Notes>
  <HiddenSlides>0</HiddenSlides>
  <ScaleCrop>false</ScaleCrop>
  <HeadingPairs>
    <vt:vector size="4" baseType="variant">
      <vt:variant>
        <vt:lpstr>Theme</vt:lpstr>
      </vt:variant>
      <vt:variant>
        <vt:i4>9</vt:i4>
      </vt:variant>
      <vt:variant>
        <vt:lpstr>Slide Titles</vt:lpstr>
      </vt:variant>
      <vt:variant>
        <vt:i4>86</vt:i4>
      </vt:variant>
    </vt:vector>
  </HeadingPairs>
  <TitlesOfParts>
    <vt:vector size="95" baseType="lpstr">
      <vt:lpstr>Office Theme</vt:lpstr>
      <vt:lpstr>2_Deloitte 16_9 onscreen</vt:lpstr>
      <vt:lpstr>Office Theme</vt:lpstr>
      <vt:lpstr>Office Theme</vt:lpstr>
      <vt:lpstr>1_Deloitte_US_Brand</vt:lpstr>
      <vt:lpstr>1_Office Theme</vt:lpstr>
      <vt:lpstr>2_Deloitte_US_Brand</vt:lpstr>
      <vt:lpstr>Deloitte_US_Letter_Print Theme</vt:lpstr>
      <vt:lpstr>2_Office Theme</vt:lpstr>
      <vt:lpstr>PowerPoint Presentation</vt:lpstr>
      <vt:lpstr>PowerPoint Presentation</vt:lpstr>
      <vt:lpstr>Agenda Day 1 – July 13, 202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oadmap of Audit Transformation Product Releases  July 2021</vt:lpstr>
      <vt:lpstr>PowerPoint Presentation</vt:lpstr>
      <vt:lpstr>PowerPoint Presentation</vt:lpstr>
      <vt:lpstr>PowerPoint Presentation</vt:lpstr>
      <vt:lpstr>PowerPoint Presentation</vt:lpstr>
      <vt:lpstr>RADC Portal FY22 Current position, and future growth expect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curity Assessments</vt:lpstr>
      <vt:lpstr>Security Assessment Requirements</vt:lpstr>
      <vt:lpstr>Security Assessments Results and Remediation</vt:lpstr>
      <vt:lpstr>PowerPoint Presentation</vt:lpstr>
      <vt:lpstr>PowerPoint Presentation</vt:lpstr>
      <vt:lpstr>PowerPoint Presentation</vt:lpstr>
      <vt:lpstr>PowerPoint Presentation</vt:lpstr>
      <vt:lpstr>PI Mileston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mmatreddy, Chaitanya</dc:creator>
  <cp:revision>1</cp:revision>
  <cp:lastPrinted>1601-01-01T00:00:00Z</cp:lastPrinted>
  <dcterms:created xsi:type="dcterms:W3CDTF">2021-03-23T08:23:33Z</dcterms:created>
  <dcterms:modified xsi:type="dcterms:W3CDTF">2021-07-15T13:4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3-23T10:31:5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16c40b7-0e2a-40b9-b8a2-0b82f05b0211</vt:lpwstr>
  </property>
  <property fmtid="{D5CDD505-2E9C-101B-9397-08002B2CF9AE}" pid="8" name="MSIP_Label_ea60d57e-af5b-4752-ac57-3e4f28ca11dc_ContentBits">
    <vt:lpwstr>0</vt:lpwstr>
  </property>
  <property fmtid="{D5CDD505-2E9C-101B-9397-08002B2CF9AE}" pid="9" name="ContentTypeId">
    <vt:lpwstr>0x0101007C9721B435669B4C8416BA9CA260E995</vt:lpwstr>
  </property>
</Properties>
</file>